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mp4" ContentType="video/mp4"/>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3.xml" ContentType="application/vnd.openxmlformats-officedocument.theme+xml"/>
  <Override PartName="/ppt/theme/themeOverride1.xml" ContentType="application/vnd.openxmlformats-officedocument.themeOverrid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2.xml" ContentType="application/vnd.openxmlformats-officedocument.presentationml.tags+xml"/>
  <Override PartName="/ppt/notesSlides/notesSlide10.xml" ContentType="application/vnd.openxmlformats-officedocument.presentationml.notesSlide+xml"/>
  <Override PartName="/ppt/tags/tag3.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60" r:id="rId2"/>
    <p:sldMasterId id="2147483673" r:id="rId3"/>
  </p:sldMasterIdLst>
  <p:notesMasterIdLst>
    <p:notesMasterId r:id="rId38"/>
  </p:notesMasterIdLst>
  <p:sldIdLst>
    <p:sldId id="2141411963" r:id="rId4"/>
    <p:sldId id="265" r:id="rId5"/>
    <p:sldId id="256" r:id="rId6"/>
    <p:sldId id="2141411973" r:id="rId7"/>
    <p:sldId id="2141412630" r:id="rId8"/>
    <p:sldId id="2141412615" r:id="rId9"/>
    <p:sldId id="2141412611" r:id="rId10"/>
    <p:sldId id="2141412629" r:id="rId11"/>
    <p:sldId id="2141412612" r:id="rId12"/>
    <p:sldId id="2147375291" r:id="rId13"/>
    <p:sldId id="2141412587" r:id="rId14"/>
    <p:sldId id="2141412588" r:id="rId15"/>
    <p:sldId id="2141412589" r:id="rId16"/>
    <p:sldId id="2141412616" r:id="rId17"/>
    <p:sldId id="2147375297" r:id="rId18"/>
    <p:sldId id="2141412595" r:id="rId19"/>
    <p:sldId id="2141412596" r:id="rId20"/>
    <p:sldId id="2141412628" r:id="rId21"/>
    <p:sldId id="2147375293" r:id="rId22"/>
    <p:sldId id="2141412631" r:id="rId23"/>
    <p:sldId id="2141412633" r:id="rId24"/>
    <p:sldId id="2147375298" r:id="rId25"/>
    <p:sldId id="2147375295" r:id="rId26"/>
    <p:sldId id="6341" r:id="rId27"/>
    <p:sldId id="2141412627" r:id="rId28"/>
    <p:sldId id="2155" r:id="rId29"/>
    <p:sldId id="1855" r:id="rId30"/>
    <p:sldId id="2178" r:id="rId31"/>
    <p:sldId id="2339" r:id="rId32"/>
    <p:sldId id="2141412634" r:id="rId33"/>
    <p:sldId id="2141412597" r:id="rId34"/>
    <p:sldId id="2147375296" r:id="rId35"/>
    <p:sldId id="2141412624" r:id="rId36"/>
    <p:sldId id="264"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8892E43-20E1-3D39-47F2-A520D9D31416}" name="Sam Poole" initials="SP" userId="Sam Poole" providerId="None"/>
  <p188:author id="{12A782B3-B426-5A74-1AC1-55275C315B55}" name="Rebecca Barraclough" initials="RB" userId="Rebecca Barraclough" providerId="None"/>
  <p188:author id="{52C4C9BB-C807-8705-0B08-A3DF41A8D64B}" name="Moriah Diethorn" initials="MD" userId="Moriah Diethorn" providerId="None"/>
</p188: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1"/>
    <p:restoredTop sz="96327"/>
  </p:normalViewPr>
  <p:slideViewPr>
    <p:cSldViewPr snapToGrid="0">
      <p:cViewPr varScale="1">
        <p:scale>
          <a:sx n="124" d="100"/>
          <a:sy n="124" d="100"/>
        </p:scale>
        <p:origin x="544" y="16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presProps" Target="presProps.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tableStyles" Target="tableStyles.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viewProps" Target="viewProp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microsoft.com/office/2018/10/relationships/authors" Target="authors.xml"/><Relationship Id="rId8" Type="http://schemas.openxmlformats.org/officeDocument/2006/relationships/slide" Target="slides/slide5.xml"/><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notesMaster" Target="notesMasters/notes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D370265-CC19-BE46-A1B8-CCBCE73F4C3D}" type="datetimeFigureOut">
              <a:rPr lang="en-US" smtClean="0"/>
              <a:t>10/16/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4760D9A-B383-294F-9AD8-067D0F0C8FC2}" type="slidenum">
              <a:rPr lang="en-US" smtClean="0"/>
              <a:t>‹#›</a:t>
            </a:fld>
            <a:endParaRPr lang="en-US"/>
          </a:p>
        </p:txBody>
      </p:sp>
    </p:spTree>
    <p:extLst>
      <p:ext uri="{BB962C8B-B14F-4D97-AF65-F5344CB8AC3E}">
        <p14:creationId xmlns:p14="http://schemas.microsoft.com/office/powerpoint/2010/main" val="6265559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A4760D9A-B383-294F-9AD8-067D0F0C8FC2}" type="slidenum">
              <a:rPr lang="en-US" smtClean="0"/>
              <a:t>1</a:t>
            </a:fld>
            <a:endParaRPr lang="en-US"/>
          </a:p>
        </p:txBody>
      </p:sp>
    </p:spTree>
    <p:extLst>
      <p:ext uri="{BB962C8B-B14F-4D97-AF65-F5344CB8AC3E}">
        <p14:creationId xmlns:p14="http://schemas.microsoft.com/office/powerpoint/2010/main" val="61498425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cs typeface="Helvetica"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31041" rtl="0" eaLnBrk="1" fontAlgn="auto" latinLnBrk="0" hangingPunct="1">
              <a:lnSpc>
                <a:spcPct val="100000"/>
              </a:lnSpc>
              <a:spcBef>
                <a:spcPts val="0"/>
              </a:spcBef>
              <a:spcAft>
                <a:spcPts val="0"/>
              </a:spcAft>
              <a:buClrTx/>
              <a:buSzTx/>
              <a:buFontTx/>
              <a:buNone/>
              <a:tabLst/>
              <a:defRPr/>
            </a:pPr>
            <a:fld id="{11D25BB2-D722-BF49-B4CE-537922A669F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041"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888319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C17DCF7-E3CE-2B44-B69A-87C0D3B8732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461862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0015320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E473E6D-AC44-4E11-A37B-F91B2477DC0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7379753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A65F76-0011-CA4E-92EC-80CC7B898B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947706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A65F76-0011-CA4E-92EC-80CC7B898B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51541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1" name="Espace réservé de l'image des diapositives 1"/>
          <p:cNvSpPr>
            <a:spLocks noGrp="1" noRot="1" noChangeAspect="1" noTextEdit="1"/>
          </p:cNvSpPr>
          <p:nvPr>
            <p:ph type="sldImg"/>
          </p:nvPr>
        </p:nvSpPr>
        <p:spPr>
          <a:ln/>
        </p:spPr>
      </p:sp>
      <p:sp>
        <p:nvSpPr>
          <p:cNvPr id="81922" name="Espace réservé des commentaires 2"/>
          <p:cNvSpPr>
            <a:spLocks noGrp="1"/>
          </p:cNvSpPr>
          <p:nvPr>
            <p:ph type="body" idx="1"/>
          </p:nvPr>
        </p:nvSpPr>
        <p:spPr>
          <a:noFill/>
          <a:ln/>
          <a:extLst>
            <a:ext uri="{FAA26D3D-D897-4be2-8F04-BA451C77F1D7}">
              <ma14:placeholderFlag xmlns="" xmlns:ma14="http://schemas.microsoft.com/office/mac/drawingml/2011/main" val="1"/>
            </a:ex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p>
            <a:endParaRPr lang="fr-FR" dirty="0">
              <a:latin typeface="Arial" charset="0"/>
            </a:endParaRPr>
          </a:p>
        </p:txBody>
      </p:sp>
      <p:sp>
        <p:nvSpPr>
          <p:cNvPr id="81923" name="Espace réservé du numéro de diapositive 3"/>
          <p:cNvSpPr>
            <a:spLocks noGrp="1"/>
          </p:cNvSpPr>
          <p:nvPr>
            <p:ph type="sldNum" sz="quarter" idx="5"/>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defTabSz="876300" eaLnBrk="0" hangingPunct="0">
              <a:defRPr sz="1400">
                <a:solidFill>
                  <a:schemeClr val="tx1"/>
                </a:solidFill>
                <a:latin typeface="Comic Sans MS" charset="0"/>
                <a:ea typeface="ＭＳ Ｐゴシック" charset="0"/>
                <a:cs typeface="ＭＳ Ｐゴシック" charset="0"/>
              </a:defRPr>
            </a:lvl1pPr>
            <a:lvl2pPr marL="742950" indent="-285750" defTabSz="876300" eaLnBrk="0" hangingPunct="0">
              <a:defRPr sz="1400">
                <a:solidFill>
                  <a:schemeClr val="tx1"/>
                </a:solidFill>
                <a:latin typeface="Comic Sans MS" charset="0"/>
                <a:ea typeface="ＭＳ Ｐゴシック" charset="0"/>
              </a:defRPr>
            </a:lvl2pPr>
            <a:lvl3pPr marL="1143000" indent="-228600" defTabSz="876300" eaLnBrk="0" hangingPunct="0">
              <a:defRPr sz="1400">
                <a:solidFill>
                  <a:schemeClr val="tx1"/>
                </a:solidFill>
                <a:latin typeface="Comic Sans MS" charset="0"/>
                <a:ea typeface="ＭＳ Ｐゴシック" charset="0"/>
              </a:defRPr>
            </a:lvl3pPr>
            <a:lvl4pPr marL="1600200" indent="-228600" defTabSz="876300" eaLnBrk="0" hangingPunct="0">
              <a:defRPr sz="1400">
                <a:solidFill>
                  <a:schemeClr val="tx1"/>
                </a:solidFill>
                <a:latin typeface="Comic Sans MS" charset="0"/>
                <a:ea typeface="ＭＳ Ｐゴシック" charset="0"/>
              </a:defRPr>
            </a:lvl4pPr>
            <a:lvl5pPr marL="2057400" indent="-228600" defTabSz="876300" eaLnBrk="0" hangingPunct="0">
              <a:defRPr sz="1400">
                <a:solidFill>
                  <a:schemeClr val="tx1"/>
                </a:solidFill>
                <a:latin typeface="Comic Sans MS" charset="0"/>
                <a:ea typeface="ＭＳ Ｐゴシック" charset="0"/>
              </a:defRPr>
            </a:lvl5pPr>
            <a:lvl6pPr marL="2514600" indent="-228600" defTabSz="876300" eaLnBrk="0" fontAlgn="base" hangingPunct="0">
              <a:spcBef>
                <a:spcPct val="0"/>
              </a:spcBef>
              <a:spcAft>
                <a:spcPct val="0"/>
              </a:spcAft>
              <a:defRPr sz="1400">
                <a:solidFill>
                  <a:schemeClr val="tx1"/>
                </a:solidFill>
                <a:latin typeface="Comic Sans MS" charset="0"/>
                <a:ea typeface="ＭＳ Ｐゴシック" charset="0"/>
              </a:defRPr>
            </a:lvl6pPr>
            <a:lvl7pPr marL="2971800" indent="-228600" defTabSz="876300" eaLnBrk="0" fontAlgn="base" hangingPunct="0">
              <a:spcBef>
                <a:spcPct val="0"/>
              </a:spcBef>
              <a:spcAft>
                <a:spcPct val="0"/>
              </a:spcAft>
              <a:defRPr sz="1400">
                <a:solidFill>
                  <a:schemeClr val="tx1"/>
                </a:solidFill>
                <a:latin typeface="Comic Sans MS" charset="0"/>
                <a:ea typeface="ＭＳ Ｐゴシック" charset="0"/>
              </a:defRPr>
            </a:lvl7pPr>
            <a:lvl8pPr marL="3429000" indent="-228600" defTabSz="876300" eaLnBrk="0" fontAlgn="base" hangingPunct="0">
              <a:spcBef>
                <a:spcPct val="0"/>
              </a:spcBef>
              <a:spcAft>
                <a:spcPct val="0"/>
              </a:spcAft>
              <a:defRPr sz="1400">
                <a:solidFill>
                  <a:schemeClr val="tx1"/>
                </a:solidFill>
                <a:latin typeface="Comic Sans MS" charset="0"/>
                <a:ea typeface="ＭＳ Ｐゴシック" charset="0"/>
              </a:defRPr>
            </a:lvl8pPr>
            <a:lvl9pPr marL="3886200" indent="-228600" defTabSz="876300" eaLnBrk="0" fontAlgn="base" hangingPunct="0">
              <a:spcBef>
                <a:spcPct val="0"/>
              </a:spcBef>
              <a:spcAft>
                <a:spcPct val="0"/>
              </a:spcAft>
              <a:defRPr sz="1400">
                <a:solidFill>
                  <a:schemeClr val="tx1"/>
                </a:solidFill>
                <a:latin typeface="Comic Sans MS" charset="0"/>
                <a:ea typeface="ＭＳ Ｐゴシック" charset="0"/>
              </a:defRPr>
            </a:lvl9pPr>
          </a:lstStyle>
          <a:p>
            <a:pPr marL="0" marR="0" lvl="0" indent="0" algn="r" defTabSz="876300" rtl="0" eaLnBrk="1" fontAlgn="auto" latinLnBrk="0" hangingPunct="1">
              <a:lnSpc>
                <a:spcPct val="100000"/>
              </a:lnSpc>
              <a:spcBef>
                <a:spcPts val="0"/>
              </a:spcBef>
              <a:spcAft>
                <a:spcPts val="0"/>
              </a:spcAft>
              <a:buClrTx/>
              <a:buSzTx/>
              <a:buFontTx/>
              <a:buNone/>
              <a:tabLst/>
              <a:defRPr/>
            </a:pPr>
            <a:fld id="{ED42B0DA-519E-E741-9E30-29C71E7A5571}" type="slidenum">
              <a:rPr kumimoji="0" lang="fr-FR" sz="1100" b="0" i="0" u="none" strike="noStrike" kern="1200" cap="none" spc="0" normalizeH="0" baseline="0" noProof="0">
                <a:ln>
                  <a:noFill/>
                </a:ln>
                <a:solidFill>
                  <a:srgbClr val="000000"/>
                </a:solidFill>
                <a:effectLst/>
                <a:uLnTx/>
                <a:uFillTx/>
                <a:latin typeface="Arial" charset="0"/>
                <a:ea typeface="ＭＳ Ｐゴシック" charset="0"/>
                <a:cs typeface="Arial Unicode MS" charset="0"/>
              </a:rPr>
              <a:pPr marL="0" marR="0" lvl="0" indent="0" algn="r" defTabSz="876300" rtl="0" eaLnBrk="1" fontAlgn="auto" latinLnBrk="0" hangingPunct="1">
                <a:lnSpc>
                  <a:spcPct val="100000"/>
                </a:lnSpc>
                <a:spcBef>
                  <a:spcPts val="0"/>
                </a:spcBef>
                <a:spcAft>
                  <a:spcPts val="0"/>
                </a:spcAft>
                <a:buClrTx/>
                <a:buSzTx/>
                <a:buFontTx/>
                <a:buNone/>
                <a:tabLst/>
                <a:defRPr/>
              </a:pPr>
              <a:t>5</a:t>
            </a:fld>
            <a:endParaRPr kumimoji="0" lang="fr-FR" sz="1100" b="0" i="0" u="none" strike="noStrike" kern="1200" cap="none" spc="0" normalizeH="0" baseline="0" noProof="0">
              <a:ln>
                <a:noFill/>
              </a:ln>
              <a:solidFill>
                <a:srgbClr val="000000"/>
              </a:solidFill>
              <a:effectLst/>
              <a:uLnTx/>
              <a:uFillTx/>
              <a:latin typeface="Arial" charset="0"/>
              <a:ea typeface="ＭＳ Ｐゴシック" charset="0"/>
              <a:cs typeface="Arial Unicode MS" charset="0"/>
            </a:endParaRPr>
          </a:p>
        </p:txBody>
      </p:sp>
    </p:spTree>
    <p:extLst>
      <p:ext uri="{BB962C8B-B14F-4D97-AF65-F5344CB8AC3E}">
        <p14:creationId xmlns:p14="http://schemas.microsoft.com/office/powerpoint/2010/main" val="10621534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EB9A738-0A72-44E9-93AC-6167849EAE30}"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716510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A5385D-AF4C-BC4D-8432-ED99722866D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78543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A5385D-AF4C-BC4D-8432-ED99722866D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8460617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7A5385D-AF4C-BC4D-8432-ED99722866D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183161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fontAlgn="base">
              <a:defRPr/>
            </a:pPr>
            <a:endParaRPr lang="en-US" dirty="0">
              <a:cs typeface="Helvetica"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31041" rtl="0" eaLnBrk="1" fontAlgn="auto" latinLnBrk="0" hangingPunct="1">
              <a:lnSpc>
                <a:spcPct val="100000"/>
              </a:lnSpc>
              <a:spcBef>
                <a:spcPts val="0"/>
              </a:spcBef>
              <a:spcAft>
                <a:spcPts val="0"/>
              </a:spcAft>
              <a:buClrTx/>
              <a:buSzTx/>
              <a:buFontTx/>
              <a:buNone/>
              <a:tabLst/>
              <a:defRPr/>
            </a:pPr>
            <a:fld id="{11D25BB2-D722-BF49-B4CE-537922A669F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041"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5366616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Autofit/>
          </a:bodyPr>
          <a:lstStyle/>
          <a:p>
            <a:pPr defTabSz="1174305">
              <a:defRPr/>
            </a:pPr>
            <a:endParaRPr lang="en-US" sz="1300" dirty="0">
              <a:cs typeface="Helvetica"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31041" rtl="0" eaLnBrk="1" fontAlgn="auto" latinLnBrk="0" hangingPunct="1">
              <a:lnSpc>
                <a:spcPct val="100000"/>
              </a:lnSpc>
              <a:spcBef>
                <a:spcPts val="0"/>
              </a:spcBef>
              <a:spcAft>
                <a:spcPts val="0"/>
              </a:spcAft>
              <a:buClrTx/>
              <a:buSzTx/>
              <a:buFontTx/>
              <a:buNone/>
              <a:tabLst/>
              <a:defRPr/>
            </a:pPr>
            <a:fld id="{11D25BB2-D722-BF49-B4CE-537922A669FA}"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31041"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96258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png"/><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hemeOverride" Target="../theme/themeOverride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2A9B2D-BCD3-D2C2-B4A0-1763224B3BCE}"/>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5768F23-BC7C-115E-ACC3-A1F0B1822353}"/>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08AD212-AF99-BD36-A9A0-A77937E61FB1}"/>
              </a:ext>
            </a:extLst>
          </p:cNvPr>
          <p:cNvSpPr>
            <a:spLocks noGrp="1"/>
          </p:cNvSpPr>
          <p:nvPr>
            <p:ph type="dt" sz="half" idx="10"/>
          </p:nvPr>
        </p:nvSpPr>
        <p:spPr/>
        <p:txBody>
          <a:bodyPr/>
          <a:lstStyle/>
          <a:p>
            <a:fld id="{1B513D2C-D913-A84D-AE90-832E6E77C62A}" type="datetimeFigureOut">
              <a:rPr lang="en-US" smtClean="0"/>
              <a:t>10/16/23</a:t>
            </a:fld>
            <a:endParaRPr lang="en-US"/>
          </a:p>
        </p:txBody>
      </p:sp>
      <p:sp>
        <p:nvSpPr>
          <p:cNvPr id="5" name="Footer Placeholder 4">
            <a:extLst>
              <a:ext uri="{FF2B5EF4-FFF2-40B4-BE49-F238E27FC236}">
                <a16:creationId xmlns:a16="http://schemas.microsoft.com/office/drawing/2014/main" id="{C1B582E3-94CF-6351-6150-2201E2E3E99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D4350CF-ACBB-83AF-2314-CA8BE3349348}"/>
              </a:ext>
            </a:extLst>
          </p:cNvPr>
          <p:cNvSpPr>
            <a:spLocks noGrp="1"/>
          </p:cNvSpPr>
          <p:nvPr>
            <p:ph type="sldNum" sz="quarter" idx="12"/>
          </p:nvPr>
        </p:nvSpPr>
        <p:spPr/>
        <p:txBody>
          <a:bodyPr/>
          <a:lstStyle/>
          <a:p>
            <a:fld id="{3957A2A5-6A27-F248-B252-AF7C1B35A3B2}" type="slidenum">
              <a:rPr lang="en-US" smtClean="0"/>
              <a:t>‹#›</a:t>
            </a:fld>
            <a:endParaRPr lang="en-US"/>
          </a:p>
        </p:txBody>
      </p:sp>
    </p:spTree>
    <p:extLst>
      <p:ext uri="{BB962C8B-B14F-4D97-AF65-F5344CB8AC3E}">
        <p14:creationId xmlns:p14="http://schemas.microsoft.com/office/powerpoint/2010/main" val="38520226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88E760-2799-A83E-993E-E3B7939BB4F4}"/>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1EA5AEE3-65B2-3C6B-8145-5729C641A05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5559EFA-5CE3-5161-1167-A8D30484486B}"/>
              </a:ext>
            </a:extLst>
          </p:cNvPr>
          <p:cNvSpPr>
            <a:spLocks noGrp="1"/>
          </p:cNvSpPr>
          <p:nvPr>
            <p:ph type="dt" sz="half" idx="10"/>
          </p:nvPr>
        </p:nvSpPr>
        <p:spPr/>
        <p:txBody>
          <a:bodyPr/>
          <a:lstStyle/>
          <a:p>
            <a:fld id="{1B513D2C-D913-A84D-AE90-832E6E77C62A}" type="datetimeFigureOut">
              <a:rPr lang="en-US" smtClean="0"/>
              <a:t>10/16/23</a:t>
            </a:fld>
            <a:endParaRPr lang="en-US"/>
          </a:p>
        </p:txBody>
      </p:sp>
      <p:sp>
        <p:nvSpPr>
          <p:cNvPr id="5" name="Footer Placeholder 4">
            <a:extLst>
              <a:ext uri="{FF2B5EF4-FFF2-40B4-BE49-F238E27FC236}">
                <a16:creationId xmlns:a16="http://schemas.microsoft.com/office/drawing/2014/main" id="{44587BBF-6742-267A-EC05-E6A18F1AEC8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32E6270-1989-1EB2-C827-E4E302688F2E}"/>
              </a:ext>
            </a:extLst>
          </p:cNvPr>
          <p:cNvSpPr>
            <a:spLocks noGrp="1"/>
          </p:cNvSpPr>
          <p:nvPr>
            <p:ph type="sldNum" sz="quarter" idx="12"/>
          </p:nvPr>
        </p:nvSpPr>
        <p:spPr/>
        <p:txBody>
          <a:bodyPr/>
          <a:lstStyle/>
          <a:p>
            <a:fld id="{3957A2A5-6A27-F248-B252-AF7C1B35A3B2}" type="slidenum">
              <a:rPr lang="en-US" smtClean="0"/>
              <a:t>‹#›</a:t>
            </a:fld>
            <a:endParaRPr lang="en-US"/>
          </a:p>
        </p:txBody>
      </p:sp>
    </p:spTree>
    <p:extLst>
      <p:ext uri="{BB962C8B-B14F-4D97-AF65-F5344CB8AC3E}">
        <p14:creationId xmlns:p14="http://schemas.microsoft.com/office/powerpoint/2010/main" val="346464888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1D6882E-1D49-9DA9-70E1-51E7774780BB}"/>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61F8A53-D774-53FE-54F7-9F6C468D8EB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929D9F-5D37-C6B2-2C68-AED3ACEC3789}"/>
              </a:ext>
            </a:extLst>
          </p:cNvPr>
          <p:cNvSpPr>
            <a:spLocks noGrp="1"/>
          </p:cNvSpPr>
          <p:nvPr>
            <p:ph type="dt" sz="half" idx="10"/>
          </p:nvPr>
        </p:nvSpPr>
        <p:spPr/>
        <p:txBody>
          <a:bodyPr/>
          <a:lstStyle/>
          <a:p>
            <a:fld id="{1B513D2C-D913-A84D-AE90-832E6E77C62A}" type="datetimeFigureOut">
              <a:rPr lang="en-US" smtClean="0"/>
              <a:t>10/16/23</a:t>
            </a:fld>
            <a:endParaRPr lang="en-US"/>
          </a:p>
        </p:txBody>
      </p:sp>
      <p:sp>
        <p:nvSpPr>
          <p:cNvPr id="5" name="Footer Placeholder 4">
            <a:extLst>
              <a:ext uri="{FF2B5EF4-FFF2-40B4-BE49-F238E27FC236}">
                <a16:creationId xmlns:a16="http://schemas.microsoft.com/office/drawing/2014/main" id="{99B1E342-3A65-EDB2-571A-3F21AE47458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DC56180-14AF-05F4-0EEC-B78E626F8AF0}"/>
              </a:ext>
            </a:extLst>
          </p:cNvPr>
          <p:cNvSpPr>
            <a:spLocks noGrp="1"/>
          </p:cNvSpPr>
          <p:nvPr>
            <p:ph type="sldNum" sz="quarter" idx="12"/>
          </p:nvPr>
        </p:nvSpPr>
        <p:spPr/>
        <p:txBody>
          <a:bodyPr/>
          <a:lstStyle/>
          <a:p>
            <a:fld id="{3957A2A5-6A27-F248-B252-AF7C1B35A3B2}" type="slidenum">
              <a:rPr lang="en-US" smtClean="0"/>
              <a:t>‹#›</a:t>
            </a:fld>
            <a:endParaRPr lang="en-US"/>
          </a:p>
        </p:txBody>
      </p:sp>
    </p:spTree>
    <p:extLst>
      <p:ext uri="{BB962C8B-B14F-4D97-AF65-F5344CB8AC3E}">
        <p14:creationId xmlns:p14="http://schemas.microsoft.com/office/powerpoint/2010/main" val="28445714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609601" y="1709738"/>
            <a:ext cx="10515600" cy="2852737"/>
          </a:xfrm>
        </p:spPr>
        <p:txBody>
          <a:bodyPr anchor="ctr">
            <a:normAutofit/>
          </a:bodyPr>
          <a:lstStyle>
            <a:lvl1pPr>
              <a:defRPr sz="4800"/>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609601" y="4589463"/>
            <a:ext cx="10515600" cy="1500187"/>
          </a:xfrm>
          <a:prstGeom prst="rect">
            <a:avLst/>
          </a:prstGeom>
        </p:spPr>
        <p:txBody>
          <a:bodyPr>
            <a:normAutofit/>
          </a:bodyPr>
          <a:lstStyle>
            <a:lvl1pPr marL="0" indent="0">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8" name="Footer Placeholder 4">
            <a:extLst>
              <a:ext uri="{FF2B5EF4-FFF2-40B4-BE49-F238E27FC236}">
                <a16:creationId xmlns:a16="http://schemas.microsoft.com/office/drawing/2014/main" id="{5CD80B2F-AB86-4AC5-ADB1-2230734739B0}"/>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000">
                <a:solidFill>
                  <a:schemeClr val="tx1">
                    <a:tint val="75000"/>
                  </a:schemeClr>
                </a:solidFill>
              </a:defRPr>
            </a:lvl1pPr>
          </a:lstStyle>
          <a:p>
            <a:endParaRPr lang="en-US"/>
          </a:p>
        </p:txBody>
      </p:sp>
      <p:pic>
        <p:nvPicPr>
          <p:cNvPr id="8" name="Picture 7">
            <a:extLst>
              <a:ext uri="{FF2B5EF4-FFF2-40B4-BE49-F238E27FC236}">
                <a16:creationId xmlns:a16="http://schemas.microsoft.com/office/drawing/2014/main" id="{46147BEB-DBFC-41AF-8A4B-718D90B9AB66}"/>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975360"/>
          </a:xfrm>
          <a:prstGeom prst="rect">
            <a:avLst/>
          </a:prstGeom>
        </p:spPr>
      </p:pic>
      <p:pic>
        <p:nvPicPr>
          <p:cNvPr id="10" name="Picture 9">
            <a:extLst>
              <a:ext uri="{FF2B5EF4-FFF2-40B4-BE49-F238E27FC236}">
                <a16:creationId xmlns:a16="http://schemas.microsoft.com/office/drawing/2014/main" id="{1AA4465C-7E8E-47D9-93EC-E2ADB99327A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 y="93853"/>
            <a:ext cx="1537746" cy="787653"/>
          </a:xfrm>
          <a:prstGeom prst="rect">
            <a:avLst/>
          </a:prstGeom>
        </p:spPr>
      </p:pic>
    </p:spTree>
    <p:extLst>
      <p:ext uri="{BB962C8B-B14F-4D97-AF65-F5344CB8AC3E}">
        <p14:creationId xmlns:p14="http://schemas.microsoft.com/office/powerpoint/2010/main" val="66879227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Episode Titl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609601" y="1709738"/>
            <a:ext cx="10515600" cy="2852737"/>
          </a:xfrm>
        </p:spPr>
        <p:txBody>
          <a:bodyPr anchor="b">
            <a:normAutofit/>
          </a:bodyPr>
          <a:lstStyle>
            <a:lvl1pPr algn="r">
              <a:defRPr sz="3600"/>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609601" y="4589463"/>
            <a:ext cx="10515600" cy="1500187"/>
          </a:xfrm>
          <a:prstGeom prst="rect">
            <a:avLst/>
          </a:prstGeom>
        </p:spPr>
        <p:txBody>
          <a:bodyPr>
            <a:normAutofit/>
          </a:bodyPr>
          <a:lstStyle>
            <a:lvl1pPr marL="0" indent="0" algn="r">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8" name="Footer Placeholder 4">
            <a:extLst>
              <a:ext uri="{FF2B5EF4-FFF2-40B4-BE49-F238E27FC236}">
                <a16:creationId xmlns:a16="http://schemas.microsoft.com/office/drawing/2014/main" id="{5CD80B2F-AB86-4AC5-ADB1-2230734739B0}"/>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pic>
        <p:nvPicPr>
          <p:cNvPr id="8" name="Picture 7">
            <a:extLst>
              <a:ext uri="{FF2B5EF4-FFF2-40B4-BE49-F238E27FC236}">
                <a16:creationId xmlns:a16="http://schemas.microsoft.com/office/drawing/2014/main" id="{DF5F5FB5-B40D-470D-8C41-B7CE27E5193F}"/>
              </a:ext>
            </a:extLst>
          </p:cNvPr>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0" y="0"/>
            <a:ext cx="12192000" cy="975360"/>
          </a:xfrm>
          <a:prstGeom prst="rect">
            <a:avLst/>
          </a:prstGeom>
        </p:spPr>
      </p:pic>
      <p:pic>
        <p:nvPicPr>
          <p:cNvPr id="7" name="Picture 6">
            <a:extLst>
              <a:ext uri="{FF2B5EF4-FFF2-40B4-BE49-F238E27FC236}">
                <a16:creationId xmlns:a16="http://schemas.microsoft.com/office/drawing/2014/main" id="{9F979B0B-4A4D-4553-BE93-A1959FB58E0D}"/>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609600" y="93853"/>
            <a:ext cx="1537746" cy="787653"/>
          </a:xfrm>
          <a:prstGeom prst="rect">
            <a:avLst/>
          </a:prstGeom>
        </p:spPr>
      </p:pic>
    </p:spTree>
    <p:extLst>
      <p:ext uri="{BB962C8B-B14F-4D97-AF65-F5344CB8AC3E}">
        <p14:creationId xmlns:p14="http://schemas.microsoft.com/office/powerpoint/2010/main" val="104617856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Diagram Layout">
    <p:bg>
      <p:bgPr>
        <a:gradFill flip="none" rotWithShape="1">
          <a:gsLst>
            <a:gs pos="0">
              <a:schemeClr val="bg1"/>
            </a:gs>
            <a:gs pos="100000">
              <a:srgbClr val="EBEBEB"/>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88FA194F-9E80-4991-A301-2D14D459B8B6}"/>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000">
                <a:solidFill>
                  <a:schemeClr val="tx1">
                    <a:tint val="75000"/>
                  </a:schemeClr>
                </a:solidFill>
              </a:defRPr>
            </a:lvl1pPr>
          </a:lstStyle>
          <a:p>
            <a:endParaRPr lang="en-US"/>
          </a:p>
        </p:txBody>
      </p:sp>
    </p:spTree>
    <p:extLst>
      <p:ext uri="{BB962C8B-B14F-4D97-AF65-F5344CB8AC3E}">
        <p14:creationId xmlns:p14="http://schemas.microsoft.com/office/powerpoint/2010/main" val="30447562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led Diagram Layout">
    <p:bg>
      <p:bgPr>
        <a:gradFill flip="none" rotWithShape="1">
          <a:gsLst>
            <a:gs pos="0">
              <a:schemeClr val="bg1"/>
            </a:gs>
            <a:gs pos="100000">
              <a:srgbClr val="EBEBEB"/>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74E47-6B81-4DA6-BC35-65E2DCA474B0}"/>
              </a:ext>
            </a:extLst>
          </p:cNvPr>
          <p:cNvSpPr>
            <a:spLocks noGrp="1"/>
          </p:cNvSpPr>
          <p:nvPr>
            <p:ph type="title"/>
          </p:nvPr>
        </p:nvSpPr>
        <p:spPr/>
        <p:txBody>
          <a:bodyPr/>
          <a:lstStyle/>
          <a:p>
            <a:r>
              <a:rPr lang="en-US"/>
              <a:t>Click to edit Master title style</a:t>
            </a:r>
          </a:p>
        </p:txBody>
      </p:sp>
      <p:sp>
        <p:nvSpPr>
          <p:cNvPr id="3" name="Footer Placeholder 4">
            <a:extLst>
              <a:ext uri="{FF2B5EF4-FFF2-40B4-BE49-F238E27FC236}">
                <a16:creationId xmlns:a16="http://schemas.microsoft.com/office/drawing/2014/main" id="{2F70BFC7-62AB-4097-AE5E-3ACB64158A60}"/>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000">
                <a:solidFill>
                  <a:schemeClr val="tx1">
                    <a:tint val="75000"/>
                  </a:schemeClr>
                </a:solidFill>
              </a:defRPr>
            </a:lvl1pPr>
          </a:lstStyle>
          <a:p>
            <a:endParaRPr lang="en-US"/>
          </a:p>
        </p:txBody>
      </p:sp>
    </p:spTree>
    <p:extLst>
      <p:ext uri="{BB962C8B-B14F-4D97-AF65-F5344CB8AC3E}">
        <p14:creationId xmlns:p14="http://schemas.microsoft.com/office/powerpoint/2010/main" val="59079851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FFFFF"/>
        </a:solidFill>
        <a:effectLst/>
      </p:bgPr>
    </p:bg>
    <p:spTree>
      <p:nvGrpSpPr>
        <p:cNvPr id="1" name=""/>
        <p:cNvGrpSpPr/>
        <p:nvPr/>
      </p:nvGrpSpPr>
      <p:grpSpPr>
        <a:xfrm>
          <a:off x="0" y="0"/>
          <a:ext cx="0" cy="0"/>
          <a:chOff x="0" y="0"/>
          <a:chExt cx="0" cy="0"/>
        </a:xfrm>
      </p:grpSpPr>
      <p:sp>
        <p:nvSpPr>
          <p:cNvPr id="9" name="Footer Placeholder 4">
            <a:extLst>
              <a:ext uri="{FF2B5EF4-FFF2-40B4-BE49-F238E27FC236}">
                <a16:creationId xmlns:a16="http://schemas.microsoft.com/office/drawing/2014/main" id="{F68C6A00-68E4-474E-9AA8-0891DD87D051}"/>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000">
                <a:solidFill>
                  <a:schemeClr val="tx1">
                    <a:tint val="75000"/>
                  </a:schemeClr>
                </a:solidFill>
              </a:defRPr>
            </a:lvl1pPr>
          </a:lstStyle>
          <a:p>
            <a:endParaRPr lang="en-US"/>
          </a:p>
        </p:txBody>
      </p:sp>
      <p:sp>
        <p:nvSpPr>
          <p:cNvPr id="6" name="Title Placeholder 1">
            <a:extLst>
              <a:ext uri="{FF2B5EF4-FFF2-40B4-BE49-F238E27FC236}">
                <a16:creationId xmlns:a16="http://schemas.microsoft.com/office/drawing/2014/main" id="{C3A58A5E-CE8B-4381-B491-4E79B68F618B}"/>
              </a:ext>
            </a:extLst>
          </p:cNvPr>
          <p:cNvSpPr>
            <a:spLocks noGrp="1"/>
          </p:cNvSpPr>
          <p:nvPr>
            <p:ph type="title"/>
          </p:nvPr>
        </p:nvSpPr>
        <p:spPr>
          <a:xfrm>
            <a:off x="609600" y="199505"/>
            <a:ext cx="10744200" cy="1185577"/>
          </a:xfrm>
          <a:prstGeom prst="rect">
            <a:avLst/>
          </a:prstGeom>
        </p:spPr>
        <p:txBody>
          <a:bodyPr vert="horz" lIns="91440" tIns="45720" rIns="91440" bIns="45720" rtlCol="0" anchor="ctr" anchorCtr="0">
            <a:normAutofit/>
          </a:bodyPr>
          <a:lstStyle/>
          <a:p>
            <a:r>
              <a:rPr lang="en-US"/>
              <a:t>Click to edit Master title style</a:t>
            </a:r>
            <a:endParaRPr lang="en-US" dirty="0"/>
          </a:p>
        </p:txBody>
      </p:sp>
      <p:sp>
        <p:nvSpPr>
          <p:cNvPr id="7" name="Text Placeholder 2">
            <a:extLst>
              <a:ext uri="{FF2B5EF4-FFF2-40B4-BE49-F238E27FC236}">
                <a16:creationId xmlns:a16="http://schemas.microsoft.com/office/drawing/2014/main" id="{B8793117-580E-4BE7-82EC-6BE8CEEDED56}"/>
              </a:ext>
            </a:extLst>
          </p:cNvPr>
          <p:cNvSpPr>
            <a:spLocks noGrp="1"/>
          </p:cNvSpPr>
          <p:nvPr>
            <p:ph idx="1"/>
          </p:nvPr>
        </p:nvSpPr>
        <p:spPr>
          <a:xfrm>
            <a:off x="609600" y="1477906"/>
            <a:ext cx="10744200" cy="472247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28912593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F8544-5F66-42F5-A339-E46C7881EF7F}"/>
              </a:ext>
            </a:extLst>
          </p:cNvPr>
          <p:cNvSpPr>
            <a:spLocks noGrp="1"/>
          </p:cNvSpPr>
          <p:nvPr>
            <p:ph type="title"/>
          </p:nvPr>
        </p:nvSpPr>
        <p:spPr/>
        <p:txBody>
          <a:bodyPr>
            <a:normAutofit/>
          </a:bodyPr>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E98E0E9-1525-4AB4-A8AF-8BF10D89D4E7}"/>
              </a:ext>
            </a:extLst>
          </p:cNvPr>
          <p:cNvSpPr>
            <a:spLocks noGrp="1"/>
          </p:cNvSpPr>
          <p:nvPr>
            <p:ph sz="half" idx="1"/>
          </p:nvPr>
        </p:nvSpPr>
        <p:spPr>
          <a:xfrm>
            <a:off x="609600" y="1496291"/>
            <a:ext cx="5181600" cy="46806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CFA8448F-6F16-4184-A898-7F06CF6766C6}"/>
              </a:ext>
            </a:extLst>
          </p:cNvPr>
          <p:cNvSpPr>
            <a:spLocks noGrp="1"/>
          </p:cNvSpPr>
          <p:nvPr>
            <p:ph sz="half" idx="2"/>
          </p:nvPr>
        </p:nvSpPr>
        <p:spPr>
          <a:xfrm>
            <a:off x="5943600" y="1496291"/>
            <a:ext cx="5181600" cy="46806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DE44C219-F83B-4E76-BAE0-A183B8940696}"/>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000">
                <a:solidFill>
                  <a:schemeClr val="tx1">
                    <a:tint val="75000"/>
                  </a:schemeClr>
                </a:solidFill>
              </a:defRPr>
            </a:lvl1pPr>
          </a:lstStyle>
          <a:p>
            <a:endParaRPr lang="en-US"/>
          </a:p>
        </p:txBody>
      </p:sp>
    </p:spTree>
    <p:extLst>
      <p:ext uri="{BB962C8B-B14F-4D97-AF65-F5344CB8AC3E}">
        <p14:creationId xmlns:p14="http://schemas.microsoft.com/office/powerpoint/2010/main" val="57258845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22D2BB-B893-45AC-B4B9-21CF5F89EABD}"/>
              </a:ext>
            </a:extLst>
          </p:cNvPr>
          <p:cNvSpPr>
            <a:spLocks noGrp="1"/>
          </p:cNvSpPr>
          <p:nvPr>
            <p:ph type="body" idx="1"/>
          </p:nvPr>
        </p:nvSpPr>
        <p:spPr>
          <a:xfrm>
            <a:off x="609601" y="1459896"/>
            <a:ext cx="5157787" cy="651538"/>
          </a:xfrm>
          <a:prstGeom prst="rect">
            <a:avLst/>
          </a:prstGeom>
        </p:spPr>
        <p:txBody>
          <a:bodyPr anchor="b"/>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27EFEE-C04A-49BE-8AC8-1C93672FAC03}"/>
              </a:ext>
            </a:extLst>
          </p:cNvPr>
          <p:cNvSpPr>
            <a:spLocks noGrp="1"/>
          </p:cNvSpPr>
          <p:nvPr>
            <p:ph sz="half" idx="2"/>
          </p:nvPr>
        </p:nvSpPr>
        <p:spPr>
          <a:xfrm>
            <a:off x="609601" y="2111434"/>
            <a:ext cx="5157787" cy="3956856"/>
          </a:xfrm>
          <a:prstGeom prst="rect">
            <a:avLst/>
          </a:prstGeom>
        </p:spPr>
        <p:txBody>
          <a:bodyPr/>
          <a:lstStyle>
            <a:lvl1pPr marL="228600" indent="-228600">
              <a:buClr>
                <a:schemeClr val="accent1"/>
              </a:buClr>
              <a:buSzPct val="100000"/>
              <a:buFont typeface="Arial" panose="020B0604020202020204" pitchFamily="34" charset="0"/>
              <a:buChar char="•"/>
              <a:defRPr/>
            </a:lvl1pPr>
            <a:lvl2pPr marL="685800" indent="-228600">
              <a:buClr>
                <a:schemeClr val="accent1"/>
              </a:buClr>
              <a:buSzPct val="100000"/>
              <a:buFont typeface="Arial" panose="020B0604020202020204" pitchFamily="34" charset="0"/>
              <a:buChar char="•"/>
              <a:defRPr/>
            </a:lvl2pPr>
            <a:lvl3pPr marL="1143000" indent="-228600">
              <a:buClr>
                <a:schemeClr val="accent1"/>
              </a:buClr>
              <a:buSzPct val="100000"/>
              <a:buFont typeface="Arial" panose="020B0604020202020204" pitchFamily="34" charset="0"/>
              <a:buChar char="•"/>
              <a:defRPr/>
            </a:lvl3pPr>
            <a:lvl4pPr marL="1600200" indent="-228600">
              <a:buClr>
                <a:schemeClr val="accent1"/>
              </a:buClr>
              <a:buSzPct val="100000"/>
              <a:buFont typeface="Arial" panose="020B0604020202020204" pitchFamily="34" charset="0"/>
              <a:buChar char="•"/>
              <a:defRPr/>
            </a:lvl4pPr>
            <a:lvl5pPr marL="2057400" indent="-228600">
              <a:buClr>
                <a:schemeClr val="accent1"/>
              </a:buClr>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3B977BB-61BD-47AD-991E-2E6E5CEC0643}"/>
              </a:ext>
            </a:extLst>
          </p:cNvPr>
          <p:cNvSpPr>
            <a:spLocks noGrp="1"/>
          </p:cNvSpPr>
          <p:nvPr>
            <p:ph type="body" sz="quarter" idx="3"/>
          </p:nvPr>
        </p:nvSpPr>
        <p:spPr>
          <a:xfrm>
            <a:off x="5942013" y="1459896"/>
            <a:ext cx="5183188" cy="651538"/>
          </a:xfrm>
          <a:prstGeom prst="rect">
            <a:avLst/>
          </a:prstGeom>
        </p:spPr>
        <p:txBody>
          <a:bodyPr anchor="b"/>
          <a:lstStyle>
            <a:lvl1pPr marL="0" indent="0">
              <a:buNone/>
              <a:defRPr sz="24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B34560-D90F-4AA9-86F0-EA373D1678B8}"/>
              </a:ext>
            </a:extLst>
          </p:cNvPr>
          <p:cNvSpPr>
            <a:spLocks noGrp="1"/>
          </p:cNvSpPr>
          <p:nvPr>
            <p:ph sz="quarter" idx="4"/>
          </p:nvPr>
        </p:nvSpPr>
        <p:spPr>
          <a:xfrm>
            <a:off x="5942013" y="2111434"/>
            <a:ext cx="5183188" cy="3956856"/>
          </a:xfrm>
          <a:prstGeom prst="rect">
            <a:avLst/>
          </a:prstGeom>
        </p:spPr>
        <p:txBody>
          <a:bodyPr/>
          <a:lstStyle>
            <a:lvl1pPr marL="228600" indent="-228600">
              <a:buClr>
                <a:schemeClr val="accent3"/>
              </a:buClr>
              <a:buFont typeface="Arial" panose="020B0604020202020204" pitchFamily="34" charset="0"/>
              <a:buChar char="•"/>
              <a:defRPr/>
            </a:lvl1pPr>
            <a:lvl2pPr marL="685800" indent="-228600">
              <a:buClr>
                <a:schemeClr val="accent3"/>
              </a:buClr>
              <a:buFont typeface="Arial" panose="020B0604020202020204" pitchFamily="34" charset="0"/>
              <a:buChar char="•"/>
              <a:defRPr/>
            </a:lvl2pPr>
            <a:lvl3pPr marL="1143000" indent="-228600">
              <a:buClr>
                <a:schemeClr val="accent3"/>
              </a:buClr>
              <a:buFont typeface="Arial" panose="020B0604020202020204" pitchFamily="34" charset="0"/>
              <a:buChar char="•"/>
              <a:defRPr/>
            </a:lvl3pPr>
            <a:lvl4pPr marL="1600200" indent="-228600">
              <a:buClr>
                <a:schemeClr val="accent3"/>
              </a:buClr>
              <a:buFont typeface="Arial" panose="020B0604020202020204" pitchFamily="34" charset="0"/>
              <a:buChar char="•"/>
              <a:defRPr/>
            </a:lvl4pPr>
            <a:lvl5pPr marL="2057400" indent="-228600">
              <a:buClr>
                <a:schemeClr val="accent3"/>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4">
            <a:extLst>
              <a:ext uri="{FF2B5EF4-FFF2-40B4-BE49-F238E27FC236}">
                <a16:creationId xmlns:a16="http://schemas.microsoft.com/office/drawing/2014/main" id="{1994057A-1166-4C4D-AF69-0BF68EE85991}"/>
              </a:ext>
            </a:extLst>
          </p:cNvPr>
          <p:cNvSpPr>
            <a:spLocks noGrp="1"/>
          </p:cNvSpPr>
          <p:nvPr>
            <p:ph type="ftr" sz="quarter" idx="12"/>
          </p:nvPr>
        </p:nvSpPr>
        <p:spPr>
          <a:xfrm>
            <a:off x="609600" y="6356350"/>
            <a:ext cx="10515599" cy="442131"/>
          </a:xfrm>
          <a:prstGeom prst="rect">
            <a:avLst/>
          </a:prstGeom>
        </p:spPr>
        <p:txBody>
          <a:bodyPr vert="horz" lIns="91440" tIns="45720" rIns="91440" bIns="45720" rtlCol="0" anchor="b"/>
          <a:lstStyle>
            <a:lvl1pPr algn="l">
              <a:defRPr sz="1000">
                <a:solidFill>
                  <a:schemeClr val="tx1">
                    <a:tint val="75000"/>
                  </a:schemeClr>
                </a:solidFill>
              </a:defRPr>
            </a:lvl1pPr>
          </a:lstStyle>
          <a:p>
            <a:endParaRPr lang="en-US"/>
          </a:p>
        </p:txBody>
      </p:sp>
      <p:sp>
        <p:nvSpPr>
          <p:cNvPr id="10" name="Title 1">
            <a:extLst>
              <a:ext uri="{FF2B5EF4-FFF2-40B4-BE49-F238E27FC236}">
                <a16:creationId xmlns:a16="http://schemas.microsoft.com/office/drawing/2014/main" id="{DAD82D1D-D8EA-40A0-9D3E-9683300C0F61}"/>
              </a:ext>
            </a:extLst>
          </p:cNvPr>
          <p:cNvSpPr>
            <a:spLocks noGrp="1"/>
          </p:cNvSpPr>
          <p:nvPr>
            <p:ph type="title"/>
          </p:nvPr>
        </p:nvSpPr>
        <p:spPr>
          <a:xfrm>
            <a:off x="609600" y="199505"/>
            <a:ext cx="10744200" cy="1185577"/>
          </a:xfrm>
        </p:spPr>
        <p:txBody>
          <a:bodyPr>
            <a:normAutofit/>
          </a:bodyPr>
          <a:lstStyle>
            <a:lvl1pPr>
              <a:defRPr sz="3200"/>
            </a:lvl1pPr>
          </a:lstStyle>
          <a:p>
            <a:r>
              <a:rPr lang="en-US"/>
              <a:t>Click to edit Master title style</a:t>
            </a:r>
          </a:p>
        </p:txBody>
      </p:sp>
    </p:spTree>
    <p:extLst>
      <p:ext uri="{BB962C8B-B14F-4D97-AF65-F5344CB8AC3E}">
        <p14:creationId xmlns:p14="http://schemas.microsoft.com/office/powerpoint/2010/main" val="176150815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72062-0692-44AF-80AA-510E920DCD1B}"/>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2D517FC-F71A-47DC-8036-78E7C8941DC5}"/>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000">
                <a:solidFill>
                  <a:schemeClr val="tx1">
                    <a:tint val="75000"/>
                  </a:schemeClr>
                </a:solidFill>
              </a:defRPr>
            </a:lvl1pPr>
          </a:lstStyle>
          <a:p>
            <a:endParaRPr lang="en-US"/>
          </a:p>
        </p:txBody>
      </p:sp>
    </p:spTree>
    <p:extLst>
      <p:ext uri="{BB962C8B-B14F-4D97-AF65-F5344CB8AC3E}">
        <p14:creationId xmlns:p14="http://schemas.microsoft.com/office/powerpoint/2010/main" val="32740802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E52907-3DF8-4C44-B211-2D6AC012B4C1}"/>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9179E6D7-676E-DB2B-7A2F-C94C25418B5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0470B3B-A1EF-3C5A-F18A-4484F940B02A}"/>
              </a:ext>
            </a:extLst>
          </p:cNvPr>
          <p:cNvSpPr>
            <a:spLocks noGrp="1"/>
          </p:cNvSpPr>
          <p:nvPr>
            <p:ph type="dt" sz="half" idx="10"/>
          </p:nvPr>
        </p:nvSpPr>
        <p:spPr/>
        <p:txBody>
          <a:bodyPr/>
          <a:lstStyle/>
          <a:p>
            <a:fld id="{1B513D2C-D913-A84D-AE90-832E6E77C62A}" type="datetimeFigureOut">
              <a:rPr lang="en-US" smtClean="0"/>
              <a:t>10/16/23</a:t>
            </a:fld>
            <a:endParaRPr lang="en-US"/>
          </a:p>
        </p:txBody>
      </p:sp>
      <p:sp>
        <p:nvSpPr>
          <p:cNvPr id="5" name="Footer Placeholder 4">
            <a:extLst>
              <a:ext uri="{FF2B5EF4-FFF2-40B4-BE49-F238E27FC236}">
                <a16:creationId xmlns:a16="http://schemas.microsoft.com/office/drawing/2014/main" id="{752C9D23-4F74-D1E5-5142-F821B229769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62644C4-E2EB-9B50-9F6F-B5744925E48B}"/>
              </a:ext>
            </a:extLst>
          </p:cNvPr>
          <p:cNvSpPr>
            <a:spLocks noGrp="1"/>
          </p:cNvSpPr>
          <p:nvPr>
            <p:ph type="sldNum" sz="quarter" idx="12"/>
          </p:nvPr>
        </p:nvSpPr>
        <p:spPr/>
        <p:txBody>
          <a:bodyPr/>
          <a:lstStyle/>
          <a:p>
            <a:fld id="{3957A2A5-6A27-F248-B252-AF7C1B35A3B2}" type="slidenum">
              <a:rPr lang="en-US" smtClean="0"/>
              <a:t>‹#›</a:t>
            </a:fld>
            <a:endParaRPr lang="en-US"/>
          </a:p>
        </p:txBody>
      </p:sp>
    </p:spTree>
    <p:extLst>
      <p:ext uri="{BB962C8B-B14F-4D97-AF65-F5344CB8AC3E}">
        <p14:creationId xmlns:p14="http://schemas.microsoft.com/office/powerpoint/2010/main" val="139542546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B2F6B2D7-D2F9-4F1B-8FB7-00DCD968C2C6}"/>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000">
                <a:solidFill>
                  <a:schemeClr val="tx1">
                    <a:tint val="75000"/>
                  </a:schemeClr>
                </a:solidFill>
              </a:defRPr>
            </a:lvl1pPr>
          </a:lstStyle>
          <a:p>
            <a:endParaRPr lang="en-US"/>
          </a:p>
        </p:txBody>
      </p:sp>
    </p:spTree>
    <p:extLst>
      <p:ext uri="{BB962C8B-B14F-4D97-AF65-F5344CB8AC3E}">
        <p14:creationId xmlns:p14="http://schemas.microsoft.com/office/powerpoint/2010/main" val="335779745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426E8-50A6-47D6-B45F-134145E070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65C1316-9B30-4E35-91A7-4F8799CAE8FC}"/>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8B594DE-1DED-4824-B3AF-6D8B99419FD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Footer Placeholder 4">
            <a:extLst>
              <a:ext uri="{FF2B5EF4-FFF2-40B4-BE49-F238E27FC236}">
                <a16:creationId xmlns:a16="http://schemas.microsoft.com/office/drawing/2014/main" id="{67258FC2-34FC-49D0-A161-40DD5BA51713}"/>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000">
                <a:solidFill>
                  <a:schemeClr val="tx1">
                    <a:tint val="75000"/>
                  </a:schemeClr>
                </a:solidFill>
              </a:defRPr>
            </a:lvl1pPr>
          </a:lstStyle>
          <a:p>
            <a:endParaRPr lang="en-US"/>
          </a:p>
        </p:txBody>
      </p:sp>
    </p:spTree>
    <p:extLst>
      <p:ext uri="{BB962C8B-B14F-4D97-AF65-F5344CB8AC3E}">
        <p14:creationId xmlns:p14="http://schemas.microsoft.com/office/powerpoint/2010/main" val="40519186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382588" y="457199"/>
            <a:ext cx="4272539" cy="4015047"/>
          </a:xfrm>
        </p:spPr>
        <p:txBody>
          <a:bodyPr anchor="ctr"/>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5183188" y="606829"/>
            <a:ext cx="6172200" cy="525422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10" name="Footer Placeholder 4">
            <a:extLst>
              <a:ext uri="{FF2B5EF4-FFF2-40B4-BE49-F238E27FC236}">
                <a16:creationId xmlns:a16="http://schemas.microsoft.com/office/drawing/2014/main" id="{9FB64453-E8A2-48FD-8B67-B9DC2A133255}"/>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000">
                <a:solidFill>
                  <a:schemeClr val="tx1">
                    <a:tint val="75000"/>
                  </a:schemeClr>
                </a:solidFill>
              </a:defRPr>
            </a:lvl1pPr>
          </a:lstStyle>
          <a:p>
            <a:endParaRPr lang="en-US"/>
          </a:p>
        </p:txBody>
      </p:sp>
    </p:spTree>
    <p:extLst>
      <p:ext uri="{BB962C8B-B14F-4D97-AF65-F5344CB8AC3E}">
        <p14:creationId xmlns:p14="http://schemas.microsoft.com/office/powerpoint/2010/main" val="8802563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8E26C3D8-9015-40F4-B59B-697F1260941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Footer Placeholder 4">
            <a:extLst>
              <a:ext uri="{FF2B5EF4-FFF2-40B4-BE49-F238E27FC236}">
                <a16:creationId xmlns:a16="http://schemas.microsoft.com/office/drawing/2014/main" id="{9FB64453-E8A2-48FD-8B67-B9DC2A133255}"/>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000">
                <a:solidFill>
                  <a:schemeClr val="tx1">
                    <a:tint val="75000"/>
                  </a:schemeClr>
                </a:solidFill>
              </a:defRPr>
            </a:lvl1pPr>
          </a:lstStyle>
          <a:p>
            <a:endParaRPr lang="en-US"/>
          </a:p>
        </p:txBody>
      </p:sp>
    </p:spTree>
    <p:extLst>
      <p:ext uri="{BB962C8B-B14F-4D97-AF65-F5344CB8AC3E}">
        <p14:creationId xmlns:p14="http://schemas.microsoft.com/office/powerpoint/2010/main" val="59916175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itle Slid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609601" y="1709738"/>
            <a:ext cx="10515600" cy="2852737"/>
          </a:xfrm>
        </p:spPr>
        <p:txBody>
          <a:bodyPr anchor="ctr">
            <a:normAutofit/>
          </a:bodyPr>
          <a:lstStyle>
            <a:lvl1pPr>
              <a:defRPr sz="4800"/>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609601" y="4589463"/>
            <a:ext cx="10515600" cy="1500187"/>
          </a:xfrm>
          <a:prstGeom prst="rect">
            <a:avLst/>
          </a:prstGeom>
        </p:spPr>
        <p:txBody>
          <a:bodyPr>
            <a:normAutofit/>
          </a:bodyPr>
          <a:lstStyle>
            <a:lvl1pPr marL="0" indent="0">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8" name="Footer Placeholder 4">
            <a:extLst>
              <a:ext uri="{FF2B5EF4-FFF2-40B4-BE49-F238E27FC236}">
                <a16:creationId xmlns:a16="http://schemas.microsoft.com/office/drawing/2014/main" id="{5CD80B2F-AB86-4AC5-ADB1-2230734739B0}"/>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000">
                <a:solidFill>
                  <a:schemeClr val="tx1">
                    <a:tint val="75000"/>
                  </a:schemeClr>
                </a:solidFill>
              </a:defRPr>
            </a:lvl1pPr>
          </a:lstStyle>
          <a:p>
            <a:endParaRPr lang="en-US" sz="1000"/>
          </a:p>
        </p:txBody>
      </p:sp>
      <p:pic>
        <p:nvPicPr>
          <p:cNvPr id="8" name="Picture 7">
            <a:extLst>
              <a:ext uri="{FF2B5EF4-FFF2-40B4-BE49-F238E27FC236}">
                <a16:creationId xmlns:a16="http://schemas.microsoft.com/office/drawing/2014/main" id="{46147BEB-DBFC-41AF-8A4B-718D90B9AB66}"/>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975360"/>
          </a:xfrm>
          <a:prstGeom prst="rect">
            <a:avLst/>
          </a:prstGeom>
        </p:spPr>
      </p:pic>
      <p:pic>
        <p:nvPicPr>
          <p:cNvPr id="10" name="Picture 9">
            <a:extLst>
              <a:ext uri="{FF2B5EF4-FFF2-40B4-BE49-F238E27FC236}">
                <a16:creationId xmlns:a16="http://schemas.microsoft.com/office/drawing/2014/main" id="{1AA4465C-7E8E-47D9-93EC-E2ADB99327A9}"/>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 y="93853"/>
            <a:ext cx="1537746" cy="787653"/>
          </a:xfrm>
          <a:prstGeom prst="rect">
            <a:avLst/>
          </a:prstGeom>
        </p:spPr>
      </p:pic>
    </p:spTree>
    <p:extLst>
      <p:ext uri="{BB962C8B-B14F-4D97-AF65-F5344CB8AC3E}">
        <p14:creationId xmlns:p14="http://schemas.microsoft.com/office/powerpoint/2010/main" val="28273352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609601" y="1709738"/>
            <a:ext cx="10515600" cy="2852737"/>
          </a:xfrm>
        </p:spPr>
        <p:txBody>
          <a:bodyPr anchor="b">
            <a:normAutofit/>
          </a:bodyPr>
          <a:lstStyle>
            <a:lvl1pPr algn="r">
              <a:defRPr sz="3600"/>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609601" y="4589463"/>
            <a:ext cx="10515600" cy="1500187"/>
          </a:xfrm>
          <a:prstGeom prst="rect">
            <a:avLst/>
          </a:prstGeom>
        </p:spPr>
        <p:txBody>
          <a:bodyPr>
            <a:normAutofit/>
          </a:bodyPr>
          <a:lstStyle>
            <a:lvl1pPr marL="0" indent="0" algn="r">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8" name="Footer Placeholder 4">
            <a:extLst>
              <a:ext uri="{FF2B5EF4-FFF2-40B4-BE49-F238E27FC236}">
                <a16:creationId xmlns:a16="http://schemas.microsoft.com/office/drawing/2014/main" id="{5CD80B2F-AB86-4AC5-ADB1-2230734739B0}"/>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pic>
        <p:nvPicPr>
          <p:cNvPr id="8" name="Picture 7">
            <a:extLst>
              <a:ext uri="{FF2B5EF4-FFF2-40B4-BE49-F238E27FC236}">
                <a16:creationId xmlns:a16="http://schemas.microsoft.com/office/drawing/2014/main" id="{DF5F5FB5-B40D-470D-8C41-B7CE27E5193F}"/>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975360"/>
          </a:xfrm>
          <a:prstGeom prst="rect">
            <a:avLst/>
          </a:prstGeom>
        </p:spPr>
      </p:pic>
      <p:pic>
        <p:nvPicPr>
          <p:cNvPr id="7" name="Picture 6">
            <a:extLst>
              <a:ext uri="{FF2B5EF4-FFF2-40B4-BE49-F238E27FC236}">
                <a16:creationId xmlns:a16="http://schemas.microsoft.com/office/drawing/2014/main" id="{9F979B0B-4A4D-4553-BE93-A1959FB58E0D}"/>
              </a:ext>
            </a:extLst>
          </p:cNvPr>
          <p:cNvPicPr>
            <a:picLocks noChangeAspect="1"/>
          </p:cNvPicPr>
          <p:nvPr userDrawn="1"/>
        </p:nvPicPr>
        <p:blipFill rotWithShape="1">
          <a:blip r:embed="rId3" cstate="screen">
            <a:extLst>
              <a:ext uri="{28A0092B-C50C-407E-A947-70E740481C1C}">
                <a14:useLocalDpi xmlns:a14="http://schemas.microsoft.com/office/drawing/2010/main"/>
              </a:ext>
            </a:extLst>
          </a:blip>
          <a:srcRect/>
          <a:stretch/>
        </p:blipFill>
        <p:spPr>
          <a:xfrm>
            <a:off x="609600" y="93853"/>
            <a:ext cx="1537746" cy="787653"/>
          </a:xfrm>
          <a:prstGeom prst="rect">
            <a:avLst/>
          </a:prstGeom>
        </p:spPr>
      </p:pic>
    </p:spTree>
    <p:extLst>
      <p:ext uri="{BB962C8B-B14F-4D97-AF65-F5344CB8AC3E}">
        <p14:creationId xmlns:p14="http://schemas.microsoft.com/office/powerpoint/2010/main" val="177134580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Diagram Layout">
    <p:bg>
      <p:bgPr>
        <a:gradFill flip="none" rotWithShape="1">
          <a:gsLst>
            <a:gs pos="0">
              <a:schemeClr val="bg1"/>
            </a:gs>
            <a:gs pos="100000">
              <a:srgbClr val="EBEBEB"/>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88FA194F-9E80-4991-A301-2D14D459B8B6}"/>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000">
                <a:solidFill>
                  <a:schemeClr val="tx1">
                    <a:tint val="75000"/>
                  </a:schemeClr>
                </a:solidFill>
              </a:defRPr>
            </a:lvl1pPr>
          </a:lstStyle>
          <a:p>
            <a:endParaRPr lang="en-US" sz="1000"/>
          </a:p>
        </p:txBody>
      </p:sp>
    </p:spTree>
    <p:extLst>
      <p:ext uri="{BB962C8B-B14F-4D97-AF65-F5344CB8AC3E}">
        <p14:creationId xmlns:p14="http://schemas.microsoft.com/office/powerpoint/2010/main" val="266553591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d Diagram Layout">
    <p:bg>
      <p:bgPr>
        <a:gradFill flip="none" rotWithShape="1">
          <a:gsLst>
            <a:gs pos="0">
              <a:schemeClr val="bg1"/>
            </a:gs>
            <a:gs pos="100000">
              <a:srgbClr val="EBEBEB"/>
            </a:gs>
          </a:gsLst>
          <a:path path="circle">
            <a:fillToRect l="50000" t="50000" r="50000" b="50000"/>
          </a:path>
          <a:tileRect/>
        </a:gra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174E47-6B81-4DA6-BC35-65E2DCA474B0}"/>
              </a:ext>
            </a:extLst>
          </p:cNvPr>
          <p:cNvSpPr>
            <a:spLocks noGrp="1"/>
          </p:cNvSpPr>
          <p:nvPr>
            <p:ph type="title"/>
          </p:nvPr>
        </p:nvSpPr>
        <p:spPr/>
        <p:txBody>
          <a:bodyPr/>
          <a:lstStyle/>
          <a:p>
            <a:r>
              <a:rPr lang="en-US"/>
              <a:t>Click to edit Master title style</a:t>
            </a:r>
          </a:p>
        </p:txBody>
      </p:sp>
      <p:sp>
        <p:nvSpPr>
          <p:cNvPr id="3" name="Footer Placeholder 4">
            <a:extLst>
              <a:ext uri="{FF2B5EF4-FFF2-40B4-BE49-F238E27FC236}">
                <a16:creationId xmlns:a16="http://schemas.microsoft.com/office/drawing/2014/main" id="{2F70BFC7-62AB-4097-AE5E-3ACB64158A60}"/>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000">
                <a:solidFill>
                  <a:schemeClr val="tx1">
                    <a:tint val="75000"/>
                  </a:schemeClr>
                </a:solidFill>
              </a:defRPr>
            </a:lvl1pPr>
          </a:lstStyle>
          <a:p>
            <a:endParaRPr lang="en-US" sz="1000" dirty="0"/>
          </a:p>
        </p:txBody>
      </p:sp>
    </p:spTree>
    <p:extLst>
      <p:ext uri="{BB962C8B-B14F-4D97-AF65-F5344CB8AC3E}">
        <p14:creationId xmlns:p14="http://schemas.microsoft.com/office/powerpoint/2010/main" val="63533214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FFFFF"/>
        </a:solidFill>
        <a:effectLst/>
      </p:bgPr>
    </p:bg>
    <p:spTree>
      <p:nvGrpSpPr>
        <p:cNvPr id="1" name=""/>
        <p:cNvGrpSpPr/>
        <p:nvPr/>
      </p:nvGrpSpPr>
      <p:grpSpPr>
        <a:xfrm>
          <a:off x="0" y="0"/>
          <a:ext cx="0" cy="0"/>
          <a:chOff x="0" y="0"/>
          <a:chExt cx="0" cy="0"/>
        </a:xfrm>
      </p:grpSpPr>
      <p:sp>
        <p:nvSpPr>
          <p:cNvPr id="9" name="Footer Placeholder 4">
            <a:extLst>
              <a:ext uri="{FF2B5EF4-FFF2-40B4-BE49-F238E27FC236}">
                <a16:creationId xmlns:a16="http://schemas.microsoft.com/office/drawing/2014/main" id="{F68C6A00-68E4-474E-9AA8-0891DD87D051}"/>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000">
                <a:solidFill>
                  <a:schemeClr val="tx1">
                    <a:tint val="75000"/>
                  </a:schemeClr>
                </a:solidFill>
              </a:defRPr>
            </a:lvl1pPr>
          </a:lstStyle>
          <a:p>
            <a:endParaRPr lang="en-US" sz="1000"/>
          </a:p>
        </p:txBody>
      </p:sp>
      <p:sp>
        <p:nvSpPr>
          <p:cNvPr id="6" name="Title Placeholder 1">
            <a:extLst>
              <a:ext uri="{FF2B5EF4-FFF2-40B4-BE49-F238E27FC236}">
                <a16:creationId xmlns:a16="http://schemas.microsoft.com/office/drawing/2014/main" id="{C3A58A5E-CE8B-4381-B491-4E79B68F618B}"/>
              </a:ext>
            </a:extLst>
          </p:cNvPr>
          <p:cNvSpPr>
            <a:spLocks noGrp="1"/>
          </p:cNvSpPr>
          <p:nvPr>
            <p:ph type="title"/>
          </p:nvPr>
        </p:nvSpPr>
        <p:spPr>
          <a:xfrm>
            <a:off x="609600" y="199505"/>
            <a:ext cx="10744200" cy="1185577"/>
          </a:xfrm>
          <a:prstGeom prst="rect">
            <a:avLst/>
          </a:prstGeom>
        </p:spPr>
        <p:txBody>
          <a:bodyPr vert="horz" lIns="91440" tIns="45720" rIns="91440" bIns="45720" rtlCol="0" anchor="ctr" anchorCtr="0">
            <a:normAutofit/>
          </a:bodyPr>
          <a:lstStyle/>
          <a:p>
            <a:r>
              <a:rPr lang="en-US"/>
              <a:t>Click to edit Master title style</a:t>
            </a:r>
            <a:endParaRPr lang="en-US" dirty="0"/>
          </a:p>
        </p:txBody>
      </p:sp>
      <p:sp>
        <p:nvSpPr>
          <p:cNvPr id="7" name="Text Placeholder 2">
            <a:extLst>
              <a:ext uri="{FF2B5EF4-FFF2-40B4-BE49-F238E27FC236}">
                <a16:creationId xmlns:a16="http://schemas.microsoft.com/office/drawing/2014/main" id="{B8793117-580E-4BE7-82EC-6BE8CEEDED56}"/>
              </a:ext>
            </a:extLst>
          </p:cNvPr>
          <p:cNvSpPr>
            <a:spLocks noGrp="1"/>
          </p:cNvSpPr>
          <p:nvPr>
            <p:ph idx="1"/>
          </p:nvPr>
        </p:nvSpPr>
        <p:spPr>
          <a:xfrm>
            <a:off x="609600" y="1477906"/>
            <a:ext cx="10744200" cy="472247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5321336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F8544-5F66-42F5-A339-E46C7881EF7F}"/>
              </a:ext>
            </a:extLst>
          </p:cNvPr>
          <p:cNvSpPr>
            <a:spLocks noGrp="1"/>
          </p:cNvSpPr>
          <p:nvPr>
            <p:ph type="title"/>
          </p:nvPr>
        </p:nvSpPr>
        <p:spPr/>
        <p:txBody>
          <a:bodyPr>
            <a:normAutofit/>
          </a:bodyPr>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E98E0E9-1525-4AB4-A8AF-8BF10D89D4E7}"/>
              </a:ext>
            </a:extLst>
          </p:cNvPr>
          <p:cNvSpPr>
            <a:spLocks noGrp="1"/>
          </p:cNvSpPr>
          <p:nvPr>
            <p:ph sz="half" idx="1"/>
          </p:nvPr>
        </p:nvSpPr>
        <p:spPr>
          <a:xfrm>
            <a:off x="609600" y="1496291"/>
            <a:ext cx="5181600" cy="46806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CFA8448F-6F16-4184-A898-7F06CF6766C6}"/>
              </a:ext>
            </a:extLst>
          </p:cNvPr>
          <p:cNvSpPr>
            <a:spLocks noGrp="1"/>
          </p:cNvSpPr>
          <p:nvPr>
            <p:ph sz="half" idx="2"/>
          </p:nvPr>
        </p:nvSpPr>
        <p:spPr>
          <a:xfrm>
            <a:off x="5943600" y="1496291"/>
            <a:ext cx="5181600" cy="46806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DE44C219-F83B-4E76-BAE0-A183B8940696}"/>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000">
                <a:solidFill>
                  <a:schemeClr val="tx1">
                    <a:tint val="75000"/>
                  </a:schemeClr>
                </a:solidFill>
              </a:defRPr>
            </a:lvl1pPr>
          </a:lstStyle>
          <a:p>
            <a:endParaRPr lang="en-US" sz="1000"/>
          </a:p>
        </p:txBody>
      </p:sp>
    </p:spTree>
    <p:extLst>
      <p:ext uri="{BB962C8B-B14F-4D97-AF65-F5344CB8AC3E}">
        <p14:creationId xmlns:p14="http://schemas.microsoft.com/office/powerpoint/2010/main" val="383190326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10816F-1B5E-6821-8A48-1A8C0850A4A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3D8D110-CB6D-3C39-3333-7B6DF23D175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AE35632E-960D-245C-873B-E381D1E39CE6}"/>
              </a:ext>
            </a:extLst>
          </p:cNvPr>
          <p:cNvSpPr>
            <a:spLocks noGrp="1"/>
          </p:cNvSpPr>
          <p:nvPr>
            <p:ph type="dt" sz="half" idx="10"/>
          </p:nvPr>
        </p:nvSpPr>
        <p:spPr/>
        <p:txBody>
          <a:bodyPr/>
          <a:lstStyle/>
          <a:p>
            <a:fld id="{1B513D2C-D913-A84D-AE90-832E6E77C62A}" type="datetimeFigureOut">
              <a:rPr lang="en-US" smtClean="0"/>
              <a:t>10/16/23</a:t>
            </a:fld>
            <a:endParaRPr lang="en-US"/>
          </a:p>
        </p:txBody>
      </p:sp>
      <p:sp>
        <p:nvSpPr>
          <p:cNvPr id="5" name="Footer Placeholder 4">
            <a:extLst>
              <a:ext uri="{FF2B5EF4-FFF2-40B4-BE49-F238E27FC236}">
                <a16:creationId xmlns:a16="http://schemas.microsoft.com/office/drawing/2014/main" id="{3D1ECF45-61A5-D7E6-21A0-4EDB6A962D3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C407DDB-8338-9B39-AD41-A4B1F680487A}"/>
              </a:ext>
            </a:extLst>
          </p:cNvPr>
          <p:cNvSpPr>
            <a:spLocks noGrp="1"/>
          </p:cNvSpPr>
          <p:nvPr>
            <p:ph type="sldNum" sz="quarter" idx="12"/>
          </p:nvPr>
        </p:nvSpPr>
        <p:spPr/>
        <p:txBody>
          <a:bodyPr/>
          <a:lstStyle/>
          <a:p>
            <a:fld id="{3957A2A5-6A27-F248-B252-AF7C1B35A3B2}" type="slidenum">
              <a:rPr lang="en-US" smtClean="0"/>
              <a:t>‹#›</a:t>
            </a:fld>
            <a:endParaRPr lang="en-US"/>
          </a:p>
        </p:txBody>
      </p:sp>
    </p:spTree>
    <p:extLst>
      <p:ext uri="{BB962C8B-B14F-4D97-AF65-F5344CB8AC3E}">
        <p14:creationId xmlns:p14="http://schemas.microsoft.com/office/powerpoint/2010/main" val="374971392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22D2BB-B893-45AC-B4B9-21CF5F89EABD}"/>
              </a:ext>
            </a:extLst>
          </p:cNvPr>
          <p:cNvSpPr>
            <a:spLocks noGrp="1"/>
          </p:cNvSpPr>
          <p:nvPr>
            <p:ph type="body" idx="1"/>
          </p:nvPr>
        </p:nvSpPr>
        <p:spPr>
          <a:xfrm>
            <a:off x="609601" y="1459896"/>
            <a:ext cx="5157787" cy="651538"/>
          </a:xfrm>
          <a:prstGeom prst="rect">
            <a:avLst/>
          </a:prstGeom>
        </p:spPr>
        <p:txBody>
          <a:bodyPr anchor="b"/>
          <a:lstStyle>
            <a:lvl1pPr marL="0" indent="0">
              <a:buNone/>
              <a:defRPr sz="2400" b="1">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27EFEE-C04A-49BE-8AC8-1C93672FAC03}"/>
              </a:ext>
            </a:extLst>
          </p:cNvPr>
          <p:cNvSpPr>
            <a:spLocks noGrp="1"/>
          </p:cNvSpPr>
          <p:nvPr>
            <p:ph sz="half" idx="2"/>
          </p:nvPr>
        </p:nvSpPr>
        <p:spPr>
          <a:xfrm>
            <a:off x="609601" y="2111434"/>
            <a:ext cx="5157787" cy="3956856"/>
          </a:xfrm>
          <a:prstGeom prst="rect">
            <a:avLst/>
          </a:prstGeom>
        </p:spPr>
        <p:txBody>
          <a:bodyPr/>
          <a:lstStyle>
            <a:lvl1pPr marL="228600" indent="-228600">
              <a:buClr>
                <a:schemeClr val="accent1"/>
              </a:buClr>
              <a:buSzPct val="100000"/>
              <a:buFont typeface="Arial" panose="020B0604020202020204" pitchFamily="34" charset="0"/>
              <a:buChar char="•"/>
              <a:defRPr/>
            </a:lvl1pPr>
            <a:lvl2pPr marL="685800" indent="-228600">
              <a:buClr>
                <a:schemeClr val="accent1"/>
              </a:buClr>
              <a:buSzPct val="100000"/>
              <a:buFont typeface="Arial" panose="020B0604020202020204" pitchFamily="34" charset="0"/>
              <a:buChar char="•"/>
              <a:defRPr/>
            </a:lvl2pPr>
            <a:lvl3pPr marL="1143000" indent="-228600">
              <a:buClr>
                <a:schemeClr val="accent1"/>
              </a:buClr>
              <a:buSzPct val="100000"/>
              <a:buFont typeface="Arial" panose="020B0604020202020204" pitchFamily="34" charset="0"/>
              <a:buChar char="•"/>
              <a:defRPr/>
            </a:lvl3pPr>
            <a:lvl4pPr marL="1600200" indent="-228600">
              <a:buClr>
                <a:schemeClr val="accent1"/>
              </a:buClr>
              <a:buSzPct val="100000"/>
              <a:buFont typeface="Arial" panose="020B0604020202020204" pitchFamily="34" charset="0"/>
              <a:buChar char="•"/>
              <a:defRPr/>
            </a:lvl4pPr>
            <a:lvl5pPr marL="2057400" indent="-228600">
              <a:buClr>
                <a:schemeClr val="accent1"/>
              </a:buClr>
              <a:buSzPct val="1000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63B977BB-61BD-47AD-991E-2E6E5CEC0643}"/>
              </a:ext>
            </a:extLst>
          </p:cNvPr>
          <p:cNvSpPr>
            <a:spLocks noGrp="1"/>
          </p:cNvSpPr>
          <p:nvPr>
            <p:ph type="body" sz="quarter" idx="3"/>
          </p:nvPr>
        </p:nvSpPr>
        <p:spPr>
          <a:xfrm>
            <a:off x="5942013" y="1459896"/>
            <a:ext cx="5183188" cy="651538"/>
          </a:xfrm>
          <a:prstGeom prst="rect">
            <a:avLst/>
          </a:prstGeom>
        </p:spPr>
        <p:txBody>
          <a:bodyPr anchor="b"/>
          <a:lstStyle>
            <a:lvl1pPr marL="0" indent="0">
              <a:buNone/>
              <a:defRPr sz="2400" b="1">
                <a:solidFill>
                  <a:schemeClr val="accent3"/>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B34560-D90F-4AA9-86F0-EA373D1678B8}"/>
              </a:ext>
            </a:extLst>
          </p:cNvPr>
          <p:cNvSpPr>
            <a:spLocks noGrp="1"/>
          </p:cNvSpPr>
          <p:nvPr>
            <p:ph sz="quarter" idx="4"/>
          </p:nvPr>
        </p:nvSpPr>
        <p:spPr>
          <a:xfrm>
            <a:off x="5942013" y="2111434"/>
            <a:ext cx="5183188" cy="3956856"/>
          </a:xfrm>
          <a:prstGeom prst="rect">
            <a:avLst/>
          </a:prstGeom>
        </p:spPr>
        <p:txBody>
          <a:bodyPr/>
          <a:lstStyle>
            <a:lvl1pPr marL="228600" indent="-228600">
              <a:buClr>
                <a:schemeClr val="accent3"/>
              </a:buClr>
              <a:buFont typeface="Arial" panose="020B0604020202020204" pitchFamily="34" charset="0"/>
              <a:buChar char="•"/>
              <a:defRPr/>
            </a:lvl1pPr>
            <a:lvl2pPr marL="685800" indent="-228600">
              <a:buClr>
                <a:schemeClr val="accent3"/>
              </a:buClr>
              <a:buFont typeface="Arial" panose="020B0604020202020204" pitchFamily="34" charset="0"/>
              <a:buChar char="•"/>
              <a:defRPr/>
            </a:lvl2pPr>
            <a:lvl3pPr marL="1143000" indent="-228600">
              <a:buClr>
                <a:schemeClr val="accent3"/>
              </a:buClr>
              <a:buFont typeface="Arial" panose="020B0604020202020204" pitchFamily="34" charset="0"/>
              <a:buChar char="•"/>
              <a:defRPr/>
            </a:lvl3pPr>
            <a:lvl4pPr marL="1600200" indent="-228600">
              <a:buClr>
                <a:schemeClr val="accent3"/>
              </a:buClr>
              <a:buFont typeface="Arial" panose="020B0604020202020204" pitchFamily="34" charset="0"/>
              <a:buChar char="•"/>
              <a:defRPr/>
            </a:lvl4pPr>
            <a:lvl5pPr marL="2057400" indent="-228600">
              <a:buClr>
                <a:schemeClr val="accent3"/>
              </a:buClr>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4">
            <a:extLst>
              <a:ext uri="{FF2B5EF4-FFF2-40B4-BE49-F238E27FC236}">
                <a16:creationId xmlns:a16="http://schemas.microsoft.com/office/drawing/2014/main" id="{1994057A-1166-4C4D-AF69-0BF68EE85991}"/>
              </a:ext>
            </a:extLst>
          </p:cNvPr>
          <p:cNvSpPr>
            <a:spLocks noGrp="1"/>
          </p:cNvSpPr>
          <p:nvPr>
            <p:ph type="ftr" sz="quarter" idx="12"/>
          </p:nvPr>
        </p:nvSpPr>
        <p:spPr>
          <a:xfrm>
            <a:off x="609600" y="6356350"/>
            <a:ext cx="10515599" cy="442131"/>
          </a:xfrm>
          <a:prstGeom prst="rect">
            <a:avLst/>
          </a:prstGeom>
        </p:spPr>
        <p:txBody>
          <a:bodyPr vert="horz" lIns="91440" tIns="45720" rIns="91440" bIns="45720" rtlCol="0" anchor="b"/>
          <a:lstStyle>
            <a:lvl1pPr algn="l">
              <a:defRPr sz="1000">
                <a:solidFill>
                  <a:schemeClr val="tx1">
                    <a:tint val="75000"/>
                  </a:schemeClr>
                </a:solidFill>
              </a:defRPr>
            </a:lvl1pPr>
          </a:lstStyle>
          <a:p>
            <a:endParaRPr lang="en-US" sz="1000" dirty="0"/>
          </a:p>
        </p:txBody>
      </p:sp>
      <p:sp>
        <p:nvSpPr>
          <p:cNvPr id="10" name="Title 1">
            <a:extLst>
              <a:ext uri="{FF2B5EF4-FFF2-40B4-BE49-F238E27FC236}">
                <a16:creationId xmlns:a16="http://schemas.microsoft.com/office/drawing/2014/main" id="{DAD82D1D-D8EA-40A0-9D3E-9683300C0F61}"/>
              </a:ext>
            </a:extLst>
          </p:cNvPr>
          <p:cNvSpPr>
            <a:spLocks noGrp="1"/>
          </p:cNvSpPr>
          <p:nvPr>
            <p:ph type="title"/>
          </p:nvPr>
        </p:nvSpPr>
        <p:spPr>
          <a:xfrm>
            <a:off x="609600" y="199505"/>
            <a:ext cx="10744200" cy="1185577"/>
          </a:xfrm>
        </p:spPr>
        <p:txBody>
          <a:bodyPr>
            <a:normAutofit/>
          </a:bodyPr>
          <a:lstStyle>
            <a:lvl1pPr>
              <a:defRPr sz="3200"/>
            </a:lvl1pPr>
          </a:lstStyle>
          <a:p>
            <a:r>
              <a:rPr lang="en-US"/>
              <a:t>Click to edit Master title style</a:t>
            </a:r>
          </a:p>
        </p:txBody>
      </p:sp>
    </p:spTree>
    <p:extLst>
      <p:ext uri="{BB962C8B-B14F-4D97-AF65-F5344CB8AC3E}">
        <p14:creationId xmlns:p14="http://schemas.microsoft.com/office/powerpoint/2010/main" val="34664236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72062-0692-44AF-80AA-510E920DCD1B}"/>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2D517FC-F71A-47DC-8036-78E7C8941DC5}"/>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000">
                <a:solidFill>
                  <a:schemeClr val="tx1">
                    <a:tint val="75000"/>
                  </a:schemeClr>
                </a:solidFill>
              </a:defRPr>
            </a:lvl1pPr>
          </a:lstStyle>
          <a:p>
            <a:endParaRPr lang="en-US" sz="1000"/>
          </a:p>
        </p:txBody>
      </p:sp>
    </p:spTree>
    <p:extLst>
      <p:ext uri="{BB962C8B-B14F-4D97-AF65-F5344CB8AC3E}">
        <p14:creationId xmlns:p14="http://schemas.microsoft.com/office/powerpoint/2010/main" val="294203670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B2F6B2D7-D2F9-4F1B-8FB7-00DCD968C2C6}"/>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000">
                <a:solidFill>
                  <a:schemeClr val="tx1">
                    <a:tint val="75000"/>
                  </a:schemeClr>
                </a:solidFill>
              </a:defRPr>
            </a:lvl1pPr>
          </a:lstStyle>
          <a:p>
            <a:endParaRPr lang="en-US" sz="1000"/>
          </a:p>
        </p:txBody>
      </p:sp>
    </p:spTree>
    <p:extLst>
      <p:ext uri="{BB962C8B-B14F-4D97-AF65-F5344CB8AC3E}">
        <p14:creationId xmlns:p14="http://schemas.microsoft.com/office/powerpoint/2010/main" val="254938659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426E8-50A6-47D6-B45F-134145E070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65C1316-9B30-4E35-91A7-4F8799CAE8FC}"/>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8B594DE-1DED-4824-B3AF-6D8B99419FD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Footer Placeholder 4">
            <a:extLst>
              <a:ext uri="{FF2B5EF4-FFF2-40B4-BE49-F238E27FC236}">
                <a16:creationId xmlns:a16="http://schemas.microsoft.com/office/drawing/2014/main" id="{67258FC2-34FC-49D0-A161-40DD5BA51713}"/>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000">
                <a:solidFill>
                  <a:schemeClr val="tx1">
                    <a:tint val="75000"/>
                  </a:schemeClr>
                </a:solidFill>
              </a:defRPr>
            </a:lvl1pPr>
          </a:lstStyle>
          <a:p>
            <a:endParaRPr lang="en-US" sz="1000"/>
          </a:p>
        </p:txBody>
      </p:sp>
    </p:spTree>
    <p:extLst>
      <p:ext uri="{BB962C8B-B14F-4D97-AF65-F5344CB8AC3E}">
        <p14:creationId xmlns:p14="http://schemas.microsoft.com/office/powerpoint/2010/main" val="388249033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382588" y="457199"/>
            <a:ext cx="4272539" cy="4015047"/>
          </a:xfrm>
        </p:spPr>
        <p:txBody>
          <a:bodyPr anchor="ctr"/>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5183188" y="606829"/>
            <a:ext cx="6172200" cy="525422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10" name="Footer Placeholder 4">
            <a:extLst>
              <a:ext uri="{FF2B5EF4-FFF2-40B4-BE49-F238E27FC236}">
                <a16:creationId xmlns:a16="http://schemas.microsoft.com/office/drawing/2014/main" id="{9FB64453-E8A2-48FD-8B67-B9DC2A133255}"/>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000">
                <a:solidFill>
                  <a:schemeClr val="tx1">
                    <a:tint val="75000"/>
                  </a:schemeClr>
                </a:solidFill>
              </a:defRPr>
            </a:lvl1pPr>
          </a:lstStyle>
          <a:p>
            <a:endParaRPr lang="en-US" sz="1000"/>
          </a:p>
        </p:txBody>
      </p:sp>
    </p:spTree>
    <p:extLst>
      <p:ext uri="{BB962C8B-B14F-4D97-AF65-F5344CB8AC3E}">
        <p14:creationId xmlns:p14="http://schemas.microsoft.com/office/powerpoint/2010/main" val="363269305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5183188" y="987425"/>
            <a:ext cx="6172200" cy="487362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8E26C3D8-9015-40F4-B59B-697F1260941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Footer Placeholder 4">
            <a:extLst>
              <a:ext uri="{FF2B5EF4-FFF2-40B4-BE49-F238E27FC236}">
                <a16:creationId xmlns:a16="http://schemas.microsoft.com/office/drawing/2014/main" id="{9FB64453-E8A2-48FD-8B67-B9DC2A133255}"/>
              </a:ext>
            </a:extLst>
          </p:cNvPr>
          <p:cNvSpPr>
            <a:spLocks noGrp="1"/>
          </p:cNvSpPr>
          <p:nvPr>
            <p:ph type="ftr" sz="quarter" idx="3"/>
          </p:nvPr>
        </p:nvSpPr>
        <p:spPr>
          <a:xfrm>
            <a:off x="609601" y="6356350"/>
            <a:ext cx="9020174" cy="442131"/>
          </a:xfrm>
          <a:prstGeom prst="rect">
            <a:avLst/>
          </a:prstGeom>
        </p:spPr>
        <p:txBody>
          <a:bodyPr vert="horz" lIns="91440" tIns="45720" rIns="91440" bIns="45720" rtlCol="0" anchor="b"/>
          <a:lstStyle>
            <a:lvl1pPr algn="l">
              <a:defRPr sz="1000">
                <a:solidFill>
                  <a:schemeClr val="tx1">
                    <a:tint val="75000"/>
                  </a:schemeClr>
                </a:solidFill>
              </a:defRPr>
            </a:lvl1pPr>
          </a:lstStyle>
          <a:p>
            <a:endParaRPr lang="en-US" sz="1000"/>
          </a:p>
        </p:txBody>
      </p:sp>
    </p:spTree>
    <p:extLst>
      <p:ext uri="{BB962C8B-B14F-4D97-AF65-F5344CB8AC3E}">
        <p14:creationId xmlns:p14="http://schemas.microsoft.com/office/powerpoint/2010/main" val="252382286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title, graphic">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5367" y="378458"/>
            <a:ext cx="10145760" cy="387798"/>
          </a:xfrm>
        </p:spPr>
        <p:txBody>
          <a:bodyPr/>
          <a:lstStyle>
            <a:lvl1pPr>
              <a:defRPr sz="2800">
                <a:solidFill>
                  <a:schemeClr val="tx1"/>
                </a:solidFill>
              </a:defRPr>
            </a:lvl1pPr>
          </a:lstStyle>
          <a:p>
            <a:r>
              <a:rPr lang="en-US"/>
              <a:t>Click to edit Master title style</a:t>
            </a:r>
          </a:p>
        </p:txBody>
      </p:sp>
      <p:sp>
        <p:nvSpPr>
          <p:cNvPr id="7" name="Content Placeholder 11"/>
          <p:cNvSpPr>
            <a:spLocks noGrp="1"/>
          </p:cNvSpPr>
          <p:nvPr>
            <p:ph sz="quarter" idx="15" hasCustomPrompt="1"/>
          </p:nvPr>
        </p:nvSpPr>
        <p:spPr>
          <a:xfrm>
            <a:off x="601601" y="1713178"/>
            <a:ext cx="10985780" cy="4169411"/>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chemeClr val="tx1"/>
                </a:solidFill>
                <a:latin typeface="Verdana" charset="0"/>
                <a:ea typeface="Verdana" charset="0"/>
                <a:cs typeface="Verdana" charset="0"/>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latin typeface="Verdana" charset="0"/>
                <a:ea typeface="Verdana" charset="0"/>
                <a:cs typeface="Verdana" charset="0"/>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9" name="Slide Number Placeholder 5"/>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D816501-AAE5-214E-B100-00C3DC5F5E3F}" type="slidenum">
              <a:rPr kumimoji="0" lang="en-US" sz="800" b="0" i="0" u="none" strike="noStrike" kern="1200" cap="none" spc="0" normalizeH="0" baseline="0" noProof="0" smtClean="0">
                <a:ln>
                  <a:noFill/>
                </a:ln>
                <a:solidFill>
                  <a:srgbClr val="646464"/>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646464"/>
              </a:solidFill>
              <a:effectLst/>
              <a:uLnTx/>
              <a:uFillTx/>
              <a:latin typeface="Verdana" panose="020B0604030504040204" pitchFamily="34" charset="0"/>
              <a:ea typeface="Verdana" panose="020B0604030504040204" pitchFamily="34" charset="0"/>
            </a:endParaRPr>
          </a:p>
        </p:txBody>
      </p:sp>
      <p:sp>
        <p:nvSpPr>
          <p:cNvPr id="6" name="Text Placeholder 1">
            <a:extLst>
              <a:ext uri="{FF2B5EF4-FFF2-40B4-BE49-F238E27FC236}">
                <a16:creationId xmlns:a16="http://schemas.microsoft.com/office/drawing/2014/main" id="{96D72E1E-B984-4549-A167-F13A2D8494E7}"/>
              </a:ext>
            </a:extLst>
          </p:cNvPr>
          <p:cNvSpPr>
            <a:spLocks noGrp="1"/>
          </p:cNvSpPr>
          <p:nvPr>
            <p:ph type="body" sz="quarter" idx="16"/>
          </p:nvPr>
        </p:nvSpPr>
        <p:spPr>
          <a:xfrm>
            <a:off x="601663" y="5943600"/>
            <a:ext cx="6430962" cy="354013"/>
          </a:xfrm>
        </p:spPr>
        <p:txBody>
          <a:bodyPr anchor="b"/>
          <a:lstStyle>
            <a:lvl1pPr marL="0" indent="0">
              <a:buNone/>
              <a:defRPr sz="700"/>
            </a:lvl1pPr>
          </a:lstStyle>
          <a:p>
            <a:endParaRPr lang="en-GB"/>
          </a:p>
        </p:txBody>
      </p:sp>
    </p:spTree>
    <p:extLst>
      <p:ext uri="{BB962C8B-B14F-4D97-AF65-F5344CB8AC3E}">
        <p14:creationId xmlns:p14="http://schemas.microsoft.com/office/powerpoint/2010/main" val="95894216"/>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matchingName="Two Content with Bullets" userDrawn="1">
  <p:cSld name="Two Content with Bullets">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GB"/>
              <a:t>Click to edit master title style</a:t>
            </a:r>
          </a:p>
        </p:txBody>
      </p:sp>
      <p:sp>
        <p:nvSpPr>
          <p:cNvPr id="11" name="Slide Number Placeholder 5">
            <a:extLst>
              <a:ext uri="{FF2B5EF4-FFF2-40B4-BE49-F238E27FC236}">
                <a16:creationId xmlns:a16="http://schemas.microsoft.com/office/drawing/2014/main" id="{AE238903-07E3-49CC-ABDE-8C6954453005}"/>
              </a:ext>
            </a:extLst>
          </p:cNvPr>
          <p:cNvSpPr>
            <a:spLocks noGrp="1"/>
          </p:cNvSpPr>
          <p:nvPr>
            <p:ph type="sldNum" sz="quarter" idx="4"/>
          </p:nvPr>
        </p:nvSpPr>
        <p:spPr>
          <a:xfrm>
            <a:off x="11640709" y="6297783"/>
            <a:ext cx="379678" cy="333375"/>
          </a:xfrm>
          <a:prstGeom prst="rect">
            <a:avLst/>
          </a:prstGeom>
        </p:spPr>
        <p:txBody>
          <a:bodyPr vert="horz" lIns="91440" tIns="45720" rIns="91440" bIns="45720" rtlCol="0" anchor="ctr"/>
          <a:lstStyle>
            <a:lvl1pPr algn="r">
              <a:defRPr sz="800">
                <a:solidFill>
                  <a:schemeClr val="tx2"/>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AD816501-AAE5-214E-B100-00C3DC5F5E3F}" type="slidenum">
              <a:rPr kumimoji="0" lang="en-US" sz="800" b="0" i="0" u="none" strike="noStrike" kern="1200" cap="none" spc="0" normalizeH="0" baseline="0" noProof="0" smtClean="0">
                <a:ln>
                  <a:noFill/>
                </a:ln>
                <a:solidFill>
                  <a:srgbClr val="646464"/>
                </a:solidFill>
                <a:effectLst/>
                <a:uLnTx/>
                <a:uFillTx/>
                <a:latin typeface="Verdana" panose="020B0604030504040204" pitchFamily="34" charset="0"/>
                <a:ea typeface="Verdana" panose="020B060403050404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en-US" sz="800" b="0" i="0" u="none" strike="noStrike" kern="1200" cap="none" spc="0" normalizeH="0" baseline="0" noProof="0">
              <a:ln>
                <a:noFill/>
              </a:ln>
              <a:solidFill>
                <a:srgbClr val="646464"/>
              </a:solidFill>
              <a:effectLst/>
              <a:uLnTx/>
              <a:uFillTx/>
              <a:latin typeface="Verdana" panose="020B0604030504040204" pitchFamily="34" charset="0"/>
              <a:ea typeface="Verdana" panose="020B0604030504040204" pitchFamily="34" charset="0"/>
            </a:endParaRPr>
          </a:p>
        </p:txBody>
      </p:sp>
      <p:sp>
        <p:nvSpPr>
          <p:cNvPr id="12" name="Text Placeholder 1">
            <a:extLst>
              <a:ext uri="{FF2B5EF4-FFF2-40B4-BE49-F238E27FC236}">
                <a16:creationId xmlns:a16="http://schemas.microsoft.com/office/drawing/2014/main" id="{348EBD5C-6878-45FE-9945-06F39BD9BE16}"/>
              </a:ext>
            </a:extLst>
          </p:cNvPr>
          <p:cNvSpPr>
            <a:spLocks noGrp="1"/>
          </p:cNvSpPr>
          <p:nvPr>
            <p:ph type="body" sz="quarter" idx="16"/>
          </p:nvPr>
        </p:nvSpPr>
        <p:spPr>
          <a:xfrm>
            <a:off x="601663" y="5943600"/>
            <a:ext cx="6430962" cy="354013"/>
          </a:xfrm>
        </p:spPr>
        <p:txBody>
          <a:bodyPr anchor="b"/>
          <a:lstStyle>
            <a:lvl1pPr marL="0" indent="0">
              <a:buNone/>
              <a:defRPr sz="700"/>
            </a:lvl1pPr>
          </a:lstStyle>
          <a:p>
            <a:endParaRPr lang="en-GB"/>
          </a:p>
        </p:txBody>
      </p:sp>
      <p:sp>
        <p:nvSpPr>
          <p:cNvPr id="13" name="Text Placeholder 4">
            <a:extLst>
              <a:ext uri="{FF2B5EF4-FFF2-40B4-BE49-F238E27FC236}">
                <a16:creationId xmlns:a16="http://schemas.microsoft.com/office/drawing/2014/main" id="{A8225904-4AA4-4609-BE38-9DC0EC66D33E}"/>
              </a:ext>
            </a:extLst>
          </p:cNvPr>
          <p:cNvSpPr>
            <a:spLocks noGrp="1"/>
          </p:cNvSpPr>
          <p:nvPr>
            <p:ph type="body" sz="quarter" idx="10"/>
          </p:nvPr>
        </p:nvSpPr>
        <p:spPr>
          <a:xfrm>
            <a:off x="605367" y="974216"/>
            <a:ext cx="10981267" cy="359009"/>
          </a:xfrm>
          <a:noFill/>
          <a:ln w="12700">
            <a:noFill/>
            <a:miter lim="800000"/>
            <a:headEnd/>
            <a:tailEnd/>
          </a:ln>
        </p:spPr>
        <p:txBody>
          <a:bodyPr vert="horz" wrap="square" lIns="0" tIns="0" rIns="0" bIns="0" numCol="1" anchor="t" anchorCtr="0" compatLnSpc="1">
            <a:prstTxWarp prst="textNoShape">
              <a:avLst/>
            </a:prstTxWarp>
            <a:spAutoFit/>
          </a:bodyPr>
          <a:lstStyle>
            <a:lvl1pPr marL="0" indent="0">
              <a:buNone/>
              <a:defRPr lang="en-US" sz="2333" dirty="0">
                <a:solidFill>
                  <a:srgbClr val="1C75BC"/>
                </a:solidFill>
                <a:latin typeface="Verdana" charset="0"/>
                <a:ea typeface="Verdana" charset="0"/>
                <a:cs typeface="Verdana" charset="0"/>
                <a:sym typeface="Arial" pitchFamily="-65" charset="0"/>
              </a:defRPr>
            </a:lvl1pPr>
            <a:lvl2pPr>
              <a:defRPr sz="2100"/>
            </a:lvl2pPr>
            <a:lvl3pPr>
              <a:defRPr sz="2100"/>
            </a:lvl3pPr>
            <a:lvl4pPr>
              <a:defRPr sz="2100"/>
            </a:lvl4pPr>
            <a:lvl5pPr>
              <a:defRPr sz="2100"/>
            </a:lvl5pPr>
          </a:lstStyle>
          <a:p>
            <a:pPr marL="0" lvl="0" indent="0" algn="l" rtl="0" eaLnBrk="0" fontAlgn="base" hangingPunct="0">
              <a:spcBef>
                <a:spcPts val="2100"/>
              </a:spcBef>
              <a:spcAft>
                <a:spcPct val="0"/>
              </a:spcAft>
              <a:buClr>
                <a:schemeClr val="tx1"/>
              </a:buClr>
              <a:buSzPct val="100000"/>
              <a:buFont typeface="Arial" pitchFamily="-65" charset="0"/>
              <a:buNone/>
            </a:pPr>
            <a:r>
              <a:rPr lang="en-US"/>
              <a:t>Edit Master text styles</a:t>
            </a:r>
          </a:p>
        </p:txBody>
      </p:sp>
      <p:sp>
        <p:nvSpPr>
          <p:cNvPr id="14" name="Content Placeholder 11">
            <a:extLst>
              <a:ext uri="{FF2B5EF4-FFF2-40B4-BE49-F238E27FC236}">
                <a16:creationId xmlns:a16="http://schemas.microsoft.com/office/drawing/2014/main" id="{796FC22E-45FF-4421-9195-07C0D6D92CFB}"/>
              </a:ext>
            </a:extLst>
          </p:cNvPr>
          <p:cNvSpPr>
            <a:spLocks noGrp="1"/>
          </p:cNvSpPr>
          <p:nvPr>
            <p:ph sz="quarter" idx="15" hasCustomPrompt="1"/>
          </p:nvPr>
        </p:nvSpPr>
        <p:spPr>
          <a:xfrm>
            <a:off x="601601" y="1713178"/>
            <a:ext cx="5299883" cy="4169411"/>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rgbClr val="1C75BC"/>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
        <p:nvSpPr>
          <p:cNvPr id="15" name="Content Placeholder 11">
            <a:extLst>
              <a:ext uri="{FF2B5EF4-FFF2-40B4-BE49-F238E27FC236}">
                <a16:creationId xmlns:a16="http://schemas.microsoft.com/office/drawing/2014/main" id="{BD32F0CF-F076-47E1-A933-D854B083F31A}"/>
              </a:ext>
            </a:extLst>
          </p:cNvPr>
          <p:cNvSpPr>
            <a:spLocks noGrp="1"/>
          </p:cNvSpPr>
          <p:nvPr>
            <p:ph sz="quarter" idx="17" hasCustomPrompt="1"/>
          </p:nvPr>
        </p:nvSpPr>
        <p:spPr>
          <a:xfrm>
            <a:off x="6290518" y="1713178"/>
            <a:ext cx="5299883" cy="4169411"/>
          </a:xfrm>
        </p:spPr>
        <p:txBody>
          <a:bodyPr/>
          <a:lstStyle>
            <a:lvl1pPr marL="234147" marR="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sz="2000">
                <a:solidFill>
                  <a:srgbClr val="1C75BC"/>
                </a:solidFill>
              </a:defRPr>
            </a:lvl1pPr>
            <a:lvl2pPr marL="534437" marR="0"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2pPr>
            <a:lvl3pPr marL="731491"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3pPr>
            <a:lvl4pPr marL="1097236" marR="0"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4pPr>
            <a:lvl5pPr marL="1487905" marR="0"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solidFill>
                  <a:schemeClr val="tx1"/>
                </a:solidFill>
              </a:defRPr>
            </a:lvl5pPr>
          </a:lstStyle>
          <a:p>
            <a:pPr marL="234147" marR="0" lvl="0" indent="-234147" algn="l" defTabSz="761970" rtl="0" eaLnBrk="1" fontAlgn="base" latinLnBrk="0" hangingPunct="1">
              <a:lnSpc>
                <a:spcPct val="100000"/>
              </a:lnSpc>
              <a:spcBef>
                <a:spcPts val="1800"/>
              </a:spcBef>
              <a:spcAft>
                <a:spcPct val="0"/>
              </a:spcAft>
              <a:buClr>
                <a:srgbClr val="212121"/>
              </a:buClr>
              <a:buSzPct val="100000"/>
              <a:buFont typeface="Arial" pitchFamily="-65" charset="0"/>
              <a:buChar char="•"/>
              <a:tabLst/>
              <a:defRPr/>
            </a:pPr>
            <a:r>
              <a:rPr kumimoji="0" lang="en-US" sz="2333"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Edit Master text styles</a:t>
            </a:r>
          </a:p>
          <a:p>
            <a:pPr marL="534437" marR="0" lvl="1" indent="-23414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20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Second level</a:t>
            </a:r>
          </a:p>
          <a:p>
            <a:pPr marL="731491" marR="0" lvl="2"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8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Third level</a:t>
            </a:r>
          </a:p>
          <a:p>
            <a:pPr marL="1097236" marR="0" lvl="3" indent="-201160"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5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ourth level</a:t>
            </a:r>
          </a:p>
          <a:p>
            <a:pPr marL="1487905" marR="0" lvl="4" indent="-191127" algn="l" defTabSz="761970" rtl="0" eaLnBrk="1" fontAlgn="base" latinLnBrk="0" hangingPunct="1">
              <a:lnSpc>
                <a:spcPct val="100000"/>
              </a:lnSpc>
              <a:spcBef>
                <a:spcPts val="0"/>
              </a:spcBef>
              <a:spcAft>
                <a:spcPct val="0"/>
              </a:spcAft>
              <a:buClr>
                <a:srgbClr val="212121"/>
              </a:buClr>
              <a:buSzPct val="100000"/>
              <a:buFont typeface="Arial" pitchFamily="-65" charset="0"/>
              <a:buChar char="»"/>
              <a:tabLst/>
              <a:defRPr/>
            </a:pPr>
            <a:r>
              <a:rPr kumimoji="0" lang="en-US" sz="1300" b="0" i="0" u="none" strike="noStrike" kern="0" cap="none" spc="0" normalizeH="0" baseline="0" noProof="0">
                <a:ln>
                  <a:noFill/>
                </a:ln>
                <a:solidFill>
                  <a:srgbClr val="212121"/>
                </a:solidFill>
                <a:effectLst/>
                <a:uLnTx/>
                <a:uFillTx/>
                <a:latin typeface="Verdana" charset="0"/>
                <a:ea typeface="Verdana" charset="0"/>
                <a:cs typeface="Verdana" charset="0"/>
                <a:sym typeface="Arial" pitchFamily="-65" charset="0"/>
              </a:rPr>
              <a:t>Fifth level</a:t>
            </a:r>
          </a:p>
        </p:txBody>
      </p:sp>
    </p:spTree>
    <p:extLst>
      <p:ext uri="{BB962C8B-B14F-4D97-AF65-F5344CB8AC3E}">
        <p14:creationId xmlns:p14="http://schemas.microsoft.com/office/powerpoint/2010/main" val="3423487944"/>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1_Title Only">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8D209E9A-4831-674D-B689-9CFEB35C807D}"/>
              </a:ext>
            </a:extLst>
          </p:cNvPr>
          <p:cNvSpPr>
            <a:spLocks noGrp="1"/>
          </p:cNvSpPr>
          <p:nvPr>
            <p:ph type="body" sz="quarter" idx="13" hasCustomPrompt="1"/>
          </p:nvPr>
        </p:nvSpPr>
        <p:spPr>
          <a:xfrm>
            <a:off x="609603" y="347913"/>
            <a:ext cx="9105900" cy="618631"/>
          </a:xfrm>
          <a:prstGeom prst="rect">
            <a:avLst/>
          </a:prstGeom>
        </p:spPr>
        <p:txBody>
          <a:bodyPr vert="horz"/>
          <a:lstStyle>
            <a:lvl1pPr marL="0" indent="0">
              <a:buNone/>
              <a:defRPr sz="2100" b="1" i="0">
                <a:solidFill>
                  <a:srgbClr val="FFFFFF"/>
                </a:solidFill>
                <a:latin typeface="+mj-lt"/>
                <a:cs typeface="Avenir" panose="02000503020000020003" pitchFamily="2" charset="0"/>
              </a:defRPr>
            </a:lvl1pPr>
          </a:lstStyle>
          <a:p>
            <a:pPr lvl="0"/>
            <a:r>
              <a:rPr lang="en-US" sz="1500">
                <a:solidFill>
                  <a:schemeClr val="bg1"/>
                </a:solidFill>
              </a:rPr>
              <a:t>Presentation Title:</a:t>
            </a:r>
            <a:br>
              <a:rPr lang="en-US" sz="1500">
                <a:solidFill>
                  <a:schemeClr val="bg1"/>
                </a:solidFill>
              </a:rPr>
            </a:br>
            <a:endParaRPr lang="en-US"/>
          </a:p>
        </p:txBody>
      </p:sp>
      <p:sp>
        <p:nvSpPr>
          <p:cNvPr id="9" name="Footer Placeholder 4">
            <a:extLst>
              <a:ext uri="{FF2B5EF4-FFF2-40B4-BE49-F238E27FC236}">
                <a16:creationId xmlns:a16="http://schemas.microsoft.com/office/drawing/2014/main" id="{B8A44CCF-765E-AE41-AEE5-B632510953B9}"/>
              </a:ext>
            </a:extLst>
          </p:cNvPr>
          <p:cNvSpPr>
            <a:spLocks noGrp="1"/>
          </p:cNvSpPr>
          <p:nvPr>
            <p:ph type="ftr" sz="quarter" idx="11"/>
          </p:nvPr>
        </p:nvSpPr>
        <p:spPr>
          <a:xfrm>
            <a:off x="3049894" y="6310057"/>
            <a:ext cx="5526157" cy="365125"/>
          </a:xfrm>
          <a:prstGeom prst="rect">
            <a:avLst/>
          </a:prstGeom>
        </p:spPr>
        <p:txBody>
          <a:bodyPr/>
          <a:lstStyle>
            <a:lvl1pPr algn="ctr">
              <a:defRPr>
                <a:solidFill>
                  <a:schemeClr val="bg1"/>
                </a:solidFill>
                <a:latin typeface="Avenir" panose="02000503020000020003" pitchFamily="2" charset="0"/>
              </a:defRPr>
            </a:lvl1pPr>
          </a:lstStyle>
          <a:p>
            <a:pPr marL="0" marR="0" lvl="0" indent="0" algn="ctr" defTabSz="342892"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Avenir" panose="02000503020000020003" pitchFamily="2" charset="0"/>
              <a:ea typeface="+mn-ea"/>
              <a:cs typeface="+mn-cs"/>
            </a:endParaRPr>
          </a:p>
        </p:txBody>
      </p:sp>
      <p:sp>
        <p:nvSpPr>
          <p:cNvPr id="10" name="Slide Number Placeholder 5">
            <a:extLst>
              <a:ext uri="{FF2B5EF4-FFF2-40B4-BE49-F238E27FC236}">
                <a16:creationId xmlns:a16="http://schemas.microsoft.com/office/drawing/2014/main" id="{5C3148AD-061B-9443-A41E-68E1D41B7330}"/>
              </a:ext>
            </a:extLst>
          </p:cNvPr>
          <p:cNvSpPr>
            <a:spLocks noGrp="1"/>
          </p:cNvSpPr>
          <p:nvPr>
            <p:ph type="sldNum" sz="quarter" idx="12"/>
          </p:nvPr>
        </p:nvSpPr>
        <p:spPr>
          <a:xfrm>
            <a:off x="10849337" y="347913"/>
            <a:ext cx="1095736" cy="455513"/>
          </a:xfrm>
          <a:prstGeom prst="rect">
            <a:avLst/>
          </a:prstGeom>
        </p:spPr>
        <p:txBody>
          <a:bodyPr/>
          <a:lstStyle>
            <a:lvl1pPr algn="r">
              <a:defRPr sz="1500">
                <a:solidFill>
                  <a:schemeClr val="bg1"/>
                </a:solidFill>
                <a:latin typeface="Avenir" panose="02000503020000020003" pitchFamily="2" charset="0"/>
              </a:defRPr>
            </a:lvl1pPr>
          </a:lstStyle>
          <a:p>
            <a:pPr marL="0" marR="0" lvl="0" indent="0" algn="r" defTabSz="342892" rtl="0" eaLnBrk="1" fontAlgn="auto" latinLnBrk="0" hangingPunct="1">
              <a:lnSpc>
                <a:spcPct val="100000"/>
              </a:lnSpc>
              <a:spcBef>
                <a:spcPts val="0"/>
              </a:spcBef>
              <a:spcAft>
                <a:spcPts val="0"/>
              </a:spcAft>
              <a:buClrTx/>
              <a:buSzTx/>
              <a:buFontTx/>
              <a:buNone/>
              <a:tabLst/>
              <a:defRPr/>
            </a:pPr>
            <a:fld id="{53C088C4-67FF-804C-B04E-8A504E18F696}" type="slidenum">
              <a:rPr kumimoji="0" lang="en-US" sz="1500" b="0" i="0" u="none" strike="noStrike" kern="1200" cap="none" spc="0" normalizeH="0" baseline="0" noProof="0" smtClean="0">
                <a:ln>
                  <a:noFill/>
                </a:ln>
                <a:solidFill>
                  <a:srgbClr val="FFFFFF"/>
                </a:solidFill>
                <a:effectLst/>
                <a:uLnTx/>
                <a:uFillTx/>
                <a:latin typeface="Avenir" panose="02000503020000020003" pitchFamily="2" charset="0"/>
                <a:ea typeface="+mn-ea"/>
                <a:cs typeface="+mn-cs"/>
              </a:rPr>
              <a:pPr marL="0" marR="0" lvl="0" indent="0" algn="r" defTabSz="342892" rtl="0" eaLnBrk="1" fontAlgn="auto" latinLnBrk="0" hangingPunct="1">
                <a:lnSpc>
                  <a:spcPct val="100000"/>
                </a:lnSpc>
                <a:spcBef>
                  <a:spcPts val="0"/>
                </a:spcBef>
                <a:spcAft>
                  <a:spcPts val="0"/>
                </a:spcAft>
                <a:buClrTx/>
                <a:buSzTx/>
                <a:buFontTx/>
                <a:buNone/>
                <a:tabLst/>
                <a:defRPr/>
              </a:pPr>
              <a:t>‹#›</a:t>
            </a:fld>
            <a:endParaRPr kumimoji="0" lang="en-US" sz="1500" b="0" i="0" u="none" strike="noStrike" kern="1200" cap="none" spc="0" normalizeH="0" baseline="0" noProof="0">
              <a:ln>
                <a:noFill/>
              </a:ln>
              <a:solidFill>
                <a:srgbClr val="FFFFFF"/>
              </a:solidFill>
              <a:effectLst/>
              <a:uLnTx/>
              <a:uFillTx/>
              <a:latin typeface="Avenir" panose="02000503020000020003" pitchFamily="2" charset="0"/>
              <a:ea typeface="+mn-ea"/>
              <a:cs typeface="+mn-cs"/>
            </a:endParaRPr>
          </a:p>
        </p:txBody>
      </p:sp>
    </p:spTree>
    <p:extLst>
      <p:ext uri="{BB962C8B-B14F-4D97-AF65-F5344CB8AC3E}">
        <p14:creationId xmlns:p14="http://schemas.microsoft.com/office/powerpoint/2010/main" val="185677605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B4ECD12-20E6-8142-BD1C-79A96DA46341}"/>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3BE12D83-A962-AA4A-B06D-FB0849F3C8D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CC94B991-EFCC-124F-B3A3-088E24E7C169}"/>
              </a:ext>
            </a:extLst>
          </p:cNvPr>
          <p:cNvSpPr>
            <a:spLocks noGrp="1"/>
          </p:cNvSpPr>
          <p:nvPr>
            <p:ph type="dt" sz="half" idx="10"/>
          </p:nvPr>
        </p:nvSpPr>
        <p:spPr>
          <a:xfrm>
            <a:off x="838200" y="6356350"/>
            <a:ext cx="2743200" cy="36512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F55E8902-5306-E446-8558-48BD51606B57}" type="datetimeFigureOut">
              <a:rPr kumimoji="0" lang="fr-FR" sz="1800" b="0" i="0" u="none" strike="noStrike" kern="1200" cap="none" spc="0" normalizeH="0" baseline="0" noProof="0" smtClean="0">
                <a:ln>
                  <a:noFill/>
                </a:ln>
                <a:solidFill>
                  <a:srgbClr val="3F3F3F"/>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6/10/2023</a:t>
            </a:fld>
            <a:endParaRPr kumimoji="0" lang="fr-FR" sz="1800" b="0" i="0" u="none" strike="noStrike" kern="1200" cap="none" spc="0" normalizeH="0" baseline="0" noProof="0">
              <a:ln>
                <a:noFill/>
              </a:ln>
              <a:solidFill>
                <a:srgbClr val="3F3F3F"/>
              </a:solidFill>
              <a:effectLst/>
              <a:uLnTx/>
              <a:uFillTx/>
              <a:latin typeface="Arial" panose="020B0604020202020204"/>
              <a:ea typeface="+mn-ea"/>
              <a:cs typeface="+mn-cs"/>
            </a:endParaRPr>
          </a:p>
        </p:txBody>
      </p:sp>
      <p:sp>
        <p:nvSpPr>
          <p:cNvPr id="5" name="Espace réservé du pied de page 4">
            <a:extLst>
              <a:ext uri="{FF2B5EF4-FFF2-40B4-BE49-F238E27FC236}">
                <a16:creationId xmlns:a16="http://schemas.microsoft.com/office/drawing/2014/main" id="{DBB7BBCC-18C1-724C-B065-4952F31DC852}"/>
              </a:ext>
            </a:extLst>
          </p:cNvPr>
          <p:cNvSpPr>
            <a:spLocks noGrp="1"/>
          </p:cNvSpPr>
          <p:nvPr>
            <p:ph type="ftr" sz="quarter" idx="1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000" b="0" i="0" u="none" strike="noStrike" kern="1200" cap="none" spc="0" normalizeH="0" baseline="0" noProof="0">
              <a:ln>
                <a:noFill/>
              </a:ln>
              <a:solidFill>
                <a:srgbClr val="3F3F3F">
                  <a:tint val="75000"/>
                </a:srgbClr>
              </a:solidFill>
              <a:effectLst/>
              <a:uLnTx/>
              <a:uFillTx/>
              <a:latin typeface="Arial" panose="020B0604020202020204"/>
              <a:ea typeface="+mn-ea"/>
              <a:cs typeface="+mn-cs"/>
            </a:endParaRPr>
          </a:p>
        </p:txBody>
      </p:sp>
      <p:sp>
        <p:nvSpPr>
          <p:cNvPr id="6" name="Espace réservé du numéro de diapositive 5">
            <a:extLst>
              <a:ext uri="{FF2B5EF4-FFF2-40B4-BE49-F238E27FC236}">
                <a16:creationId xmlns:a16="http://schemas.microsoft.com/office/drawing/2014/main" id="{257C0ACD-8029-C14E-AF3E-1FEB233917F8}"/>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692893A4-F7A4-024C-A8DF-C7A93727ED3E}" type="slidenum">
              <a:rPr kumimoji="0" lang="fr-FR" sz="1800" b="0" i="0" u="none" strike="noStrike" kern="1200" cap="none" spc="0" normalizeH="0" baseline="0" noProof="0" smtClean="0">
                <a:ln>
                  <a:noFill/>
                </a:ln>
                <a:solidFill>
                  <a:srgbClr val="3F3F3F"/>
                </a:solidFill>
                <a:effectLst/>
                <a:uLnTx/>
                <a:uFillTx/>
                <a:latin typeface="Arial" panose="020B0604020202020204"/>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fr-FR" sz="1800" b="0" i="0" u="none" strike="noStrike" kern="1200" cap="none" spc="0" normalizeH="0" baseline="0" noProof="0">
              <a:ln>
                <a:noFill/>
              </a:ln>
              <a:solidFill>
                <a:srgbClr val="3F3F3F"/>
              </a:solidFill>
              <a:effectLst/>
              <a:uLnTx/>
              <a:uFillTx/>
              <a:latin typeface="Arial" panose="020B0604020202020204"/>
              <a:ea typeface="+mn-ea"/>
              <a:cs typeface="+mn-cs"/>
            </a:endParaRPr>
          </a:p>
        </p:txBody>
      </p:sp>
    </p:spTree>
    <p:extLst>
      <p:ext uri="{BB962C8B-B14F-4D97-AF65-F5344CB8AC3E}">
        <p14:creationId xmlns:p14="http://schemas.microsoft.com/office/powerpoint/2010/main" val="31026830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63A05AA-8721-F69A-A9D4-B8A8AC9B9337}"/>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E62CD2E-0F9E-FE5F-C603-1155DF6BD945}"/>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D677D67-21ED-022A-8385-E5DB06E9FD88}"/>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8EE89FC-433C-2E88-D7C2-91435F807306}"/>
              </a:ext>
            </a:extLst>
          </p:cNvPr>
          <p:cNvSpPr>
            <a:spLocks noGrp="1"/>
          </p:cNvSpPr>
          <p:nvPr>
            <p:ph type="dt" sz="half" idx="10"/>
          </p:nvPr>
        </p:nvSpPr>
        <p:spPr/>
        <p:txBody>
          <a:bodyPr/>
          <a:lstStyle/>
          <a:p>
            <a:fld id="{1B513D2C-D913-A84D-AE90-832E6E77C62A}" type="datetimeFigureOut">
              <a:rPr lang="en-US" smtClean="0"/>
              <a:t>10/16/23</a:t>
            </a:fld>
            <a:endParaRPr lang="en-US"/>
          </a:p>
        </p:txBody>
      </p:sp>
      <p:sp>
        <p:nvSpPr>
          <p:cNvPr id="6" name="Footer Placeholder 5">
            <a:extLst>
              <a:ext uri="{FF2B5EF4-FFF2-40B4-BE49-F238E27FC236}">
                <a16:creationId xmlns:a16="http://schemas.microsoft.com/office/drawing/2014/main" id="{ED60E5E0-6753-4051-FFA2-3280EA9D4A8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1053BEA-91C3-D7D8-7331-F3506B5158ED}"/>
              </a:ext>
            </a:extLst>
          </p:cNvPr>
          <p:cNvSpPr>
            <a:spLocks noGrp="1"/>
          </p:cNvSpPr>
          <p:nvPr>
            <p:ph type="sldNum" sz="quarter" idx="12"/>
          </p:nvPr>
        </p:nvSpPr>
        <p:spPr/>
        <p:txBody>
          <a:bodyPr/>
          <a:lstStyle/>
          <a:p>
            <a:fld id="{3957A2A5-6A27-F248-B252-AF7C1B35A3B2}" type="slidenum">
              <a:rPr lang="en-US" smtClean="0"/>
              <a:t>‹#›</a:t>
            </a:fld>
            <a:endParaRPr lang="en-US"/>
          </a:p>
        </p:txBody>
      </p:sp>
    </p:spTree>
    <p:extLst>
      <p:ext uri="{BB962C8B-B14F-4D97-AF65-F5344CB8AC3E}">
        <p14:creationId xmlns:p14="http://schemas.microsoft.com/office/powerpoint/2010/main" val="5088310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F3B949-F139-7ED2-B4EC-826F069AE29B}"/>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A79C3522-107C-553D-565F-8971AAFD6B2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C42C8F6E-F6CE-0A1C-C5CE-5498F1A4448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7D85D7AE-ACE5-B2EE-5C49-FB92D2DFE09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ABB8CACA-441E-A7A0-CD8F-07619344CE9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C501B26-84D8-708A-9635-DA3F1CCA0277}"/>
              </a:ext>
            </a:extLst>
          </p:cNvPr>
          <p:cNvSpPr>
            <a:spLocks noGrp="1"/>
          </p:cNvSpPr>
          <p:nvPr>
            <p:ph type="dt" sz="half" idx="10"/>
          </p:nvPr>
        </p:nvSpPr>
        <p:spPr/>
        <p:txBody>
          <a:bodyPr/>
          <a:lstStyle/>
          <a:p>
            <a:fld id="{1B513D2C-D913-A84D-AE90-832E6E77C62A}" type="datetimeFigureOut">
              <a:rPr lang="en-US" smtClean="0"/>
              <a:t>10/16/23</a:t>
            </a:fld>
            <a:endParaRPr lang="en-US"/>
          </a:p>
        </p:txBody>
      </p:sp>
      <p:sp>
        <p:nvSpPr>
          <p:cNvPr id="8" name="Footer Placeholder 7">
            <a:extLst>
              <a:ext uri="{FF2B5EF4-FFF2-40B4-BE49-F238E27FC236}">
                <a16:creationId xmlns:a16="http://schemas.microsoft.com/office/drawing/2014/main" id="{1F223AAC-8719-6CB8-836E-2E67320F05F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96329967-E50F-181A-FD31-98B2FA1B60F9}"/>
              </a:ext>
            </a:extLst>
          </p:cNvPr>
          <p:cNvSpPr>
            <a:spLocks noGrp="1"/>
          </p:cNvSpPr>
          <p:nvPr>
            <p:ph type="sldNum" sz="quarter" idx="12"/>
          </p:nvPr>
        </p:nvSpPr>
        <p:spPr/>
        <p:txBody>
          <a:bodyPr/>
          <a:lstStyle/>
          <a:p>
            <a:fld id="{3957A2A5-6A27-F248-B252-AF7C1B35A3B2}" type="slidenum">
              <a:rPr lang="en-US" smtClean="0"/>
              <a:t>‹#›</a:t>
            </a:fld>
            <a:endParaRPr lang="en-US"/>
          </a:p>
        </p:txBody>
      </p:sp>
    </p:spTree>
    <p:extLst>
      <p:ext uri="{BB962C8B-B14F-4D97-AF65-F5344CB8AC3E}">
        <p14:creationId xmlns:p14="http://schemas.microsoft.com/office/powerpoint/2010/main" val="64637195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3B0E49C-3CBE-B6D4-D990-E995FE6F8D6A}"/>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3CFD52E-44B2-B6C4-CDDC-DD284E987B83}"/>
              </a:ext>
            </a:extLst>
          </p:cNvPr>
          <p:cNvSpPr>
            <a:spLocks noGrp="1"/>
          </p:cNvSpPr>
          <p:nvPr>
            <p:ph type="dt" sz="half" idx="10"/>
          </p:nvPr>
        </p:nvSpPr>
        <p:spPr/>
        <p:txBody>
          <a:bodyPr/>
          <a:lstStyle/>
          <a:p>
            <a:fld id="{1B513D2C-D913-A84D-AE90-832E6E77C62A}" type="datetimeFigureOut">
              <a:rPr lang="en-US" smtClean="0"/>
              <a:t>10/16/23</a:t>
            </a:fld>
            <a:endParaRPr lang="en-US"/>
          </a:p>
        </p:txBody>
      </p:sp>
      <p:sp>
        <p:nvSpPr>
          <p:cNvPr id="4" name="Footer Placeholder 3">
            <a:extLst>
              <a:ext uri="{FF2B5EF4-FFF2-40B4-BE49-F238E27FC236}">
                <a16:creationId xmlns:a16="http://schemas.microsoft.com/office/drawing/2014/main" id="{1482239E-1375-C1DC-6B56-7B0CE5D5D60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19B077AB-9F6D-ED1B-307A-734BD10CBB55}"/>
              </a:ext>
            </a:extLst>
          </p:cNvPr>
          <p:cNvSpPr>
            <a:spLocks noGrp="1"/>
          </p:cNvSpPr>
          <p:nvPr>
            <p:ph type="sldNum" sz="quarter" idx="12"/>
          </p:nvPr>
        </p:nvSpPr>
        <p:spPr/>
        <p:txBody>
          <a:bodyPr/>
          <a:lstStyle/>
          <a:p>
            <a:fld id="{3957A2A5-6A27-F248-B252-AF7C1B35A3B2}" type="slidenum">
              <a:rPr lang="en-US" smtClean="0"/>
              <a:t>‹#›</a:t>
            </a:fld>
            <a:endParaRPr lang="en-US"/>
          </a:p>
        </p:txBody>
      </p:sp>
    </p:spTree>
    <p:extLst>
      <p:ext uri="{BB962C8B-B14F-4D97-AF65-F5344CB8AC3E}">
        <p14:creationId xmlns:p14="http://schemas.microsoft.com/office/powerpoint/2010/main" val="17336351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D791ABC-F32B-7EB3-04C4-2BB18D0F5E23}"/>
              </a:ext>
            </a:extLst>
          </p:cNvPr>
          <p:cNvSpPr>
            <a:spLocks noGrp="1"/>
          </p:cNvSpPr>
          <p:nvPr>
            <p:ph type="dt" sz="half" idx="10"/>
          </p:nvPr>
        </p:nvSpPr>
        <p:spPr/>
        <p:txBody>
          <a:bodyPr/>
          <a:lstStyle/>
          <a:p>
            <a:fld id="{1B513D2C-D913-A84D-AE90-832E6E77C62A}" type="datetimeFigureOut">
              <a:rPr lang="en-US" smtClean="0"/>
              <a:t>10/16/23</a:t>
            </a:fld>
            <a:endParaRPr lang="en-US"/>
          </a:p>
        </p:txBody>
      </p:sp>
      <p:sp>
        <p:nvSpPr>
          <p:cNvPr id="3" name="Footer Placeholder 2">
            <a:extLst>
              <a:ext uri="{FF2B5EF4-FFF2-40B4-BE49-F238E27FC236}">
                <a16:creationId xmlns:a16="http://schemas.microsoft.com/office/drawing/2014/main" id="{D6497CD7-3EFF-0F81-6E76-AA8C5FE3544F}"/>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642FD3CE-5240-BC0C-7144-6C6107C0D4C5}"/>
              </a:ext>
            </a:extLst>
          </p:cNvPr>
          <p:cNvSpPr>
            <a:spLocks noGrp="1"/>
          </p:cNvSpPr>
          <p:nvPr>
            <p:ph type="sldNum" sz="quarter" idx="12"/>
          </p:nvPr>
        </p:nvSpPr>
        <p:spPr/>
        <p:txBody>
          <a:bodyPr/>
          <a:lstStyle/>
          <a:p>
            <a:fld id="{3957A2A5-6A27-F248-B252-AF7C1B35A3B2}" type="slidenum">
              <a:rPr lang="en-US" smtClean="0"/>
              <a:t>‹#›</a:t>
            </a:fld>
            <a:endParaRPr lang="en-US"/>
          </a:p>
        </p:txBody>
      </p:sp>
    </p:spTree>
    <p:extLst>
      <p:ext uri="{BB962C8B-B14F-4D97-AF65-F5344CB8AC3E}">
        <p14:creationId xmlns:p14="http://schemas.microsoft.com/office/powerpoint/2010/main" val="30363562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EA5B45-DF41-205B-4A96-96C20ADBE8E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3225AB2-958C-038B-7D30-13F382B15EA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24C86F9-96A9-515E-E86B-723B18601EA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3A572341-72B9-4BD4-139F-8F790408F1C2}"/>
              </a:ext>
            </a:extLst>
          </p:cNvPr>
          <p:cNvSpPr>
            <a:spLocks noGrp="1"/>
          </p:cNvSpPr>
          <p:nvPr>
            <p:ph type="dt" sz="half" idx="10"/>
          </p:nvPr>
        </p:nvSpPr>
        <p:spPr/>
        <p:txBody>
          <a:bodyPr/>
          <a:lstStyle/>
          <a:p>
            <a:fld id="{1B513D2C-D913-A84D-AE90-832E6E77C62A}" type="datetimeFigureOut">
              <a:rPr lang="en-US" smtClean="0"/>
              <a:t>10/16/23</a:t>
            </a:fld>
            <a:endParaRPr lang="en-US"/>
          </a:p>
        </p:txBody>
      </p:sp>
      <p:sp>
        <p:nvSpPr>
          <p:cNvPr id="6" name="Footer Placeholder 5">
            <a:extLst>
              <a:ext uri="{FF2B5EF4-FFF2-40B4-BE49-F238E27FC236}">
                <a16:creationId xmlns:a16="http://schemas.microsoft.com/office/drawing/2014/main" id="{CE73C450-0C3D-C60C-7205-A422681B45D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7936B18-07A2-2FCE-F0FE-07E03D5E80E3}"/>
              </a:ext>
            </a:extLst>
          </p:cNvPr>
          <p:cNvSpPr>
            <a:spLocks noGrp="1"/>
          </p:cNvSpPr>
          <p:nvPr>
            <p:ph type="sldNum" sz="quarter" idx="12"/>
          </p:nvPr>
        </p:nvSpPr>
        <p:spPr/>
        <p:txBody>
          <a:bodyPr/>
          <a:lstStyle/>
          <a:p>
            <a:fld id="{3957A2A5-6A27-F248-B252-AF7C1B35A3B2}" type="slidenum">
              <a:rPr lang="en-US" smtClean="0"/>
              <a:t>‹#›</a:t>
            </a:fld>
            <a:endParaRPr lang="en-US"/>
          </a:p>
        </p:txBody>
      </p:sp>
    </p:spTree>
    <p:extLst>
      <p:ext uri="{BB962C8B-B14F-4D97-AF65-F5344CB8AC3E}">
        <p14:creationId xmlns:p14="http://schemas.microsoft.com/office/powerpoint/2010/main" val="346079664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229F37-1AB1-DA39-647E-B5B8E30D7A7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7D7ACFC3-D34F-9944-78C4-742403C1D10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7DC7D06-F6D9-9F9A-2223-2970C4E6800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ABF832D-49E8-8C9D-BA3E-546358D61427}"/>
              </a:ext>
            </a:extLst>
          </p:cNvPr>
          <p:cNvSpPr>
            <a:spLocks noGrp="1"/>
          </p:cNvSpPr>
          <p:nvPr>
            <p:ph type="dt" sz="half" idx="10"/>
          </p:nvPr>
        </p:nvSpPr>
        <p:spPr/>
        <p:txBody>
          <a:bodyPr/>
          <a:lstStyle/>
          <a:p>
            <a:fld id="{1B513D2C-D913-A84D-AE90-832E6E77C62A}" type="datetimeFigureOut">
              <a:rPr lang="en-US" smtClean="0"/>
              <a:t>10/16/23</a:t>
            </a:fld>
            <a:endParaRPr lang="en-US"/>
          </a:p>
        </p:txBody>
      </p:sp>
      <p:sp>
        <p:nvSpPr>
          <p:cNvPr id="6" name="Footer Placeholder 5">
            <a:extLst>
              <a:ext uri="{FF2B5EF4-FFF2-40B4-BE49-F238E27FC236}">
                <a16:creationId xmlns:a16="http://schemas.microsoft.com/office/drawing/2014/main" id="{724B8413-FE47-7F7F-6701-303324052E1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F4A5FF0-A158-5242-0FE0-C7CFC9185A6B}"/>
              </a:ext>
            </a:extLst>
          </p:cNvPr>
          <p:cNvSpPr>
            <a:spLocks noGrp="1"/>
          </p:cNvSpPr>
          <p:nvPr>
            <p:ph type="sldNum" sz="quarter" idx="12"/>
          </p:nvPr>
        </p:nvSpPr>
        <p:spPr/>
        <p:txBody>
          <a:bodyPr/>
          <a:lstStyle/>
          <a:p>
            <a:fld id="{3957A2A5-6A27-F248-B252-AF7C1B35A3B2}" type="slidenum">
              <a:rPr lang="en-US" smtClean="0"/>
              <a:t>‹#›</a:t>
            </a:fld>
            <a:endParaRPr lang="en-US"/>
          </a:p>
        </p:txBody>
      </p:sp>
    </p:spTree>
    <p:extLst>
      <p:ext uri="{BB962C8B-B14F-4D97-AF65-F5344CB8AC3E}">
        <p14:creationId xmlns:p14="http://schemas.microsoft.com/office/powerpoint/2010/main" val="134509703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theme" Target="../theme/theme3.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F646683-E87A-75F0-F3F7-3D8E6F3ED4C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FB0DBAA-6878-9E27-6B8B-8DA3D7FE5D5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3228AFB-02D2-A5DB-1574-C389D3844153}"/>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B513D2C-D913-A84D-AE90-832E6E77C62A}" type="datetimeFigureOut">
              <a:rPr lang="en-US" smtClean="0"/>
              <a:t>10/16/23</a:t>
            </a:fld>
            <a:endParaRPr lang="en-US"/>
          </a:p>
        </p:txBody>
      </p:sp>
      <p:sp>
        <p:nvSpPr>
          <p:cNvPr id="5" name="Footer Placeholder 4">
            <a:extLst>
              <a:ext uri="{FF2B5EF4-FFF2-40B4-BE49-F238E27FC236}">
                <a16:creationId xmlns:a16="http://schemas.microsoft.com/office/drawing/2014/main" id="{B5661B40-D728-2BB0-9B7C-3940BCB5E99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0A9CFDF9-3910-FC2C-BD20-02E14EE6310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957A2A5-6A27-F248-B252-AF7C1B35A3B2}" type="slidenum">
              <a:rPr lang="en-US" smtClean="0"/>
              <a:t>‹#›</a:t>
            </a:fld>
            <a:endParaRPr lang="en-US"/>
          </a:p>
        </p:txBody>
      </p:sp>
    </p:spTree>
    <p:extLst>
      <p:ext uri="{BB962C8B-B14F-4D97-AF65-F5344CB8AC3E}">
        <p14:creationId xmlns:p14="http://schemas.microsoft.com/office/powerpoint/2010/main" val="4023627635"/>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1BE5A1C-F765-4923-B698-01CBA0052385}"/>
              </a:ext>
            </a:extLst>
          </p:cNvPr>
          <p:cNvSpPr>
            <a:spLocks noGrp="1"/>
          </p:cNvSpPr>
          <p:nvPr>
            <p:ph type="title"/>
          </p:nvPr>
        </p:nvSpPr>
        <p:spPr>
          <a:xfrm>
            <a:off x="609600" y="199505"/>
            <a:ext cx="10744200" cy="1185577"/>
          </a:xfrm>
          <a:prstGeom prst="rect">
            <a:avLst/>
          </a:prstGeom>
        </p:spPr>
        <p:txBody>
          <a:bodyPr vert="horz" lIns="91440" tIns="45720" rIns="91440" bIns="45720" rtlCol="0" anchor="ctr"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FE3F89C-32B6-4955-824F-31AA77424000}"/>
              </a:ext>
            </a:extLst>
          </p:cNvPr>
          <p:cNvSpPr>
            <a:spLocks noGrp="1"/>
          </p:cNvSpPr>
          <p:nvPr>
            <p:ph type="body" idx="1"/>
          </p:nvPr>
        </p:nvSpPr>
        <p:spPr>
          <a:xfrm>
            <a:off x="609600" y="1477906"/>
            <a:ext cx="10744200" cy="472247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A300410A-8F64-41F0-A611-DD8C96B97C6E}"/>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000">
                <a:solidFill>
                  <a:schemeClr val="tx1">
                    <a:tint val="75000"/>
                  </a:schemeClr>
                </a:solidFill>
              </a:defRPr>
            </a:lvl1pPr>
          </a:lstStyle>
          <a:p>
            <a:endParaRPr lang="en-US"/>
          </a:p>
        </p:txBody>
      </p:sp>
      <p:sp>
        <p:nvSpPr>
          <p:cNvPr id="6" name="Rectangle 5">
            <a:extLst>
              <a:ext uri="{FF2B5EF4-FFF2-40B4-BE49-F238E27FC236}">
                <a16:creationId xmlns:a16="http://schemas.microsoft.com/office/drawing/2014/main" id="{4B5D83E7-F2B7-417F-9348-222F18A74341}"/>
              </a:ext>
            </a:extLst>
          </p:cNvPr>
          <p:cNvSpPr/>
          <p:nvPr/>
        </p:nvSpPr>
        <p:spPr>
          <a:xfrm>
            <a:off x="0" y="-1"/>
            <a:ext cx="12192000" cy="106681"/>
          </a:xfrm>
          <a:prstGeom prst="rect">
            <a:avLst/>
          </a:prstGeom>
          <a:gradFill flip="none" rotWithShape="1">
            <a:gsLst>
              <a:gs pos="99000">
                <a:srgbClr val="173057"/>
              </a:gs>
              <a:gs pos="0">
                <a:srgbClr val="0258A6">
                  <a:lumMod val="10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46638504"/>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defTabSz="914400" rtl="0" eaLnBrk="1" latinLnBrk="0" hangingPunct="1">
        <a:lnSpc>
          <a:spcPct val="100000"/>
        </a:lnSpc>
        <a:spcBef>
          <a:spcPct val="0"/>
        </a:spcBef>
        <a:buNone/>
        <a:defRPr sz="3200" b="1" i="0" kern="1200">
          <a:solidFill>
            <a:srgbClr val="4D4E4D"/>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2400" kern="1200">
          <a:solidFill>
            <a:schemeClr val="tx1">
              <a:lumMod val="75000"/>
            </a:schemeClr>
          </a:solidFill>
          <a:latin typeface="+mn-lt"/>
          <a:ea typeface="+mn-ea"/>
          <a:cs typeface="+mn-cs"/>
        </a:defRPr>
      </a:lvl1pPr>
      <a:lvl2pPr marL="685800" indent="-228600" algn="l" defTabSz="914400" rtl="0" eaLnBrk="1" latinLnBrk="0" hangingPunct="1">
        <a:lnSpc>
          <a:spcPct val="100000"/>
        </a:lnSpc>
        <a:spcBef>
          <a:spcPts val="500"/>
        </a:spcBef>
        <a:buClr>
          <a:schemeClr val="accent4"/>
        </a:buClr>
        <a:buFont typeface="Arial" panose="020B0604020202020204" pitchFamily="34" charset="0"/>
        <a:buChar char="•"/>
        <a:defRPr sz="2000" kern="1200">
          <a:solidFill>
            <a:schemeClr val="tx1">
              <a:lumMod val="75000"/>
            </a:schemeClr>
          </a:solidFill>
          <a:latin typeface="+mn-lt"/>
          <a:ea typeface="+mn-ea"/>
          <a:cs typeface="+mn-cs"/>
        </a:defRPr>
      </a:lvl2pPr>
      <a:lvl3pPr marL="1143000" indent="-228600" algn="l" defTabSz="914400" rtl="0" eaLnBrk="1" latinLnBrk="0" hangingPunct="1">
        <a:lnSpc>
          <a:spcPct val="100000"/>
        </a:lnSpc>
        <a:spcBef>
          <a:spcPts val="500"/>
        </a:spcBef>
        <a:buClr>
          <a:schemeClr val="tx2">
            <a:lumMod val="60000"/>
            <a:lumOff val="40000"/>
          </a:schemeClr>
        </a:buClr>
        <a:buFont typeface="Arial" panose="020B0604020202020204" pitchFamily="34" charset="0"/>
        <a:buChar char="–"/>
        <a:defRPr sz="1800" kern="1200">
          <a:solidFill>
            <a:schemeClr val="tx1">
              <a:lumMod val="75000"/>
            </a:schemeClr>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lumMod val="75000"/>
            </a:schemeClr>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864">
          <p15:clr>
            <a:srgbClr val="F26B43"/>
          </p15:clr>
        </p15:guide>
        <p15:guide id="4" orient="horz" pos="1056">
          <p15:clr>
            <a:srgbClr val="F26B43"/>
          </p15:clr>
        </p15:guide>
        <p15:guide id="5" pos="6168">
          <p15:clr>
            <a:srgbClr val="F26B43"/>
          </p15:clr>
        </p15:guide>
        <p15:guide id="6" pos="6072">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1BE5A1C-F765-4923-B698-01CBA0052385}"/>
              </a:ext>
            </a:extLst>
          </p:cNvPr>
          <p:cNvSpPr>
            <a:spLocks noGrp="1"/>
          </p:cNvSpPr>
          <p:nvPr>
            <p:ph type="title"/>
          </p:nvPr>
        </p:nvSpPr>
        <p:spPr>
          <a:xfrm>
            <a:off x="609600" y="199505"/>
            <a:ext cx="10744200" cy="1185577"/>
          </a:xfrm>
          <a:prstGeom prst="rect">
            <a:avLst/>
          </a:prstGeom>
        </p:spPr>
        <p:txBody>
          <a:bodyPr vert="horz" lIns="91440" tIns="45720" rIns="91440" bIns="45720" rtlCol="0" anchor="ctr"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FE3F89C-32B6-4955-824F-31AA77424000}"/>
              </a:ext>
            </a:extLst>
          </p:cNvPr>
          <p:cNvSpPr>
            <a:spLocks noGrp="1"/>
          </p:cNvSpPr>
          <p:nvPr>
            <p:ph type="body" idx="1"/>
          </p:nvPr>
        </p:nvSpPr>
        <p:spPr>
          <a:xfrm>
            <a:off x="609600" y="1477906"/>
            <a:ext cx="10744200" cy="472247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a:extLst>
              <a:ext uri="{FF2B5EF4-FFF2-40B4-BE49-F238E27FC236}">
                <a16:creationId xmlns:a16="http://schemas.microsoft.com/office/drawing/2014/main" id="{A300410A-8F64-41F0-A611-DD8C96B97C6E}"/>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000">
                <a:solidFill>
                  <a:schemeClr val="tx1">
                    <a:tint val="75000"/>
                  </a:schemeClr>
                </a:solidFill>
              </a:defRPr>
            </a:lvl1pPr>
          </a:lstStyle>
          <a:p>
            <a:endParaRPr lang="en-US" sz="1000" dirty="0"/>
          </a:p>
        </p:txBody>
      </p:sp>
      <p:sp>
        <p:nvSpPr>
          <p:cNvPr id="4" name="Rectangle 3">
            <a:extLst>
              <a:ext uri="{FF2B5EF4-FFF2-40B4-BE49-F238E27FC236}">
                <a16:creationId xmlns:a16="http://schemas.microsoft.com/office/drawing/2014/main" id="{144EE67E-B296-9E65-F862-0F60C31B2F9C}"/>
              </a:ext>
            </a:extLst>
          </p:cNvPr>
          <p:cNvSpPr/>
          <p:nvPr userDrawn="1"/>
        </p:nvSpPr>
        <p:spPr>
          <a:xfrm>
            <a:off x="0" y="-1"/>
            <a:ext cx="12192000" cy="106681"/>
          </a:xfrm>
          <a:prstGeom prst="rect">
            <a:avLst/>
          </a:prstGeom>
          <a:gradFill flip="none" rotWithShape="1">
            <a:gsLst>
              <a:gs pos="99000">
                <a:srgbClr val="173057"/>
              </a:gs>
              <a:gs pos="0">
                <a:srgbClr val="0258A6">
                  <a:lumMod val="100000"/>
                </a:srgb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2083953292"/>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 id="2147483685" r:id="rId12"/>
    <p:sldLayoutId id="2147483686" r:id="rId13"/>
    <p:sldLayoutId id="2147483687" r:id="rId14"/>
    <p:sldLayoutId id="2147483689" r:id="rId15"/>
    <p:sldLayoutId id="2147483690" r:id="rId16"/>
  </p:sldLayoutIdLst>
  <p:txStyles>
    <p:titleStyle>
      <a:lvl1pPr algn="l" defTabSz="914400" rtl="0" eaLnBrk="1" latinLnBrk="0" hangingPunct="1">
        <a:lnSpc>
          <a:spcPct val="100000"/>
        </a:lnSpc>
        <a:spcBef>
          <a:spcPct val="0"/>
        </a:spcBef>
        <a:buNone/>
        <a:defRPr sz="3200" b="1" i="0" kern="1200">
          <a:solidFill>
            <a:srgbClr val="4D4E4D"/>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2400" kern="1200">
          <a:solidFill>
            <a:schemeClr val="tx1">
              <a:lumMod val="75000"/>
            </a:schemeClr>
          </a:solidFill>
          <a:latin typeface="+mn-lt"/>
          <a:ea typeface="+mn-ea"/>
          <a:cs typeface="+mn-cs"/>
        </a:defRPr>
      </a:lvl1pPr>
      <a:lvl2pPr marL="685800" indent="-228600" algn="l" defTabSz="914400" rtl="0" eaLnBrk="1" latinLnBrk="0" hangingPunct="1">
        <a:lnSpc>
          <a:spcPct val="100000"/>
        </a:lnSpc>
        <a:spcBef>
          <a:spcPts val="500"/>
        </a:spcBef>
        <a:buClr>
          <a:schemeClr val="accent4"/>
        </a:buClr>
        <a:buFont typeface="Arial" panose="020B0604020202020204" pitchFamily="34" charset="0"/>
        <a:buChar char="•"/>
        <a:defRPr sz="2000" kern="1200">
          <a:solidFill>
            <a:schemeClr val="tx1">
              <a:lumMod val="75000"/>
            </a:schemeClr>
          </a:solidFill>
          <a:latin typeface="+mn-lt"/>
          <a:ea typeface="+mn-ea"/>
          <a:cs typeface="+mn-cs"/>
        </a:defRPr>
      </a:lvl2pPr>
      <a:lvl3pPr marL="1143000" indent="-228600" algn="l" defTabSz="914400" rtl="0" eaLnBrk="1" latinLnBrk="0" hangingPunct="1">
        <a:lnSpc>
          <a:spcPct val="100000"/>
        </a:lnSpc>
        <a:spcBef>
          <a:spcPts val="500"/>
        </a:spcBef>
        <a:buClr>
          <a:schemeClr val="tx2">
            <a:lumMod val="60000"/>
            <a:lumOff val="40000"/>
          </a:schemeClr>
        </a:buClr>
        <a:buFont typeface="Arial" panose="020B0604020202020204" pitchFamily="34" charset="0"/>
        <a:buChar char="–"/>
        <a:defRPr sz="1800" kern="1200">
          <a:solidFill>
            <a:schemeClr val="tx1">
              <a:lumMod val="75000"/>
            </a:schemeClr>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lumMod val="75000"/>
            </a:schemeClr>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864">
          <p15:clr>
            <a:srgbClr val="F26B43"/>
          </p15:clr>
        </p15:guide>
        <p15:guide id="4" orient="horz" pos="1056">
          <p15:clr>
            <a:srgbClr val="F26B43"/>
          </p15:clr>
        </p15:guide>
        <p15:guide id="5" pos="6168">
          <p15:clr>
            <a:srgbClr val="F26B43"/>
          </p15:clr>
        </p15:guide>
        <p15:guide id="6" pos="6072">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9.png"/><Relationship Id="rId3" Type="http://schemas.openxmlformats.org/officeDocument/2006/relationships/image" Target="../media/image4.jpg"/><Relationship Id="rId7" Type="http://schemas.openxmlformats.org/officeDocument/2006/relationships/image" Target="../media/image8.svg"/><Relationship Id="rId2" Type="http://schemas.openxmlformats.org/officeDocument/2006/relationships/notesSlide" Target="../notesSlides/notesSlide1.xml"/><Relationship Id="rId1" Type="http://schemas.openxmlformats.org/officeDocument/2006/relationships/slideLayout" Target="../slideLayouts/slideLayout7.xml"/><Relationship Id="rId6" Type="http://schemas.openxmlformats.org/officeDocument/2006/relationships/image" Target="../media/image7.png"/><Relationship Id="rId11" Type="http://schemas.microsoft.com/office/2007/relationships/hdphoto" Target="../media/hdphoto1.wdp"/><Relationship Id="rId5" Type="http://schemas.openxmlformats.org/officeDocument/2006/relationships/image" Target="../media/image6.svg"/><Relationship Id="rId10" Type="http://schemas.openxmlformats.org/officeDocument/2006/relationships/image" Target="../media/image11.png"/><Relationship Id="rId4" Type="http://schemas.openxmlformats.org/officeDocument/2006/relationships/image" Target="../media/image5.png"/><Relationship Id="rId9" Type="http://schemas.openxmlformats.org/officeDocument/2006/relationships/image" Target="../media/image10.png"/></Relationships>
</file>

<file path=ppt/slides/_rels/slide10.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31.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8" Type="http://schemas.openxmlformats.org/officeDocument/2006/relationships/image" Target="../media/image29.png"/><Relationship Id="rId3" Type="http://schemas.openxmlformats.org/officeDocument/2006/relationships/image" Target="../media/image24.svg"/><Relationship Id="rId7" Type="http://schemas.openxmlformats.org/officeDocument/2006/relationships/image" Target="../media/image28.svg"/><Relationship Id="rId2" Type="http://schemas.openxmlformats.org/officeDocument/2006/relationships/image" Target="../media/image23.png"/><Relationship Id="rId1" Type="http://schemas.openxmlformats.org/officeDocument/2006/relationships/slideLayout" Target="../slideLayouts/slideLayout36.xml"/><Relationship Id="rId6" Type="http://schemas.openxmlformats.org/officeDocument/2006/relationships/image" Target="../media/image27.png"/><Relationship Id="rId11" Type="http://schemas.openxmlformats.org/officeDocument/2006/relationships/image" Target="../media/image32.svg"/><Relationship Id="rId5" Type="http://schemas.openxmlformats.org/officeDocument/2006/relationships/image" Target="../media/image26.svg"/><Relationship Id="rId10" Type="http://schemas.openxmlformats.org/officeDocument/2006/relationships/image" Target="../media/image31.png"/><Relationship Id="rId4" Type="http://schemas.openxmlformats.org/officeDocument/2006/relationships/image" Target="../media/image25.png"/><Relationship Id="rId9" Type="http://schemas.openxmlformats.org/officeDocument/2006/relationships/image" Target="../media/image30.svg"/></Relationships>
</file>

<file path=ppt/slides/_rels/slide15.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31.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6.xml"/></Relationships>
</file>

<file path=ppt/slides/_rels/slide18.xml.rels><?xml version="1.0" encoding="UTF-8" standalone="yes"?>
<Relationships xmlns="http://schemas.openxmlformats.org/package/2006/relationships"><Relationship Id="rId8" Type="http://schemas.openxmlformats.org/officeDocument/2006/relationships/image" Target="../media/image36.jpeg"/><Relationship Id="rId3" Type="http://schemas.openxmlformats.org/officeDocument/2006/relationships/notesSlide" Target="../notesSlides/notesSlide8.xml"/><Relationship Id="rId7" Type="http://schemas.openxmlformats.org/officeDocument/2006/relationships/image" Target="../media/image35.png"/><Relationship Id="rId2" Type="http://schemas.openxmlformats.org/officeDocument/2006/relationships/slideLayout" Target="../slideLayouts/slideLayout28.xml"/><Relationship Id="rId1" Type="http://schemas.openxmlformats.org/officeDocument/2006/relationships/tags" Target="../tags/tag1.xml"/><Relationship Id="rId6" Type="http://schemas.openxmlformats.org/officeDocument/2006/relationships/image" Target="../media/image34.jpeg"/><Relationship Id="rId5" Type="http://schemas.openxmlformats.org/officeDocument/2006/relationships/image" Target="../media/image33.emf"/><Relationship Id="rId4" Type="http://schemas.openxmlformats.org/officeDocument/2006/relationships/oleObject" Target="../embeddings/oleObject1.bin"/></Relationships>
</file>

<file path=ppt/slides/_rels/slide1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hyperlink" Target="https://www.mededonthego.com/Video/program/968" TargetMode="External"/><Relationship Id="rId7" Type="http://schemas.openxmlformats.org/officeDocument/2006/relationships/image" Target="../media/image13.sv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2.png"/><Relationship Id="rId11" Type="http://schemas.openxmlformats.org/officeDocument/2006/relationships/image" Target="../media/image17.svg"/><Relationship Id="rId5" Type="http://schemas.openxmlformats.org/officeDocument/2006/relationships/hyperlink" Target="mailto:support@MedEdOTG.com" TargetMode="External"/><Relationship Id="rId10" Type="http://schemas.openxmlformats.org/officeDocument/2006/relationships/image" Target="../media/image16.png"/><Relationship Id="rId4" Type="http://schemas.openxmlformats.org/officeDocument/2006/relationships/hyperlink" Target="http://www.mededonthego.com/" TargetMode="External"/><Relationship Id="rId9" Type="http://schemas.openxmlformats.org/officeDocument/2006/relationships/image" Target="../media/image15.sv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0.xml"/><Relationship Id="rId7" Type="http://schemas.openxmlformats.org/officeDocument/2006/relationships/image" Target="../media/image39.jpeg"/><Relationship Id="rId2" Type="http://schemas.openxmlformats.org/officeDocument/2006/relationships/slideLayout" Target="../slideLayouts/slideLayout28.xml"/><Relationship Id="rId1" Type="http://schemas.openxmlformats.org/officeDocument/2006/relationships/tags" Target="../tags/tag2.xml"/><Relationship Id="rId6" Type="http://schemas.openxmlformats.org/officeDocument/2006/relationships/image" Target="../media/image38.jpeg"/><Relationship Id="rId5" Type="http://schemas.openxmlformats.org/officeDocument/2006/relationships/image" Target="../media/image33.emf"/><Relationship Id="rId4" Type="http://schemas.openxmlformats.org/officeDocument/2006/relationships/oleObject" Target="../embeddings/oleObject2.bin"/></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8.xml"/><Relationship Id="rId1" Type="http://schemas.openxmlformats.org/officeDocument/2006/relationships/tags" Target="../tags/tag3.xml"/><Relationship Id="rId5" Type="http://schemas.openxmlformats.org/officeDocument/2006/relationships/image" Target="../media/image33.emf"/><Relationship Id="rId4" Type="http://schemas.openxmlformats.org/officeDocument/2006/relationships/oleObject" Target="../embeddings/oleObject3.bin"/></Relationships>
</file>

<file path=ppt/slides/_rels/slide22.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Layout" Target="../slideLayouts/slideLayout31.xml"/></Relationships>
</file>

<file path=ppt/slides/_rels/slide23.xml.rels><?xml version="1.0" encoding="UTF-8" standalone="yes"?>
<Relationships xmlns="http://schemas.openxmlformats.org/package/2006/relationships"><Relationship Id="rId3" Type="http://schemas.openxmlformats.org/officeDocument/2006/relationships/image" Target="../media/image41.jpg"/><Relationship Id="rId2" Type="http://schemas.openxmlformats.org/officeDocument/2006/relationships/image" Target="../media/image40.emf"/><Relationship Id="rId1" Type="http://schemas.openxmlformats.org/officeDocument/2006/relationships/slideLayout" Target="../slideLayouts/slideLayout39.xml"/></Relationships>
</file>

<file path=ppt/slides/_rels/slide24.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12.xml"/><Relationship Id="rId1" Type="http://schemas.openxmlformats.org/officeDocument/2006/relationships/slideLayout" Target="../slideLayouts/slideLayout31.xml"/><Relationship Id="rId5" Type="http://schemas.openxmlformats.org/officeDocument/2006/relationships/image" Target="../media/image44.png"/><Relationship Id="rId4" Type="http://schemas.openxmlformats.org/officeDocument/2006/relationships/image" Target="../media/image43.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1.xml"/></Relationships>
</file>

<file path=ppt/slides/_rels/slide26.xml.rels><?xml version="1.0" encoding="UTF-8" standalone="yes"?>
<Relationships xmlns="http://schemas.openxmlformats.org/package/2006/relationships"><Relationship Id="rId3" Type="http://schemas.openxmlformats.org/officeDocument/2006/relationships/image" Target="../media/image45.jpg"/><Relationship Id="rId2" Type="http://schemas.openxmlformats.org/officeDocument/2006/relationships/notesSlide" Target="../notesSlides/notesSlide13.xml"/><Relationship Id="rId1" Type="http://schemas.openxmlformats.org/officeDocument/2006/relationships/slideLayout" Target="../slideLayouts/slideLayout28.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28.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46.png"/></Relationships>
</file>

<file path=ppt/slides/_rels/slide28.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image" Target="../media/image47.jpeg"/><Relationship Id="rId1" Type="http://schemas.openxmlformats.org/officeDocument/2006/relationships/slideLayout" Target="../slideLayouts/slideLayout28.xml"/><Relationship Id="rId5" Type="http://schemas.openxmlformats.org/officeDocument/2006/relationships/image" Target="../media/image50.png"/><Relationship Id="rId4" Type="http://schemas.openxmlformats.org/officeDocument/2006/relationships/image" Target="../media/image49.png"/></Relationships>
</file>

<file path=ppt/slides/_rels/slide29.xml.rels><?xml version="1.0" encoding="UTF-8" standalone="yes"?>
<Relationships xmlns="http://schemas.openxmlformats.org/package/2006/relationships"><Relationship Id="rId2" Type="http://schemas.openxmlformats.org/officeDocument/2006/relationships/image" Target="../media/image51.png"/><Relationship Id="rId1" Type="http://schemas.openxmlformats.org/officeDocument/2006/relationships/slideLayout" Target="../slideLayouts/slideLayout2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1.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svg"/><Relationship Id="rId7" Type="http://schemas.openxmlformats.org/officeDocument/2006/relationships/image" Target="../media/image57.svg"/><Relationship Id="rId2" Type="http://schemas.openxmlformats.org/officeDocument/2006/relationships/image" Target="../media/image52.png"/><Relationship Id="rId1" Type="http://schemas.openxmlformats.org/officeDocument/2006/relationships/slideLayout" Target="../slideLayouts/slideLayout36.xml"/><Relationship Id="rId6" Type="http://schemas.openxmlformats.org/officeDocument/2006/relationships/image" Target="../media/image56.png"/><Relationship Id="rId5" Type="http://schemas.openxmlformats.org/officeDocument/2006/relationships/image" Target="../media/image55.svg"/><Relationship Id="rId4" Type="http://schemas.openxmlformats.org/officeDocument/2006/relationships/image" Target="../media/image54.png"/><Relationship Id="rId9" Type="http://schemas.openxmlformats.org/officeDocument/2006/relationships/image" Target="../media/image59.sv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4.xml.rels><?xml version="1.0" encoding="UTF-8" standalone="yes"?>
<Relationships xmlns="http://schemas.openxmlformats.org/package/2006/relationships"><Relationship Id="rId8" Type="http://schemas.openxmlformats.org/officeDocument/2006/relationships/hyperlink" Target="http://www.mededotg.com/" TargetMode="External"/><Relationship Id="rId3" Type="http://schemas.openxmlformats.org/officeDocument/2006/relationships/image" Target="../media/image60.png"/><Relationship Id="rId7" Type="http://schemas.openxmlformats.org/officeDocument/2006/relationships/hyperlink" Target="http://www.mededonthego.com/" TargetMode="External"/><Relationship Id="rId2" Type="http://schemas.openxmlformats.org/officeDocument/2006/relationships/notesSlide" Target="../notesSlides/notesSlide14.xml"/><Relationship Id="rId1" Type="http://schemas.openxmlformats.org/officeDocument/2006/relationships/slideLayout" Target="../slideLayouts/slideLayout7.xml"/><Relationship Id="rId6" Type="http://schemas.openxmlformats.org/officeDocument/2006/relationships/image" Target="../media/image63.svg"/><Relationship Id="rId5" Type="http://schemas.openxmlformats.org/officeDocument/2006/relationships/image" Target="../media/image62.png"/><Relationship Id="rId10" Type="http://schemas.openxmlformats.org/officeDocument/2006/relationships/image" Target="../media/image65.svg"/><Relationship Id="rId4" Type="http://schemas.openxmlformats.org/officeDocument/2006/relationships/image" Target="../media/image61.svg"/><Relationship Id="rId9" Type="http://schemas.openxmlformats.org/officeDocument/2006/relationships/image" Target="../media/image64.png"/></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g"/><Relationship Id="rId1" Type="http://schemas.openxmlformats.org/officeDocument/2006/relationships/slideLayout" Target="../slideLayouts/slideLayout20.xml"/><Relationship Id="rId5" Type="http://schemas.openxmlformats.org/officeDocument/2006/relationships/image" Target="../media/image9.png"/><Relationship Id="rId4" Type="http://schemas.openxmlformats.org/officeDocument/2006/relationships/image" Target="../media/image6.svg"/></Relationships>
</file>

<file path=ppt/slides/_rels/slide5.xml.rels><?xml version="1.0" encoding="UTF-8" standalone="yes"?>
<Relationships xmlns="http://schemas.openxmlformats.org/package/2006/relationships"><Relationship Id="rId3" Type="http://schemas.openxmlformats.org/officeDocument/2006/relationships/image" Target="../media/image18.jpg"/><Relationship Id="rId2" Type="http://schemas.openxmlformats.org/officeDocument/2006/relationships/notesSlide" Target="../notesSlides/notesSlide3.xml"/><Relationship Id="rId1" Type="http://schemas.openxmlformats.org/officeDocument/2006/relationships/slideLayout" Target="../slideLayouts/slideLayout28.xml"/><Relationship Id="rId4" Type="http://schemas.openxmlformats.org/officeDocument/2006/relationships/image" Target="../media/image1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6.xml"/></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5.xml"/><Relationship Id="rId1" Type="http://schemas.openxmlformats.org/officeDocument/2006/relationships/slideLayout" Target="../slideLayouts/slideLayout38.xml"/></Relationships>
</file>

<file path=ppt/slides/_rels/slide9.xml.rels><?xml version="1.0" encoding="UTF-8" standalone="yes"?>
<Relationships xmlns="http://schemas.openxmlformats.org/package/2006/relationships"><Relationship Id="rId3" Type="http://schemas.openxmlformats.org/officeDocument/2006/relationships/hyperlink" Target="https://www.globenewswire.com/news-release/2021/09/08/2293386/0/en/Resverlogix-Announces-Apabetalone-Meets-Primary-Endpoint-in-a-Pulmonary-Arterial-Hypertension-Pilot-Study.html" TargetMode="External"/><Relationship Id="rId2" Type="http://schemas.openxmlformats.org/officeDocument/2006/relationships/notesSlide" Target="../notesSlides/notesSlide6.xml"/><Relationship Id="rId1" Type="http://schemas.openxmlformats.org/officeDocument/2006/relationships/slideLayout" Target="../slideLayouts/slideLayout3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A blue and white blurry background&#10;&#10;Description automatically generated">
            <a:extLst>
              <a:ext uri="{FF2B5EF4-FFF2-40B4-BE49-F238E27FC236}">
                <a16:creationId xmlns:a16="http://schemas.microsoft.com/office/drawing/2014/main" id="{9BF08945-34A3-E5F2-4BAF-7983BE49AFD6}"/>
              </a:ext>
            </a:extLst>
          </p:cNvPr>
          <p:cNvPicPr>
            <a:picLocks noChangeAspect="1"/>
          </p:cNvPicPr>
          <p:nvPr/>
        </p:nvPicPr>
        <p:blipFill>
          <a:blip r:embed="rId3"/>
          <a:stretch>
            <a:fillRect/>
          </a:stretch>
        </p:blipFill>
        <p:spPr>
          <a:xfrm>
            <a:off x="0" y="0"/>
            <a:ext cx="12192000" cy="6858000"/>
          </a:xfrm>
          <a:prstGeom prst="rect">
            <a:avLst/>
          </a:prstGeom>
        </p:spPr>
      </p:pic>
      <p:sp>
        <p:nvSpPr>
          <p:cNvPr id="13" name="Rounded Rectangle 12">
            <a:extLst>
              <a:ext uri="{FF2B5EF4-FFF2-40B4-BE49-F238E27FC236}">
                <a16:creationId xmlns:a16="http://schemas.microsoft.com/office/drawing/2014/main" id="{75343E5B-A693-2FAA-D3E6-8D4900539CEB}"/>
              </a:ext>
            </a:extLst>
          </p:cNvPr>
          <p:cNvSpPr/>
          <p:nvPr/>
        </p:nvSpPr>
        <p:spPr>
          <a:xfrm>
            <a:off x="371153" y="358028"/>
            <a:ext cx="11483788" cy="6141944"/>
          </a:xfrm>
          <a:prstGeom prst="roundRect">
            <a:avLst>
              <a:gd name="adj" fmla="val 5617"/>
            </a:avLst>
          </a:prstGeom>
          <a:gradFill flip="none" rotWithShape="1">
            <a:gsLst>
              <a:gs pos="99000">
                <a:srgbClr val="173057"/>
              </a:gs>
              <a:gs pos="0">
                <a:srgbClr val="0258A6">
                  <a:lumMod val="100000"/>
                </a:srgb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4" name="Graphic 13">
            <a:extLst>
              <a:ext uri="{FF2B5EF4-FFF2-40B4-BE49-F238E27FC236}">
                <a16:creationId xmlns:a16="http://schemas.microsoft.com/office/drawing/2014/main" id="{6F7485AE-8111-BA54-282E-6E7337310E3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359350" y="569898"/>
            <a:ext cx="5473299" cy="2747135"/>
          </a:xfrm>
          <a:prstGeom prst="rect">
            <a:avLst/>
          </a:prstGeom>
        </p:spPr>
      </p:pic>
      <p:sp>
        <p:nvSpPr>
          <p:cNvPr id="15" name="Text Placeholder 4">
            <a:extLst>
              <a:ext uri="{FF2B5EF4-FFF2-40B4-BE49-F238E27FC236}">
                <a16:creationId xmlns:a16="http://schemas.microsoft.com/office/drawing/2014/main" id="{9BDAA57A-7B75-B6FF-C407-ABDBD17ECC61}"/>
              </a:ext>
            </a:extLst>
          </p:cNvPr>
          <p:cNvSpPr txBox="1">
            <a:spLocks/>
          </p:cNvSpPr>
          <p:nvPr/>
        </p:nvSpPr>
        <p:spPr>
          <a:xfrm>
            <a:off x="2779024" y="3636296"/>
            <a:ext cx="6668046" cy="1721492"/>
          </a:xfrm>
          <a:prstGeom prst="roundRect">
            <a:avLst>
              <a:gd name="adj" fmla="val 23876"/>
            </a:avLst>
          </a:prstGeom>
          <a:solidFill>
            <a:schemeClr val="bg1"/>
          </a:solidFill>
        </p:spPr>
        <p:txBody>
          <a:bodyPr anchor="ctr">
            <a:normAutofit fontScale="92500" lnSpcReduction="10000"/>
          </a:bodyPr>
          <a:lst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2400" kern="1200">
                <a:solidFill>
                  <a:schemeClr val="tx1">
                    <a:lumMod val="75000"/>
                  </a:schemeClr>
                </a:solidFill>
                <a:latin typeface="+mn-lt"/>
                <a:ea typeface="+mn-ea"/>
                <a:cs typeface="+mn-cs"/>
              </a:defRPr>
            </a:lvl1pPr>
            <a:lvl2pPr marL="685800" indent="-228600" algn="l" defTabSz="914400" rtl="0" eaLnBrk="1" latinLnBrk="0" hangingPunct="1">
              <a:lnSpc>
                <a:spcPct val="100000"/>
              </a:lnSpc>
              <a:spcBef>
                <a:spcPts val="500"/>
              </a:spcBef>
              <a:buClr>
                <a:schemeClr val="accent4"/>
              </a:buClr>
              <a:buFont typeface="Arial" panose="020B0604020202020204" pitchFamily="34" charset="0"/>
              <a:buChar char="•"/>
              <a:defRPr sz="2000" kern="1200">
                <a:solidFill>
                  <a:schemeClr val="tx1">
                    <a:lumMod val="75000"/>
                  </a:schemeClr>
                </a:solidFill>
                <a:latin typeface="+mn-lt"/>
                <a:ea typeface="+mn-ea"/>
                <a:cs typeface="+mn-cs"/>
              </a:defRPr>
            </a:lvl2pPr>
            <a:lvl3pPr marL="1143000" indent="-228600" algn="l" defTabSz="914400" rtl="0" eaLnBrk="1" latinLnBrk="0" hangingPunct="1">
              <a:lnSpc>
                <a:spcPct val="100000"/>
              </a:lnSpc>
              <a:spcBef>
                <a:spcPts val="500"/>
              </a:spcBef>
              <a:buClr>
                <a:schemeClr val="tx2">
                  <a:lumMod val="60000"/>
                  <a:lumOff val="40000"/>
                </a:schemeClr>
              </a:buClr>
              <a:buFont typeface="Arial" panose="020B0604020202020204" pitchFamily="34" charset="0"/>
              <a:buChar char="–"/>
              <a:defRPr sz="1800" kern="1200">
                <a:solidFill>
                  <a:schemeClr val="tx1">
                    <a:lumMod val="75000"/>
                  </a:schemeClr>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lumMod val="75000"/>
                  </a:schemeClr>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120000"/>
              </a:lnSpc>
              <a:spcBef>
                <a:spcPts val="1000"/>
              </a:spcBef>
              <a:spcAft>
                <a:spcPts val="0"/>
              </a:spcAft>
              <a:buClr>
                <a:srgbClr val="ED7D31"/>
              </a:buClr>
              <a:buSzTx/>
              <a:buFont typeface="Arial" panose="020B0604020202020204" pitchFamily="34" charset="0"/>
              <a:buNone/>
              <a:tabLst/>
              <a:defRPr/>
            </a:pPr>
            <a:r>
              <a:rPr kumimoji="0" lang="en-US" sz="2800" b="1" i="0" u="none" strike="noStrike" kern="1200" cap="none" spc="0" normalizeH="0" baseline="0" noProof="0" dirty="0">
                <a:ln>
                  <a:noFill/>
                </a:ln>
                <a:solidFill>
                  <a:srgbClr val="03549F"/>
                </a:solidFill>
                <a:effectLst/>
                <a:uLnTx/>
                <a:uFillTx/>
                <a:latin typeface="Century Gothic" panose="020B0502020202020204" pitchFamily="34" charset="0"/>
                <a:ea typeface="+mn-ea"/>
                <a:cs typeface="+mn-cs"/>
              </a:rPr>
              <a:t>Saturday, September 9, 2023 </a:t>
            </a:r>
            <a:br>
              <a:rPr kumimoji="0" lang="en-US" sz="2800" b="1" i="0" u="none" strike="noStrike" kern="1200" cap="none" spc="0" normalizeH="0" baseline="0" noProof="0" dirty="0">
                <a:ln>
                  <a:noFill/>
                </a:ln>
                <a:solidFill>
                  <a:srgbClr val="03549F"/>
                </a:solidFill>
                <a:effectLst/>
                <a:uLnTx/>
                <a:uFillTx/>
                <a:latin typeface="Century Gothic" panose="020B0502020202020204" pitchFamily="34" charset="0"/>
                <a:ea typeface="+mn-ea"/>
                <a:cs typeface="+mn-cs"/>
              </a:rPr>
            </a:br>
            <a:r>
              <a:rPr kumimoji="0" lang="en-US" sz="2800" b="1" i="0" u="none" strike="noStrike" kern="1200" cap="none" spc="0" normalizeH="0" baseline="0" noProof="0" dirty="0">
                <a:ln>
                  <a:noFill/>
                </a:ln>
                <a:solidFill>
                  <a:srgbClr val="03549F"/>
                </a:solidFill>
                <a:effectLst/>
                <a:uLnTx/>
                <a:uFillTx/>
                <a:latin typeface="Century Gothic" panose="020B0502020202020204" pitchFamily="34" charset="0"/>
                <a:ea typeface="+mn-ea"/>
                <a:cs typeface="+mn-cs"/>
              </a:rPr>
              <a:t>9:00am – 3:00pm PT </a:t>
            </a:r>
          </a:p>
          <a:p>
            <a:pPr marL="0" marR="0" lvl="0" indent="0" algn="ctr" defTabSz="914400" rtl="0" eaLnBrk="1" fontAlgn="auto" latinLnBrk="0" hangingPunct="1">
              <a:lnSpc>
                <a:spcPct val="120000"/>
              </a:lnSpc>
              <a:spcBef>
                <a:spcPts val="1000"/>
              </a:spcBef>
              <a:spcAft>
                <a:spcPts val="600"/>
              </a:spcAft>
              <a:buClr>
                <a:srgbClr val="ED7D31"/>
              </a:buClr>
              <a:buSzTx/>
              <a:buFont typeface="Arial" panose="020B0604020202020204" pitchFamily="34" charset="0"/>
              <a:buNone/>
              <a:tabLst/>
              <a:defRPr/>
            </a:pPr>
            <a:r>
              <a:rPr kumimoji="0" lang="en-US" sz="2000" b="0" i="0" u="none" strike="noStrike" kern="1200" cap="none" spc="0" normalizeH="0" baseline="0" noProof="0" dirty="0">
                <a:ln>
                  <a:noFill/>
                </a:ln>
                <a:solidFill>
                  <a:srgbClr val="03549F"/>
                </a:solidFill>
                <a:effectLst/>
                <a:uLnTx/>
                <a:uFillTx/>
                <a:latin typeface="Century Gothic" panose="020B0502020202020204" pitchFamily="34" charset="0"/>
                <a:ea typeface="+mn-ea"/>
                <a:cs typeface="+mn-cs"/>
              </a:rPr>
              <a:t>UCLA </a:t>
            </a:r>
            <a:r>
              <a:rPr kumimoji="0" lang="en-US" sz="2000" b="0" i="0" u="none" strike="noStrike" kern="1200" cap="none" spc="0" normalizeH="0" baseline="0" noProof="0" dirty="0" err="1">
                <a:ln>
                  <a:noFill/>
                </a:ln>
                <a:solidFill>
                  <a:srgbClr val="03549F"/>
                </a:solidFill>
                <a:effectLst/>
                <a:uLnTx/>
                <a:uFillTx/>
                <a:latin typeface="Century Gothic" panose="020B0502020202020204" pitchFamily="34" charset="0"/>
                <a:ea typeface="+mn-ea"/>
                <a:cs typeface="+mn-cs"/>
              </a:rPr>
              <a:t>Covel</a:t>
            </a:r>
            <a:r>
              <a:rPr kumimoji="0" lang="en-US" sz="2000" b="0" i="0" u="none" strike="noStrike" kern="1200" cap="none" spc="0" normalizeH="0" baseline="0" noProof="0" dirty="0">
                <a:ln>
                  <a:noFill/>
                </a:ln>
                <a:solidFill>
                  <a:srgbClr val="03549F"/>
                </a:solidFill>
                <a:effectLst/>
                <a:uLnTx/>
                <a:uFillTx/>
                <a:latin typeface="Century Gothic" panose="020B0502020202020204" pitchFamily="34" charset="0"/>
                <a:ea typeface="+mn-ea"/>
                <a:cs typeface="+mn-cs"/>
              </a:rPr>
              <a:t> Commons  |   Los Angeles, CA</a:t>
            </a:r>
          </a:p>
        </p:txBody>
      </p:sp>
      <p:pic>
        <p:nvPicPr>
          <p:cNvPr id="20" name="Graphic 19">
            <a:extLst>
              <a:ext uri="{FF2B5EF4-FFF2-40B4-BE49-F238E27FC236}">
                <a16:creationId xmlns:a16="http://schemas.microsoft.com/office/drawing/2014/main" id="{BBC76106-1ECE-2681-43E6-14092E2777F2}"/>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3461326" y="5782647"/>
            <a:ext cx="913945" cy="443125"/>
          </a:xfrm>
          <a:prstGeom prst="rect">
            <a:avLst/>
          </a:prstGeom>
        </p:spPr>
      </p:pic>
      <p:sp>
        <p:nvSpPr>
          <p:cNvPr id="21" name="TextBox 20">
            <a:extLst>
              <a:ext uri="{FF2B5EF4-FFF2-40B4-BE49-F238E27FC236}">
                <a16:creationId xmlns:a16="http://schemas.microsoft.com/office/drawing/2014/main" id="{CC9FF750-37FB-61C7-B7B7-50EC6E352E9A}"/>
              </a:ext>
            </a:extLst>
          </p:cNvPr>
          <p:cNvSpPr txBox="1"/>
          <p:nvPr/>
        </p:nvSpPr>
        <p:spPr>
          <a:xfrm>
            <a:off x="4547555" y="5715816"/>
            <a:ext cx="5419406" cy="55399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This activity is supported by independent educational grants from Actelion Pharmaceuticals US, Division of Janssen Pharmaceuticals and United Therapeutics Corporation. </a:t>
            </a:r>
            <a:b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br>
            <a:r>
              <a:rPr kumimoji="0" lang="en-US" sz="1000" b="0" i="0" u="none" strike="noStrike" kern="1200" cap="none" spc="0" normalizeH="0" baseline="0" noProof="0" dirty="0">
                <a:ln>
                  <a:noFill/>
                </a:ln>
                <a:solidFill>
                  <a:prstClr val="white"/>
                </a:solidFill>
                <a:effectLst/>
                <a:uLnTx/>
                <a:uFillTx/>
                <a:latin typeface="Calibri" panose="020F0502020204030204"/>
                <a:ea typeface="+mn-ea"/>
                <a:cs typeface="+mn-cs"/>
              </a:rPr>
              <a:t>Jointly provided by the Global Learning Collaborative (GLC) and Total CME, LLC.</a:t>
            </a:r>
          </a:p>
        </p:txBody>
      </p:sp>
      <p:pic>
        <p:nvPicPr>
          <p:cNvPr id="3" name="Picture 2" descr="A blue lines on a black background&#10;&#10;Description automatically generated">
            <a:extLst>
              <a:ext uri="{FF2B5EF4-FFF2-40B4-BE49-F238E27FC236}">
                <a16:creationId xmlns:a16="http://schemas.microsoft.com/office/drawing/2014/main" id="{59733E4D-2A77-8BFD-43D9-37831A69670F}"/>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rot="10800000">
            <a:off x="0" y="0"/>
            <a:ext cx="4927834" cy="1383323"/>
          </a:xfrm>
          <a:prstGeom prst="rect">
            <a:avLst/>
          </a:prstGeom>
        </p:spPr>
      </p:pic>
      <p:pic>
        <p:nvPicPr>
          <p:cNvPr id="4" name="Picture 3" descr="A blue lines on a black background&#10;&#10;Description automatically generated">
            <a:extLst>
              <a:ext uri="{FF2B5EF4-FFF2-40B4-BE49-F238E27FC236}">
                <a16:creationId xmlns:a16="http://schemas.microsoft.com/office/drawing/2014/main" id="{1F25BDDD-14CD-0EB9-5E3A-066489E34286}"/>
              </a:ext>
            </a:extLst>
          </p:cNvPr>
          <p:cNvPicPr>
            <a:picLocks noChangeAspect="1"/>
          </p:cNvPicPr>
          <p:nvPr/>
        </p:nvPicPr>
        <p:blipFill rotWithShape="1">
          <a:blip r:embed="rId9" cstate="screen">
            <a:extLst>
              <a:ext uri="{28A0092B-C50C-407E-A947-70E740481C1C}">
                <a14:useLocalDpi xmlns:a14="http://schemas.microsoft.com/office/drawing/2010/main"/>
              </a:ext>
            </a:extLst>
          </a:blip>
          <a:srcRect/>
          <a:stretch/>
        </p:blipFill>
        <p:spPr>
          <a:xfrm>
            <a:off x="7688482" y="5357788"/>
            <a:ext cx="4503517" cy="1500212"/>
          </a:xfrm>
          <a:prstGeom prst="rect">
            <a:avLst/>
          </a:prstGeom>
        </p:spPr>
      </p:pic>
      <p:pic>
        <p:nvPicPr>
          <p:cNvPr id="5" name="Picture 2">
            <a:extLst>
              <a:ext uri="{FF2B5EF4-FFF2-40B4-BE49-F238E27FC236}">
                <a16:creationId xmlns:a16="http://schemas.microsoft.com/office/drawing/2014/main" id="{12DF217D-BE92-9694-27CC-33AA992210F8}"/>
              </a:ext>
            </a:extLst>
          </p:cNvPr>
          <p:cNvPicPr>
            <a:picLocks noChangeAspect="1" noChangeArrowheads="1"/>
          </p:cNvPicPr>
          <p:nvPr/>
        </p:nvPicPr>
        <p:blipFill>
          <a:blip r:embed="rId10" cstate="print">
            <a:extLst>
              <a:ext uri="{BEBA8EAE-BF5A-486C-A8C5-ECC9F3942E4B}">
                <a14:imgProps xmlns:a14="http://schemas.microsoft.com/office/drawing/2010/main">
                  <a14:imgLayer r:embed="rId11">
                    <a14:imgEffect>
                      <a14:brightnessContrast bright="100000" contrast="100000"/>
                    </a14:imgEffect>
                  </a14:imgLayer>
                </a14:imgProps>
              </a:ext>
              <a:ext uri="{28A0092B-C50C-407E-A947-70E740481C1C}">
                <a14:useLocalDpi xmlns:a14="http://schemas.microsoft.com/office/drawing/2010/main"/>
              </a:ext>
            </a:extLst>
          </a:blip>
          <a:srcRect/>
          <a:stretch>
            <a:fillRect/>
          </a:stretch>
        </p:blipFill>
        <p:spPr bwMode="auto">
          <a:xfrm>
            <a:off x="2148346" y="5782649"/>
            <a:ext cx="1221949" cy="45212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4825279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E540275-C3D0-118B-0C7A-8D7CA3EA0115}"/>
              </a:ext>
            </a:extLst>
          </p:cNvPr>
          <p:cNvGrpSpPr/>
          <p:nvPr/>
        </p:nvGrpSpPr>
        <p:grpSpPr>
          <a:xfrm>
            <a:off x="0" y="0"/>
            <a:ext cx="12192000" cy="6858000"/>
            <a:chOff x="0" y="0"/>
            <a:chExt cx="12192000" cy="6858000"/>
          </a:xfrm>
        </p:grpSpPr>
        <p:pic>
          <p:nvPicPr>
            <p:cNvPr id="4" name="Picture 3" descr="A blue and white blurry background&#10;&#10;Description automatically generated">
              <a:extLst>
                <a:ext uri="{FF2B5EF4-FFF2-40B4-BE49-F238E27FC236}">
                  <a16:creationId xmlns:a16="http://schemas.microsoft.com/office/drawing/2014/main" id="{E3873AAA-5686-2004-DFF9-433FCB6BD2D6}"/>
                </a:ext>
              </a:extLst>
            </p:cNvPr>
            <p:cNvPicPr>
              <a:picLocks noChangeAspect="1"/>
            </p:cNvPicPr>
            <p:nvPr/>
          </p:nvPicPr>
          <p:blipFill>
            <a:blip r:embed="rId2"/>
            <a:stretch>
              <a:fillRect/>
            </a:stretch>
          </p:blipFill>
          <p:spPr>
            <a:xfrm>
              <a:off x="0" y="0"/>
              <a:ext cx="12192000" cy="6858000"/>
            </a:xfrm>
            <a:prstGeom prst="rect">
              <a:avLst/>
            </a:prstGeom>
          </p:spPr>
        </p:pic>
        <p:sp>
          <p:nvSpPr>
            <p:cNvPr id="5" name="Rounded Rectangle 4">
              <a:extLst>
                <a:ext uri="{FF2B5EF4-FFF2-40B4-BE49-F238E27FC236}">
                  <a16:creationId xmlns:a16="http://schemas.microsoft.com/office/drawing/2014/main" id="{5051F619-2039-1DDC-821B-59C1F603027C}"/>
                </a:ext>
              </a:extLst>
            </p:cNvPr>
            <p:cNvSpPr/>
            <p:nvPr/>
          </p:nvSpPr>
          <p:spPr>
            <a:xfrm>
              <a:off x="371153" y="358028"/>
              <a:ext cx="11483788" cy="6141944"/>
            </a:xfrm>
            <a:prstGeom prst="roundRect">
              <a:avLst>
                <a:gd name="adj" fmla="val 5617"/>
              </a:avLst>
            </a:prstGeom>
            <a:gradFill flip="none" rotWithShape="1">
              <a:gsLst>
                <a:gs pos="99000">
                  <a:srgbClr val="173057"/>
                </a:gs>
                <a:gs pos="0">
                  <a:srgbClr val="0258A6">
                    <a:lumMod val="100000"/>
                  </a:srgb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 name="Title 1">
            <a:extLst>
              <a:ext uri="{FF2B5EF4-FFF2-40B4-BE49-F238E27FC236}">
                <a16:creationId xmlns:a16="http://schemas.microsoft.com/office/drawing/2014/main" id="{0CE0695D-746F-FFD6-B476-A80EB4E0F332}"/>
              </a:ext>
            </a:extLst>
          </p:cNvPr>
          <p:cNvSpPr>
            <a:spLocks noGrp="1"/>
          </p:cNvSpPr>
          <p:nvPr>
            <p:ph type="title"/>
          </p:nvPr>
        </p:nvSpPr>
        <p:spPr>
          <a:xfrm>
            <a:off x="662101" y="2579356"/>
            <a:ext cx="10744200" cy="1520032"/>
          </a:xfrm>
        </p:spPr>
        <p:txBody>
          <a:bodyPr>
            <a:normAutofit/>
          </a:bodyPr>
          <a:lstStyle/>
          <a:p>
            <a:pPr algn="ctr"/>
            <a:r>
              <a:rPr lang="en-US" sz="7200" dirty="0" err="1">
                <a:solidFill>
                  <a:schemeClr val="bg1"/>
                </a:solidFill>
              </a:rPr>
              <a:t>Sotatercept</a:t>
            </a:r>
            <a:endParaRPr lang="en-US" sz="7200" dirty="0">
              <a:solidFill>
                <a:schemeClr val="bg1"/>
              </a:solidFill>
            </a:endParaRPr>
          </a:p>
        </p:txBody>
      </p:sp>
    </p:spTree>
    <p:extLst>
      <p:ext uri="{BB962C8B-B14F-4D97-AF65-F5344CB8AC3E}">
        <p14:creationId xmlns:p14="http://schemas.microsoft.com/office/powerpoint/2010/main" val="10198247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89" name="Group 588">
            <a:extLst>
              <a:ext uri="{FF2B5EF4-FFF2-40B4-BE49-F238E27FC236}">
                <a16:creationId xmlns:a16="http://schemas.microsoft.com/office/drawing/2014/main" id="{8F5C93EA-2C4D-EE4B-87ED-EC563A1040EF}"/>
              </a:ext>
            </a:extLst>
          </p:cNvPr>
          <p:cNvGrpSpPr>
            <a:grpSpLocks noChangeAspect="1"/>
          </p:cNvGrpSpPr>
          <p:nvPr/>
        </p:nvGrpSpPr>
        <p:grpSpPr>
          <a:xfrm>
            <a:off x="6599102" y="1331105"/>
            <a:ext cx="5185549" cy="4009456"/>
            <a:chOff x="6795201" y="1815927"/>
            <a:chExt cx="4558513" cy="3524633"/>
          </a:xfrm>
        </p:grpSpPr>
        <p:grpSp>
          <p:nvGrpSpPr>
            <p:cNvPr id="22" name="Group 21">
              <a:extLst>
                <a:ext uri="{FF2B5EF4-FFF2-40B4-BE49-F238E27FC236}">
                  <a16:creationId xmlns:a16="http://schemas.microsoft.com/office/drawing/2014/main" id="{A7566FBA-C4AF-40E4-86C9-748E861E8664}"/>
                </a:ext>
              </a:extLst>
            </p:cNvPr>
            <p:cNvGrpSpPr/>
            <p:nvPr/>
          </p:nvGrpSpPr>
          <p:grpSpPr>
            <a:xfrm>
              <a:off x="6795201" y="1815927"/>
              <a:ext cx="4475561" cy="3524633"/>
              <a:chOff x="6795201" y="1815927"/>
              <a:chExt cx="4475561" cy="3524633"/>
            </a:xfrm>
          </p:grpSpPr>
          <p:sp>
            <p:nvSpPr>
              <p:cNvPr id="23" name="Rectangle 22">
                <a:extLst>
                  <a:ext uri="{FF2B5EF4-FFF2-40B4-BE49-F238E27FC236}">
                    <a16:creationId xmlns:a16="http://schemas.microsoft.com/office/drawing/2014/main" id="{AA629936-B0A2-4FF9-8D83-C26B5ED2060F}"/>
                  </a:ext>
                </a:extLst>
              </p:cNvPr>
              <p:cNvSpPr/>
              <p:nvPr/>
            </p:nvSpPr>
            <p:spPr>
              <a:xfrm>
                <a:off x="6798167" y="1829944"/>
                <a:ext cx="4472518" cy="3510616"/>
              </a:xfrm>
              <a:prstGeom prst="rect">
                <a:avLst/>
              </a:prstGeom>
              <a:solidFill>
                <a:schemeClr val="bg2"/>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nvGrpSpPr>
              <p:cNvPr id="24" name="Group 23">
                <a:extLst>
                  <a:ext uri="{FF2B5EF4-FFF2-40B4-BE49-F238E27FC236}">
                    <a16:creationId xmlns:a16="http://schemas.microsoft.com/office/drawing/2014/main" id="{F5E17862-A2C7-4EAC-91F7-D01CF61CD4F6}"/>
                  </a:ext>
                </a:extLst>
              </p:cNvPr>
              <p:cNvGrpSpPr/>
              <p:nvPr/>
            </p:nvGrpSpPr>
            <p:grpSpPr>
              <a:xfrm>
                <a:off x="6795201" y="3517354"/>
                <a:ext cx="4475561" cy="268932"/>
                <a:chOff x="206302" y="1563885"/>
                <a:chExt cx="2583493" cy="417598"/>
              </a:xfrm>
            </p:grpSpPr>
            <p:grpSp>
              <p:nvGrpSpPr>
                <p:cNvPr id="73" name="Group 72">
                  <a:extLst>
                    <a:ext uri="{FF2B5EF4-FFF2-40B4-BE49-F238E27FC236}">
                      <a16:creationId xmlns:a16="http://schemas.microsoft.com/office/drawing/2014/main" id="{34A1CB82-C7EB-4970-90EF-C478CBFD8181}"/>
                    </a:ext>
                  </a:extLst>
                </p:cNvPr>
                <p:cNvGrpSpPr/>
                <p:nvPr/>
              </p:nvGrpSpPr>
              <p:grpSpPr>
                <a:xfrm>
                  <a:off x="206302" y="1563885"/>
                  <a:ext cx="1761030" cy="417598"/>
                  <a:chOff x="1951282" y="1702132"/>
                  <a:chExt cx="1761030" cy="417598"/>
                </a:xfrm>
              </p:grpSpPr>
              <p:grpSp>
                <p:nvGrpSpPr>
                  <p:cNvPr id="152" name="Group 151">
                    <a:extLst>
                      <a:ext uri="{FF2B5EF4-FFF2-40B4-BE49-F238E27FC236}">
                        <a16:creationId xmlns:a16="http://schemas.microsoft.com/office/drawing/2014/main" id="{3B5705F0-F25A-48F0-8BFE-96A45EDFD28A}"/>
                      </a:ext>
                    </a:extLst>
                  </p:cNvPr>
                  <p:cNvGrpSpPr/>
                  <p:nvPr/>
                </p:nvGrpSpPr>
                <p:grpSpPr>
                  <a:xfrm>
                    <a:off x="1951282" y="1702132"/>
                    <a:ext cx="1760976" cy="200517"/>
                    <a:chOff x="2731292" y="3253268"/>
                    <a:chExt cx="2704814" cy="291856"/>
                  </a:xfrm>
                  <a:solidFill>
                    <a:schemeClr val="bg1"/>
                  </a:solidFill>
                </p:grpSpPr>
                <p:sp>
                  <p:nvSpPr>
                    <p:cNvPr id="226" name="Freeform 247">
                      <a:extLst>
                        <a:ext uri="{FF2B5EF4-FFF2-40B4-BE49-F238E27FC236}">
                          <a16:creationId xmlns:a16="http://schemas.microsoft.com/office/drawing/2014/main" id="{328D3D8C-EE9A-4A48-BF8D-0053A39C5BB9}"/>
                        </a:ext>
                      </a:extLst>
                    </p:cNvPr>
                    <p:cNvSpPr/>
                    <p:nvPr/>
                  </p:nvSpPr>
                  <p:spPr>
                    <a:xfrm>
                      <a:off x="2839294" y="3326342"/>
                      <a:ext cx="45720"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7" name="Oval 226">
                      <a:extLst>
                        <a:ext uri="{FF2B5EF4-FFF2-40B4-BE49-F238E27FC236}">
                          <a16:creationId xmlns:a16="http://schemas.microsoft.com/office/drawing/2014/main" id="{8AC6EC61-4EE7-43BE-8D99-FB353A30F9C5}"/>
                        </a:ext>
                      </a:extLst>
                    </p:cNvPr>
                    <p:cNvSpPr/>
                    <p:nvPr/>
                  </p:nvSpPr>
                  <p:spPr>
                    <a:xfrm>
                      <a:off x="2839294"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8" name="Freeform 249">
                      <a:extLst>
                        <a:ext uri="{FF2B5EF4-FFF2-40B4-BE49-F238E27FC236}">
                          <a16:creationId xmlns:a16="http://schemas.microsoft.com/office/drawing/2014/main" id="{BE616CBF-29D5-4C85-A57E-10472FE37F2A}"/>
                        </a:ext>
                      </a:extLst>
                    </p:cNvPr>
                    <p:cNvSpPr/>
                    <p:nvPr/>
                  </p:nvSpPr>
                  <p:spPr>
                    <a:xfrm>
                      <a:off x="2901036" y="3365286"/>
                      <a:ext cx="46259"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9" name="Oval 228">
                      <a:extLst>
                        <a:ext uri="{FF2B5EF4-FFF2-40B4-BE49-F238E27FC236}">
                          <a16:creationId xmlns:a16="http://schemas.microsoft.com/office/drawing/2014/main" id="{28379BFC-F6A3-4F4B-8B85-210AC63E6134}"/>
                        </a:ext>
                      </a:extLst>
                    </p:cNvPr>
                    <p:cNvSpPr/>
                    <p:nvPr/>
                  </p:nvSpPr>
                  <p:spPr>
                    <a:xfrm>
                      <a:off x="2954600"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0" name="Oval 229">
                      <a:extLst>
                        <a:ext uri="{FF2B5EF4-FFF2-40B4-BE49-F238E27FC236}">
                          <a16:creationId xmlns:a16="http://schemas.microsoft.com/office/drawing/2014/main" id="{3273B376-B3E0-4978-A994-509133123111}"/>
                        </a:ext>
                      </a:extLst>
                    </p:cNvPr>
                    <p:cNvSpPr/>
                    <p:nvPr/>
                  </p:nvSpPr>
                  <p:spPr>
                    <a:xfrm>
                      <a:off x="2731292"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1" name="Oval 230">
                      <a:extLst>
                        <a:ext uri="{FF2B5EF4-FFF2-40B4-BE49-F238E27FC236}">
                          <a16:creationId xmlns:a16="http://schemas.microsoft.com/office/drawing/2014/main" id="{7FEB7FAD-DD36-480E-B6EF-04CC3B926786}"/>
                        </a:ext>
                      </a:extLst>
                    </p:cNvPr>
                    <p:cNvSpPr/>
                    <p:nvPr/>
                  </p:nvSpPr>
                  <p:spPr>
                    <a:xfrm>
                      <a:off x="3066743"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2" name="Oval 231">
                      <a:extLst>
                        <a:ext uri="{FF2B5EF4-FFF2-40B4-BE49-F238E27FC236}">
                          <a16:creationId xmlns:a16="http://schemas.microsoft.com/office/drawing/2014/main" id="{47D71892-533D-42E6-8BD8-5A91E3619F28}"/>
                        </a:ext>
                      </a:extLst>
                    </p:cNvPr>
                    <p:cNvSpPr/>
                    <p:nvPr/>
                  </p:nvSpPr>
                  <p:spPr>
                    <a:xfrm>
                      <a:off x="3182408"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3" name="Oval 232">
                      <a:extLst>
                        <a:ext uri="{FF2B5EF4-FFF2-40B4-BE49-F238E27FC236}">
                          <a16:creationId xmlns:a16="http://schemas.microsoft.com/office/drawing/2014/main" id="{C1D5EC02-DD91-4EBF-B377-F23946376BDC}"/>
                        </a:ext>
                      </a:extLst>
                    </p:cNvPr>
                    <p:cNvSpPr/>
                    <p:nvPr/>
                  </p:nvSpPr>
                  <p:spPr>
                    <a:xfrm>
                      <a:off x="3290408"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4" name="Freeform 255">
                      <a:extLst>
                        <a:ext uri="{FF2B5EF4-FFF2-40B4-BE49-F238E27FC236}">
                          <a16:creationId xmlns:a16="http://schemas.microsoft.com/office/drawing/2014/main" id="{17E81922-91A0-4AA2-8F00-36E46A3F053D}"/>
                        </a:ext>
                      </a:extLst>
                    </p:cNvPr>
                    <p:cNvSpPr/>
                    <p:nvPr/>
                  </p:nvSpPr>
                  <p:spPr>
                    <a:xfrm>
                      <a:off x="2739571" y="3342341"/>
                      <a:ext cx="45720"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5" name="Freeform 256">
                      <a:extLst>
                        <a:ext uri="{FF2B5EF4-FFF2-40B4-BE49-F238E27FC236}">
                          <a16:creationId xmlns:a16="http://schemas.microsoft.com/office/drawing/2014/main" id="{E7B0F19B-4DF1-426F-90C5-31A67BADCA19}"/>
                        </a:ext>
                      </a:extLst>
                    </p:cNvPr>
                    <p:cNvSpPr/>
                    <p:nvPr/>
                  </p:nvSpPr>
                  <p:spPr>
                    <a:xfrm>
                      <a:off x="2798029"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6" name="Freeform 257">
                      <a:extLst>
                        <a:ext uri="{FF2B5EF4-FFF2-40B4-BE49-F238E27FC236}">
                          <a16:creationId xmlns:a16="http://schemas.microsoft.com/office/drawing/2014/main" id="{511D9E4F-5422-403D-884E-1CAB307C2CE0}"/>
                        </a:ext>
                      </a:extLst>
                    </p:cNvPr>
                    <p:cNvSpPr/>
                    <p:nvPr/>
                  </p:nvSpPr>
                  <p:spPr>
                    <a:xfrm>
                      <a:off x="2986743"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7" name="Freeform 258">
                      <a:extLst>
                        <a:ext uri="{FF2B5EF4-FFF2-40B4-BE49-F238E27FC236}">
                          <a16:creationId xmlns:a16="http://schemas.microsoft.com/office/drawing/2014/main" id="{ED14FBF1-5713-43CF-94EF-26EFEB310F83}"/>
                        </a:ext>
                      </a:extLst>
                    </p:cNvPr>
                    <p:cNvSpPr/>
                    <p:nvPr/>
                  </p:nvSpPr>
                  <p:spPr>
                    <a:xfrm>
                      <a:off x="3016883" y="3360336"/>
                      <a:ext cx="4572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8" name="Freeform 259">
                      <a:extLst>
                        <a:ext uri="{FF2B5EF4-FFF2-40B4-BE49-F238E27FC236}">
                          <a16:creationId xmlns:a16="http://schemas.microsoft.com/office/drawing/2014/main" id="{61962300-906C-4E8B-8C7F-1C2FC8090646}"/>
                        </a:ext>
                      </a:extLst>
                    </p:cNvPr>
                    <p:cNvSpPr/>
                    <p:nvPr/>
                  </p:nvSpPr>
                  <p:spPr>
                    <a:xfrm>
                      <a:off x="3097738" y="3357001"/>
                      <a:ext cx="31772"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9" name="Freeform 260">
                      <a:extLst>
                        <a:ext uri="{FF2B5EF4-FFF2-40B4-BE49-F238E27FC236}">
                          <a16:creationId xmlns:a16="http://schemas.microsoft.com/office/drawing/2014/main" id="{AFA85E41-AB9A-4AF1-B2A3-1B32DCD1837F}"/>
                        </a:ext>
                      </a:extLst>
                    </p:cNvPr>
                    <p:cNvSpPr/>
                    <p:nvPr/>
                  </p:nvSpPr>
                  <p:spPr>
                    <a:xfrm>
                      <a:off x="3131847" y="3357001"/>
                      <a:ext cx="40004" cy="18812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40" name="Freeform 261">
                      <a:extLst>
                        <a:ext uri="{FF2B5EF4-FFF2-40B4-BE49-F238E27FC236}">
                          <a16:creationId xmlns:a16="http://schemas.microsoft.com/office/drawing/2014/main" id="{74E2C7D2-5EB7-4A8C-86F8-BA1779BEEA48}"/>
                        </a:ext>
                      </a:extLst>
                    </p:cNvPr>
                    <p:cNvSpPr/>
                    <p:nvPr/>
                  </p:nvSpPr>
                  <p:spPr>
                    <a:xfrm>
                      <a:off x="3215364"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41" name="Freeform 262">
                      <a:extLst>
                        <a:ext uri="{FF2B5EF4-FFF2-40B4-BE49-F238E27FC236}">
                          <a16:creationId xmlns:a16="http://schemas.microsoft.com/office/drawing/2014/main" id="{E600EE51-2150-4853-843D-B42743CCA87A}"/>
                        </a:ext>
                      </a:extLst>
                    </p:cNvPr>
                    <p:cNvSpPr/>
                    <p:nvPr/>
                  </p:nvSpPr>
                  <p:spPr>
                    <a:xfrm>
                      <a:off x="3249771" y="3360334"/>
                      <a:ext cx="3048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42" name="Freeform 263">
                      <a:extLst>
                        <a:ext uri="{FF2B5EF4-FFF2-40B4-BE49-F238E27FC236}">
                          <a16:creationId xmlns:a16="http://schemas.microsoft.com/office/drawing/2014/main" id="{B6A5948A-3EC2-4FA6-B693-A348A3D3A9CA}"/>
                        </a:ext>
                      </a:extLst>
                    </p:cNvPr>
                    <p:cNvSpPr/>
                    <p:nvPr/>
                  </p:nvSpPr>
                  <p:spPr>
                    <a:xfrm>
                      <a:off x="3323779" y="3354224"/>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43" name="Freeform 264">
                      <a:extLst>
                        <a:ext uri="{FF2B5EF4-FFF2-40B4-BE49-F238E27FC236}">
                          <a16:creationId xmlns:a16="http://schemas.microsoft.com/office/drawing/2014/main" id="{FBCDC885-A1CD-4BB1-AC10-011C297AF10A}"/>
                        </a:ext>
                      </a:extLst>
                    </p:cNvPr>
                    <p:cNvSpPr/>
                    <p:nvPr/>
                  </p:nvSpPr>
                  <p:spPr>
                    <a:xfrm>
                      <a:off x="3352692" y="3365286"/>
                      <a:ext cx="45720"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44" name="Freeform 265">
                      <a:extLst>
                        <a:ext uri="{FF2B5EF4-FFF2-40B4-BE49-F238E27FC236}">
                          <a16:creationId xmlns:a16="http://schemas.microsoft.com/office/drawing/2014/main" id="{138D6903-8BCC-429F-8D88-C7C47420C1EF}"/>
                        </a:ext>
                      </a:extLst>
                    </p:cNvPr>
                    <p:cNvSpPr/>
                    <p:nvPr/>
                  </p:nvSpPr>
                  <p:spPr>
                    <a:xfrm>
                      <a:off x="3524356" y="3326342"/>
                      <a:ext cx="45720"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45" name="Oval 244">
                      <a:extLst>
                        <a:ext uri="{FF2B5EF4-FFF2-40B4-BE49-F238E27FC236}">
                          <a16:creationId xmlns:a16="http://schemas.microsoft.com/office/drawing/2014/main" id="{23E791E5-7D4F-42B9-9A69-5CBF847C5C9B}"/>
                        </a:ext>
                      </a:extLst>
                    </p:cNvPr>
                    <p:cNvSpPr/>
                    <p:nvPr/>
                  </p:nvSpPr>
                  <p:spPr>
                    <a:xfrm>
                      <a:off x="3524356"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46" name="Freeform 267">
                      <a:extLst>
                        <a:ext uri="{FF2B5EF4-FFF2-40B4-BE49-F238E27FC236}">
                          <a16:creationId xmlns:a16="http://schemas.microsoft.com/office/drawing/2014/main" id="{7EFC3844-E843-4F71-B020-26A024F54D92}"/>
                        </a:ext>
                      </a:extLst>
                    </p:cNvPr>
                    <p:cNvSpPr/>
                    <p:nvPr/>
                  </p:nvSpPr>
                  <p:spPr>
                    <a:xfrm>
                      <a:off x="3586096" y="3365286"/>
                      <a:ext cx="46259"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47" name="Oval 246">
                      <a:extLst>
                        <a:ext uri="{FF2B5EF4-FFF2-40B4-BE49-F238E27FC236}">
                          <a16:creationId xmlns:a16="http://schemas.microsoft.com/office/drawing/2014/main" id="{DBF08E51-9AC5-41A1-952D-C4261AD10DBD}"/>
                        </a:ext>
                      </a:extLst>
                    </p:cNvPr>
                    <p:cNvSpPr/>
                    <p:nvPr/>
                  </p:nvSpPr>
                  <p:spPr>
                    <a:xfrm>
                      <a:off x="3639661"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48" name="Oval 247">
                      <a:extLst>
                        <a:ext uri="{FF2B5EF4-FFF2-40B4-BE49-F238E27FC236}">
                          <a16:creationId xmlns:a16="http://schemas.microsoft.com/office/drawing/2014/main" id="{E4F9623B-1569-443F-A543-5E637B88F305}"/>
                        </a:ext>
                      </a:extLst>
                    </p:cNvPr>
                    <p:cNvSpPr/>
                    <p:nvPr/>
                  </p:nvSpPr>
                  <p:spPr>
                    <a:xfrm>
                      <a:off x="3416355"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49" name="Oval 248">
                      <a:extLst>
                        <a:ext uri="{FF2B5EF4-FFF2-40B4-BE49-F238E27FC236}">
                          <a16:creationId xmlns:a16="http://schemas.microsoft.com/office/drawing/2014/main" id="{8188E22A-F614-4F5A-9A54-DCEC0FF0771F}"/>
                        </a:ext>
                      </a:extLst>
                    </p:cNvPr>
                    <p:cNvSpPr/>
                    <p:nvPr/>
                  </p:nvSpPr>
                  <p:spPr>
                    <a:xfrm>
                      <a:off x="3751804"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50" name="Oval 249">
                      <a:extLst>
                        <a:ext uri="{FF2B5EF4-FFF2-40B4-BE49-F238E27FC236}">
                          <a16:creationId xmlns:a16="http://schemas.microsoft.com/office/drawing/2014/main" id="{BCF2C68B-4D29-465E-BDCB-8390E2383799}"/>
                        </a:ext>
                      </a:extLst>
                    </p:cNvPr>
                    <p:cNvSpPr/>
                    <p:nvPr/>
                  </p:nvSpPr>
                  <p:spPr>
                    <a:xfrm>
                      <a:off x="3867470"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51" name="Oval 250">
                      <a:extLst>
                        <a:ext uri="{FF2B5EF4-FFF2-40B4-BE49-F238E27FC236}">
                          <a16:creationId xmlns:a16="http://schemas.microsoft.com/office/drawing/2014/main" id="{5244C28A-2621-45DD-A74E-C5D565BAA48C}"/>
                        </a:ext>
                      </a:extLst>
                    </p:cNvPr>
                    <p:cNvSpPr/>
                    <p:nvPr/>
                  </p:nvSpPr>
                  <p:spPr>
                    <a:xfrm>
                      <a:off x="3975471"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52" name="Freeform 273">
                      <a:extLst>
                        <a:ext uri="{FF2B5EF4-FFF2-40B4-BE49-F238E27FC236}">
                          <a16:creationId xmlns:a16="http://schemas.microsoft.com/office/drawing/2014/main" id="{0FF777C0-D84B-4EAA-AB83-6A97213522AF}"/>
                        </a:ext>
                      </a:extLst>
                    </p:cNvPr>
                    <p:cNvSpPr/>
                    <p:nvPr/>
                  </p:nvSpPr>
                  <p:spPr>
                    <a:xfrm>
                      <a:off x="3424635" y="3342341"/>
                      <a:ext cx="45720"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53" name="Freeform 274">
                      <a:extLst>
                        <a:ext uri="{FF2B5EF4-FFF2-40B4-BE49-F238E27FC236}">
                          <a16:creationId xmlns:a16="http://schemas.microsoft.com/office/drawing/2014/main" id="{E3153C32-C757-49C6-AD33-69A1FFDF95BA}"/>
                        </a:ext>
                      </a:extLst>
                    </p:cNvPr>
                    <p:cNvSpPr/>
                    <p:nvPr/>
                  </p:nvSpPr>
                  <p:spPr>
                    <a:xfrm>
                      <a:off x="3483091"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54" name="Freeform 275">
                      <a:extLst>
                        <a:ext uri="{FF2B5EF4-FFF2-40B4-BE49-F238E27FC236}">
                          <a16:creationId xmlns:a16="http://schemas.microsoft.com/office/drawing/2014/main" id="{D98B85BC-CD5D-4AB7-AA90-89080E47553E}"/>
                        </a:ext>
                      </a:extLst>
                    </p:cNvPr>
                    <p:cNvSpPr/>
                    <p:nvPr/>
                  </p:nvSpPr>
                  <p:spPr>
                    <a:xfrm>
                      <a:off x="3671802"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55" name="Freeform 276">
                      <a:extLst>
                        <a:ext uri="{FF2B5EF4-FFF2-40B4-BE49-F238E27FC236}">
                          <a16:creationId xmlns:a16="http://schemas.microsoft.com/office/drawing/2014/main" id="{45CC3050-DBAD-466E-BA6F-5E8BF29E259F}"/>
                        </a:ext>
                      </a:extLst>
                    </p:cNvPr>
                    <p:cNvSpPr/>
                    <p:nvPr/>
                  </p:nvSpPr>
                  <p:spPr>
                    <a:xfrm>
                      <a:off x="3701944" y="3360336"/>
                      <a:ext cx="4572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56" name="Freeform 277">
                      <a:extLst>
                        <a:ext uri="{FF2B5EF4-FFF2-40B4-BE49-F238E27FC236}">
                          <a16:creationId xmlns:a16="http://schemas.microsoft.com/office/drawing/2014/main" id="{A2C7C9A6-A462-42C9-9A73-C04CE86A2999}"/>
                        </a:ext>
                      </a:extLst>
                    </p:cNvPr>
                    <p:cNvSpPr/>
                    <p:nvPr/>
                  </p:nvSpPr>
                  <p:spPr>
                    <a:xfrm>
                      <a:off x="3782799" y="3357001"/>
                      <a:ext cx="31772"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57" name="Freeform 278">
                      <a:extLst>
                        <a:ext uri="{FF2B5EF4-FFF2-40B4-BE49-F238E27FC236}">
                          <a16:creationId xmlns:a16="http://schemas.microsoft.com/office/drawing/2014/main" id="{91A98C9E-5303-45EC-9AF2-4F4D14556EDC}"/>
                        </a:ext>
                      </a:extLst>
                    </p:cNvPr>
                    <p:cNvSpPr/>
                    <p:nvPr/>
                  </p:nvSpPr>
                  <p:spPr>
                    <a:xfrm>
                      <a:off x="3816908" y="3357001"/>
                      <a:ext cx="40004" cy="18812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58" name="Freeform 279">
                      <a:extLst>
                        <a:ext uri="{FF2B5EF4-FFF2-40B4-BE49-F238E27FC236}">
                          <a16:creationId xmlns:a16="http://schemas.microsoft.com/office/drawing/2014/main" id="{FF373B9E-DD4A-4D2C-BA8A-4DB8A93CFB3D}"/>
                        </a:ext>
                      </a:extLst>
                    </p:cNvPr>
                    <p:cNvSpPr/>
                    <p:nvPr/>
                  </p:nvSpPr>
                  <p:spPr>
                    <a:xfrm>
                      <a:off x="3900425"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59" name="Freeform 280">
                      <a:extLst>
                        <a:ext uri="{FF2B5EF4-FFF2-40B4-BE49-F238E27FC236}">
                          <a16:creationId xmlns:a16="http://schemas.microsoft.com/office/drawing/2014/main" id="{8AFC7B82-A404-4354-A8BA-30B1A0A279F3}"/>
                        </a:ext>
                      </a:extLst>
                    </p:cNvPr>
                    <p:cNvSpPr/>
                    <p:nvPr/>
                  </p:nvSpPr>
                  <p:spPr>
                    <a:xfrm>
                      <a:off x="3934834" y="3360334"/>
                      <a:ext cx="3048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60" name="Freeform 281">
                      <a:extLst>
                        <a:ext uri="{FF2B5EF4-FFF2-40B4-BE49-F238E27FC236}">
                          <a16:creationId xmlns:a16="http://schemas.microsoft.com/office/drawing/2014/main" id="{93179633-17C0-4D87-8741-2EF340E1F24F}"/>
                        </a:ext>
                      </a:extLst>
                    </p:cNvPr>
                    <p:cNvSpPr/>
                    <p:nvPr/>
                  </p:nvSpPr>
                  <p:spPr>
                    <a:xfrm>
                      <a:off x="4008842" y="3354224"/>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61" name="Freeform 282">
                      <a:extLst>
                        <a:ext uri="{FF2B5EF4-FFF2-40B4-BE49-F238E27FC236}">
                          <a16:creationId xmlns:a16="http://schemas.microsoft.com/office/drawing/2014/main" id="{E9697B59-B3F4-499C-B912-A1C633FE7F83}"/>
                        </a:ext>
                      </a:extLst>
                    </p:cNvPr>
                    <p:cNvSpPr/>
                    <p:nvPr/>
                  </p:nvSpPr>
                  <p:spPr>
                    <a:xfrm>
                      <a:off x="4037755" y="3365286"/>
                      <a:ext cx="45720"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62" name="Freeform 283">
                      <a:extLst>
                        <a:ext uri="{FF2B5EF4-FFF2-40B4-BE49-F238E27FC236}">
                          <a16:creationId xmlns:a16="http://schemas.microsoft.com/office/drawing/2014/main" id="{A91B05DE-F7D5-4D2C-A276-E3F63827D996}"/>
                        </a:ext>
                      </a:extLst>
                    </p:cNvPr>
                    <p:cNvSpPr/>
                    <p:nvPr/>
                  </p:nvSpPr>
                  <p:spPr>
                    <a:xfrm>
                      <a:off x="4194721" y="3326342"/>
                      <a:ext cx="45720"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63" name="Oval 262">
                      <a:extLst>
                        <a:ext uri="{FF2B5EF4-FFF2-40B4-BE49-F238E27FC236}">
                          <a16:creationId xmlns:a16="http://schemas.microsoft.com/office/drawing/2014/main" id="{09845C3C-8013-49B2-B590-E895D9C167AC}"/>
                        </a:ext>
                      </a:extLst>
                    </p:cNvPr>
                    <p:cNvSpPr/>
                    <p:nvPr/>
                  </p:nvSpPr>
                  <p:spPr>
                    <a:xfrm>
                      <a:off x="4194721"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64" name="Freeform 285">
                      <a:extLst>
                        <a:ext uri="{FF2B5EF4-FFF2-40B4-BE49-F238E27FC236}">
                          <a16:creationId xmlns:a16="http://schemas.microsoft.com/office/drawing/2014/main" id="{99B0A27E-3371-4F90-A23C-1402A1B09DCA}"/>
                        </a:ext>
                      </a:extLst>
                    </p:cNvPr>
                    <p:cNvSpPr/>
                    <p:nvPr/>
                  </p:nvSpPr>
                  <p:spPr>
                    <a:xfrm>
                      <a:off x="4256462" y="3365286"/>
                      <a:ext cx="46259"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65" name="Oval 264">
                      <a:extLst>
                        <a:ext uri="{FF2B5EF4-FFF2-40B4-BE49-F238E27FC236}">
                          <a16:creationId xmlns:a16="http://schemas.microsoft.com/office/drawing/2014/main" id="{386F3AAE-4BF4-4D92-8270-12AEB18F9CC3}"/>
                        </a:ext>
                      </a:extLst>
                    </p:cNvPr>
                    <p:cNvSpPr/>
                    <p:nvPr/>
                  </p:nvSpPr>
                  <p:spPr>
                    <a:xfrm>
                      <a:off x="4310028"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66" name="Oval 265">
                      <a:extLst>
                        <a:ext uri="{FF2B5EF4-FFF2-40B4-BE49-F238E27FC236}">
                          <a16:creationId xmlns:a16="http://schemas.microsoft.com/office/drawing/2014/main" id="{1B49D839-1112-4F91-9EB2-80983A421D1F}"/>
                        </a:ext>
                      </a:extLst>
                    </p:cNvPr>
                    <p:cNvSpPr/>
                    <p:nvPr/>
                  </p:nvSpPr>
                  <p:spPr>
                    <a:xfrm>
                      <a:off x="4086720"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67" name="Oval 266">
                      <a:extLst>
                        <a:ext uri="{FF2B5EF4-FFF2-40B4-BE49-F238E27FC236}">
                          <a16:creationId xmlns:a16="http://schemas.microsoft.com/office/drawing/2014/main" id="{6557AF98-019E-4BA4-A4D6-613C853937DC}"/>
                        </a:ext>
                      </a:extLst>
                    </p:cNvPr>
                    <p:cNvSpPr/>
                    <p:nvPr/>
                  </p:nvSpPr>
                  <p:spPr>
                    <a:xfrm>
                      <a:off x="4422171"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68" name="Oval 267">
                      <a:extLst>
                        <a:ext uri="{FF2B5EF4-FFF2-40B4-BE49-F238E27FC236}">
                          <a16:creationId xmlns:a16="http://schemas.microsoft.com/office/drawing/2014/main" id="{BAB9B4DB-B167-42F9-9F7B-F50B8012EAA5}"/>
                        </a:ext>
                      </a:extLst>
                    </p:cNvPr>
                    <p:cNvSpPr/>
                    <p:nvPr/>
                  </p:nvSpPr>
                  <p:spPr>
                    <a:xfrm>
                      <a:off x="4537836"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69" name="Oval 268">
                      <a:extLst>
                        <a:ext uri="{FF2B5EF4-FFF2-40B4-BE49-F238E27FC236}">
                          <a16:creationId xmlns:a16="http://schemas.microsoft.com/office/drawing/2014/main" id="{64B0AFCC-7F82-44D4-B86E-E9503D7005E5}"/>
                        </a:ext>
                      </a:extLst>
                    </p:cNvPr>
                    <p:cNvSpPr/>
                    <p:nvPr/>
                  </p:nvSpPr>
                  <p:spPr>
                    <a:xfrm>
                      <a:off x="4645835"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70" name="Freeform 291">
                      <a:extLst>
                        <a:ext uri="{FF2B5EF4-FFF2-40B4-BE49-F238E27FC236}">
                          <a16:creationId xmlns:a16="http://schemas.microsoft.com/office/drawing/2014/main" id="{DBB67E58-BD46-47B3-AF73-C424ED247592}"/>
                        </a:ext>
                      </a:extLst>
                    </p:cNvPr>
                    <p:cNvSpPr/>
                    <p:nvPr/>
                  </p:nvSpPr>
                  <p:spPr>
                    <a:xfrm>
                      <a:off x="4095002" y="3342341"/>
                      <a:ext cx="45720"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71" name="Freeform 292">
                      <a:extLst>
                        <a:ext uri="{FF2B5EF4-FFF2-40B4-BE49-F238E27FC236}">
                          <a16:creationId xmlns:a16="http://schemas.microsoft.com/office/drawing/2014/main" id="{F9524292-45DF-4445-B64B-56E3FBCBAA05}"/>
                        </a:ext>
                      </a:extLst>
                    </p:cNvPr>
                    <p:cNvSpPr/>
                    <p:nvPr/>
                  </p:nvSpPr>
                  <p:spPr>
                    <a:xfrm>
                      <a:off x="4153455"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72" name="Freeform 293">
                      <a:extLst>
                        <a:ext uri="{FF2B5EF4-FFF2-40B4-BE49-F238E27FC236}">
                          <a16:creationId xmlns:a16="http://schemas.microsoft.com/office/drawing/2014/main" id="{55437DB9-CA7A-431D-B090-7AC46AC50B14}"/>
                        </a:ext>
                      </a:extLst>
                    </p:cNvPr>
                    <p:cNvSpPr/>
                    <p:nvPr/>
                  </p:nvSpPr>
                  <p:spPr>
                    <a:xfrm>
                      <a:off x="4342167"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73" name="Freeform 294">
                      <a:extLst>
                        <a:ext uri="{FF2B5EF4-FFF2-40B4-BE49-F238E27FC236}">
                          <a16:creationId xmlns:a16="http://schemas.microsoft.com/office/drawing/2014/main" id="{C1C3F0C4-7A42-4D20-8473-6468C28606F2}"/>
                        </a:ext>
                      </a:extLst>
                    </p:cNvPr>
                    <p:cNvSpPr/>
                    <p:nvPr/>
                  </p:nvSpPr>
                  <p:spPr>
                    <a:xfrm>
                      <a:off x="4372306" y="3360336"/>
                      <a:ext cx="4572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74" name="Freeform 295">
                      <a:extLst>
                        <a:ext uri="{FF2B5EF4-FFF2-40B4-BE49-F238E27FC236}">
                          <a16:creationId xmlns:a16="http://schemas.microsoft.com/office/drawing/2014/main" id="{8D0D0DB2-ECD6-4780-981D-C9E680881532}"/>
                        </a:ext>
                      </a:extLst>
                    </p:cNvPr>
                    <p:cNvSpPr/>
                    <p:nvPr/>
                  </p:nvSpPr>
                  <p:spPr>
                    <a:xfrm>
                      <a:off x="4453158" y="3357001"/>
                      <a:ext cx="31772"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75" name="Freeform 296">
                      <a:extLst>
                        <a:ext uri="{FF2B5EF4-FFF2-40B4-BE49-F238E27FC236}">
                          <a16:creationId xmlns:a16="http://schemas.microsoft.com/office/drawing/2014/main" id="{FE63ECE1-F20A-4604-8136-43FF1891C5E9}"/>
                        </a:ext>
                      </a:extLst>
                    </p:cNvPr>
                    <p:cNvSpPr/>
                    <p:nvPr/>
                  </p:nvSpPr>
                  <p:spPr>
                    <a:xfrm>
                      <a:off x="4487266" y="3357001"/>
                      <a:ext cx="40005" cy="18812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76" name="Freeform 297">
                      <a:extLst>
                        <a:ext uri="{FF2B5EF4-FFF2-40B4-BE49-F238E27FC236}">
                          <a16:creationId xmlns:a16="http://schemas.microsoft.com/office/drawing/2014/main" id="{A9397AC1-4660-467A-B8E9-4804FD62C286}"/>
                        </a:ext>
                      </a:extLst>
                    </p:cNvPr>
                    <p:cNvSpPr/>
                    <p:nvPr/>
                  </p:nvSpPr>
                  <p:spPr>
                    <a:xfrm>
                      <a:off x="4570783"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77" name="Freeform 298">
                      <a:extLst>
                        <a:ext uri="{FF2B5EF4-FFF2-40B4-BE49-F238E27FC236}">
                          <a16:creationId xmlns:a16="http://schemas.microsoft.com/office/drawing/2014/main" id="{0978CE3B-B801-41A4-B447-592C0D5CF56F}"/>
                        </a:ext>
                      </a:extLst>
                    </p:cNvPr>
                    <p:cNvSpPr/>
                    <p:nvPr/>
                  </p:nvSpPr>
                  <p:spPr>
                    <a:xfrm>
                      <a:off x="4605197" y="3360337"/>
                      <a:ext cx="3048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78" name="Freeform 299">
                      <a:extLst>
                        <a:ext uri="{FF2B5EF4-FFF2-40B4-BE49-F238E27FC236}">
                          <a16:creationId xmlns:a16="http://schemas.microsoft.com/office/drawing/2014/main" id="{9882544E-4712-4282-8A76-45ACEF63AFE2}"/>
                        </a:ext>
                      </a:extLst>
                    </p:cNvPr>
                    <p:cNvSpPr/>
                    <p:nvPr/>
                  </p:nvSpPr>
                  <p:spPr>
                    <a:xfrm>
                      <a:off x="4679200" y="3354227"/>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79" name="Freeform 300">
                      <a:extLst>
                        <a:ext uri="{FF2B5EF4-FFF2-40B4-BE49-F238E27FC236}">
                          <a16:creationId xmlns:a16="http://schemas.microsoft.com/office/drawing/2014/main" id="{25C55FF5-719E-4EC1-B4E7-FA12F4751456}"/>
                        </a:ext>
                      </a:extLst>
                    </p:cNvPr>
                    <p:cNvSpPr/>
                    <p:nvPr/>
                  </p:nvSpPr>
                  <p:spPr>
                    <a:xfrm>
                      <a:off x="4708115" y="3365285"/>
                      <a:ext cx="45720"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80" name="Freeform 301">
                      <a:extLst>
                        <a:ext uri="{FF2B5EF4-FFF2-40B4-BE49-F238E27FC236}">
                          <a16:creationId xmlns:a16="http://schemas.microsoft.com/office/drawing/2014/main" id="{3810B862-94BD-451C-A9A6-CADB4FD5C394}"/>
                        </a:ext>
                      </a:extLst>
                    </p:cNvPr>
                    <p:cNvSpPr/>
                    <p:nvPr/>
                  </p:nvSpPr>
                  <p:spPr>
                    <a:xfrm>
                      <a:off x="4876992" y="3326341"/>
                      <a:ext cx="45720"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81" name="Oval 280">
                      <a:extLst>
                        <a:ext uri="{FF2B5EF4-FFF2-40B4-BE49-F238E27FC236}">
                          <a16:creationId xmlns:a16="http://schemas.microsoft.com/office/drawing/2014/main" id="{1F954405-E01A-401A-8799-F57CD1805659}"/>
                        </a:ext>
                      </a:extLst>
                    </p:cNvPr>
                    <p:cNvSpPr/>
                    <p:nvPr/>
                  </p:nvSpPr>
                  <p:spPr>
                    <a:xfrm>
                      <a:off x="4876992" y="3253278"/>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82" name="Freeform 303">
                      <a:extLst>
                        <a:ext uri="{FF2B5EF4-FFF2-40B4-BE49-F238E27FC236}">
                          <a16:creationId xmlns:a16="http://schemas.microsoft.com/office/drawing/2014/main" id="{E709CB82-6B61-41CE-9A53-3AEADD7034FD}"/>
                        </a:ext>
                      </a:extLst>
                    </p:cNvPr>
                    <p:cNvSpPr/>
                    <p:nvPr/>
                  </p:nvSpPr>
                  <p:spPr>
                    <a:xfrm>
                      <a:off x="4938734" y="3365283"/>
                      <a:ext cx="46259"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83" name="Oval 282">
                      <a:extLst>
                        <a:ext uri="{FF2B5EF4-FFF2-40B4-BE49-F238E27FC236}">
                          <a16:creationId xmlns:a16="http://schemas.microsoft.com/office/drawing/2014/main" id="{1F765917-C082-40D0-8295-6831240039F3}"/>
                        </a:ext>
                      </a:extLst>
                    </p:cNvPr>
                    <p:cNvSpPr/>
                    <p:nvPr/>
                  </p:nvSpPr>
                  <p:spPr>
                    <a:xfrm>
                      <a:off x="4992299" y="3253277"/>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84" name="Oval 283">
                      <a:extLst>
                        <a:ext uri="{FF2B5EF4-FFF2-40B4-BE49-F238E27FC236}">
                          <a16:creationId xmlns:a16="http://schemas.microsoft.com/office/drawing/2014/main" id="{ADCF994E-12AD-4969-B859-84AAB51F52B4}"/>
                        </a:ext>
                      </a:extLst>
                    </p:cNvPr>
                    <p:cNvSpPr/>
                    <p:nvPr/>
                  </p:nvSpPr>
                  <p:spPr>
                    <a:xfrm>
                      <a:off x="4768993" y="3253277"/>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85" name="Oval 284">
                      <a:extLst>
                        <a:ext uri="{FF2B5EF4-FFF2-40B4-BE49-F238E27FC236}">
                          <a16:creationId xmlns:a16="http://schemas.microsoft.com/office/drawing/2014/main" id="{FE5F10AB-46D2-4988-B6BE-723779961950}"/>
                        </a:ext>
                      </a:extLst>
                    </p:cNvPr>
                    <p:cNvSpPr/>
                    <p:nvPr/>
                  </p:nvSpPr>
                  <p:spPr>
                    <a:xfrm>
                      <a:off x="5104443" y="3253277"/>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86" name="Oval 285">
                      <a:extLst>
                        <a:ext uri="{FF2B5EF4-FFF2-40B4-BE49-F238E27FC236}">
                          <a16:creationId xmlns:a16="http://schemas.microsoft.com/office/drawing/2014/main" id="{11055326-2BE0-4E35-9B67-18EEBE56701F}"/>
                        </a:ext>
                      </a:extLst>
                    </p:cNvPr>
                    <p:cNvSpPr/>
                    <p:nvPr/>
                  </p:nvSpPr>
                  <p:spPr>
                    <a:xfrm>
                      <a:off x="5220108" y="3253277"/>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87" name="Oval 286">
                      <a:extLst>
                        <a:ext uri="{FF2B5EF4-FFF2-40B4-BE49-F238E27FC236}">
                          <a16:creationId xmlns:a16="http://schemas.microsoft.com/office/drawing/2014/main" id="{3E3FEF8E-EE00-42E0-BF38-643925238463}"/>
                        </a:ext>
                      </a:extLst>
                    </p:cNvPr>
                    <p:cNvSpPr/>
                    <p:nvPr/>
                  </p:nvSpPr>
                  <p:spPr>
                    <a:xfrm>
                      <a:off x="5328105" y="3253268"/>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88" name="Freeform 309">
                      <a:extLst>
                        <a:ext uri="{FF2B5EF4-FFF2-40B4-BE49-F238E27FC236}">
                          <a16:creationId xmlns:a16="http://schemas.microsoft.com/office/drawing/2014/main" id="{DCA4350D-06A6-48E3-AED3-C4B64A1F95FB}"/>
                        </a:ext>
                      </a:extLst>
                    </p:cNvPr>
                    <p:cNvSpPr/>
                    <p:nvPr/>
                  </p:nvSpPr>
                  <p:spPr>
                    <a:xfrm>
                      <a:off x="4777272" y="3342314"/>
                      <a:ext cx="45720" cy="19999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89" name="Freeform 310">
                      <a:extLst>
                        <a:ext uri="{FF2B5EF4-FFF2-40B4-BE49-F238E27FC236}">
                          <a16:creationId xmlns:a16="http://schemas.microsoft.com/office/drawing/2014/main" id="{3B6900A2-AC44-4D60-98DF-2A84A28BDE4D}"/>
                        </a:ext>
                      </a:extLst>
                    </p:cNvPr>
                    <p:cNvSpPr/>
                    <p:nvPr/>
                  </p:nvSpPr>
                  <p:spPr>
                    <a:xfrm>
                      <a:off x="4835725" y="3356974"/>
                      <a:ext cx="20633" cy="188118"/>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90" name="Freeform 311">
                      <a:extLst>
                        <a:ext uri="{FF2B5EF4-FFF2-40B4-BE49-F238E27FC236}">
                          <a16:creationId xmlns:a16="http://schemas.microsoft.com/office/drawing/2014/main" id="{6F14CB43-35B3-4922-A01A-CA8C98549CC4}"/>
                        </a:ext>
                      </a:extLst>
                    </p:cNvPr>
                    <p:cNvSpPr/>
                    <p:nvPr/>
                  </p:nvSpPr>
                  <p:spPr>
                    <a:xfrm>
                      <a:off x="5024435" y="3356974"/>
                      <a:ext cx="20633" cy="188118"/>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91" name="Freeform 312">
                      <a:extLst>
                        <a:ext uri="{FF2B5EF4-FFF2-40B4-BE49-F238E27FC236}">
                          <a16:creationId xmlns:a16="http://schemas.microsoft.com/office/drawing/2014/main" id="{3A37B05F-E693-464A-8734-466E66F7EF6C}"/>
                        </a:ext>
                      </a:extLst>
                    </p:cNvPr>
                    <p:cNvSpPr/>
                    <p:nvPr/>
                  </p:nvSpPr>
                  <p:spPr>
                    <a:xfrm>
                      <a:off x="5054568" y="3360309"/>
                      <a:ext cx="4572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92" name="Freeform 313">
                      <a:extLst>
                        <a:ext uri="{FF2B5EF4-FFF2-40B4-BE49-F238E27FC236}">
                          <a16:creationId xmlns:a16="http://schemas.microsoft.com/office/drawing/2014/main" id="{6606D97F-4DC4-4288-B14C-E84CF4E5A4A1}"/>
                        </a:ext>
                      </a:extLst>
                    </p:cNvPr>
                    <p:cNvSpPr/>
                    <p:nvPr/>
                  </p:nvSpPr>
                  <p:spPr>
                    <a:xfrm>
                      <a:off x="5135428" y="3356974"/>
                      <a:ext cx="31772" cy="179833"/>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93" name="Freeform 314">
                      <a:extLst>
                        <a:ext uri="{FF2B5EF4-FFF2-40B4-BE49-F238E27FC236}">
                          <a16:creationId xmlns:a16="http://schemas.microsoft.com/office/drawing/2014/main" id="{3AB78815-DB64-4893-8B7A-6884B7D9656D}"/>
                        </a:ext>
                      </a:extLst>
                    </p:cNvPr>
                    <p:cNvSpPr/>
                    <p:nvPr/>
                  </p:nvSpPr>
                  <p:spPr>
                    <a:xfrm>
                      <a:off x="5169537" y="3356974"/>
                      <a:ext cx="40005" cy="188118"/>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94" name="Freeform 315">
                      <a:extLst>
                        <a:ext uri="{FF2B5EF4-FFF2-40B4-BE49-F238E27FC236}">
                          <a16:creationId xmlns:a16="http://schemas.microsoft.com/office/drawing/2014/main" id="{E96FDD35-EC64-4A0B-8B70-BA6D4AAFB628}"/>
                        </a:ext>
                      </a:extLst>
                    </p:cNvPr>
                    <p:cNvSpPr/>
                    <p:nvPr/>
                  </p:nvSpPr>
                  <p:spPr>
                    <a:xfrm>
                      <a:off x="5253060" y="3356974"/>
                      <a:ext cx="20633" cy="188118"/>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95" name="Freeform 316">
                      <a:extLst>
                        <a:ext uri="{FF2B5EF4-FFF2-40B4-BE49-F238E27FC236}">
                          <a16:creationId xmlns:a16="http://schemas.microsoft.com/office/drawing/2014/main" id="{A71FB04B-2740-4BE2-B49F-F6C715D09F37}"/>
                        </a:ext>
                      </a:extLst>
                    </p:cNvPr>
                    <p:cNvSpPr/>
                    <p:nvPr/>
                  </p:nvSpPr>
                  <p:spPr>
                    <a:xfrm>
                      <a:off x="5287452" y="3360308"/>
                      <a:ext cx="3048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96" name="Freeform 317">
                      <a:extLst>
                        <a:ext uri="{FF2B5EF4-FFF2-40B4-BE49-F238E27FC236}">
                          <a16:creationId xmlns:a16="http://schemas.microsoft.com/office/drawing/2014/main" id="{47DC791D-3D15-4EFC-B1BA-435C5B357126}"/>
                        </a:ext>
                      </a:extLst>
                    </p:cNvPr>
                    <p:cNvSpPr/>
                    <p:nvPr/>
                  </p:nvSpPr>
                  <p:spPr>
                    <a:xfrm>
                      <a:off x="5361471" y="3354206"/>
                      <a:ext cx="20633" cy="188118"/>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97" name="Freeform 318">
                      <a:extLst>
                        <a:ext uri="{FF2B5EF4-FFF2-40B4-BE49-F238E27FC236}">
                          <a16:creationId xmlns:a16="http://schemas.microsoft.com/office/drawing/2014/main" id="{8B08A462-EF85-4B74-9425-E4838B664105}"/>
                        </a:ext>
                      </a:extLst>
                    </p:cNvPr>
                    <p:cNvSpPr/>
                    <p:nvPr/>
                  </p:nvSpPr>
                  <p:spPr>
                    <a:xfrm>
                      <a:off x="5390301" y="3365265"/>
                      <a:ext cx="45720"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grpSp>
              <p:grpSp>
                <p:nvGrpSpPr>
                  <p:cNvPr id="153" name="Group 152">
                    <a:extLst>
                      <a:ext uri="{FF2B5EF4-FFF2-40B4-BE49-F238E27FC236}">
                        <a16:creationId xmlns:a16="http://schemas.microsoft.com/office/drawing/2014/main" id="{4C5B36FA-4F4C-4C03-80E3-0A739C0C89E8}"/>
                      </a:ext>
                    </a:extLst>
                  </p:cNvPr>
                  <p:cNvGrpSpPr/>
                  <p:nvPr/>
                </p:nvGrpSpPr>
                <p:grpSpPr>
                  <a:xfrm flipV="1">
                    <a:off x="1951310" y="1919223"/>
                    <a:ext cx="1761002" cy="200507"/>
                    <a:chOff x="2846596" y="3861048"/>
                    <a:chExt cx="2704806" cy="291842"/>
                  </a:xfrm>
                  <a:solidFill>
                    <a:schemeClr val="bg1"/>
                  </a:solidFill>
                </p:grpSpPr>
                <p:sp>
                  <p:nvSpPr>
                    <p:cNvPr id="154" name="Freeform 175">
                      <a:extLst>
                        <a:ext uri="{FF2B5EF4-FFF2-40B4-BE49-F238E27FC236}">
                          <a16:creationId xmlns:a16="http://schemas.microsoft.com/office/drawing/2014/main" id="{89153ACF-F56C-4679-8029-2A0F33023313}"/>
                        </a:ext>
                      </a:extLst>
                    </p:cNvPr>
                    <p:cNvSpPr/>
                    <p:nvPr/>
                  </p:nvSpPr>
                  <p:spPr>
                    <a:xfrm>
                      <a:off x="2954596" y="3934111"/>
                      <a:ext cx="45719"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5" name="Oval 154">
                      <a:extLst>
                        <a:ext uri="{FF2B5EF4-FFF2-40B4-BE49-F238E27FC236}">
                          <a16:creationId xmlns:a16="http://schemas.microsoft.com/office/drawing/2014/main" id="{FC6812F0-15AF-4EAE-B805-C8CB95CE2F0C}"/>
                        </a:ext>
                      </a:extLst>
                    </p:cNvPr>
                    <p:cNvSpPr/>
                    <p:nvPr/>
                  </p:nvSpPr>
                  <p:spPr>
                    <a:xfrm>
                      <a:off x="2954596"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6" name="Freeform 177">
                      <a:extLst>
                        <a:ext uri="{FF2B5EF4-FFF2-40B4-BE49-F238E27FC236}">
                          <a16:creationId xmlns:a16="http://schemas.microsoft.com/office/drawing/2014/main" id="{C8AD1ECE-2715-4093-B28D-4EED46495E38}"/>
                        </a:ext>
                      </a:extLst>
                    </p:cNvPr>
                    <p:cNvSpPr/>
                    <p:nvPr/>
                  </p:nvSpPr>
                  <p:spPr>
                    <a:xfrm>
                      <a:off x="3016337" y="3973054"/>
                      <a:ext cx="46259"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7" name="Oval 156">
                      <a:extLst>
                        <a:ext uri="{FF2B5EF4-FFF2-40B4-BE49-F238E27FC236}">
                          <a16:creationId xmlns:a16="http://schemas.microsoft.com/office/drawing/2014/main" id="{15159115-BE5B-47BD-A030-D168E1704772}"/>
                        </a:ext>
                      </a:extLst>
                    </p:cNvPr>
                    <p:cNvSpPr/>
                    <p:nvPr/>
                  </p:nvSpPr>
                  <p:spPr>
                    <a:xfrm>
                      <a:off x="3069902"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8" name="Oval 157">
                      <a:extLst>
                        <a:ext uri="{FF2B5EF4-FFF2-40B4-BE49-F238E27FC236}">
                          <a16:creationId xmlns:a16="http://schemas.microsoft.com/office/drawing/2014/main" id="{B2BF0BC2-97FF-468F-9C99-E3E8D140AD6C}"/>
                        </a:ext>
                      </a:extLst>
                    </p:cNvPr>
                    <p:cNvSpPr/>
                    <p:nvPr/>
                  </p:nvSpPr>
                  <p:spPr>
                    <a:xfrm>
                      <a:off x="2846596"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9" name="Oval 158">
                      <a:extLst>
                        <a:ext uri="{FF2B5EF4-FFF2-40B4-BE49-F238E27FC236}">
                          <a16:creationId xmlns:a16="http://schemas.microsoft.com/office/drawing/2014/main" id="{2BCA0CA2-7344-4DF3-9670-7271D1888084}"/>
                        </a:ext>
                      </a:extLst>
                    </p:cNvPr>
                    <p:cNvSpPr/>
                    <p:nvPr/>
                  </p:nvSpPr>
                  <p:spPr>
                    <a:xfrm>
                      <a:off x="3182045"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0" name="Oval 159">
                      <a:extLst>
                        <a:ext uri="{FF2B5EF4-FFF2-40B4-BE49-F238E27FC236}">
                          <a16:creationId xmlns:a16="http://schemas.microsoft.com/office/drawing/2014/main" id="{83323D56-FE49-44C4-A2CD-19DBBF546CC2}"/>
                        </a:ext>
                      </a:extLst>
                    </p:cNvPr>
                    <p:cNvSpPr/>
                    <p:nvPr/>
                  </p:nvSpPr>
                  <p:spPr>
                    <a:xfrm>
                      <a:off x="3297710"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1" name="Oval 160">
                      <a:extLst>
                        <a:ext uri="{FF2B5EF4-FFF2-40B4-BE49-F238E27FC236}">
                          <a16:creationId xmlns:a16="http://schemas.microsoft.com/office/drawing/2014/main" id="{991ECBF1-01BB-4517-B6AF-B103610B814C}"/>
                        </a:ext>
                      </a:extLst>
                    </p:cNvPr>
                    <p:cNvSpPr/>
                    <p:nvPr/>
                  </p:nvSpPr>
                  <p:spPr>
                    <a:xfrm>
                      <a:off x="3405710"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2" name="Freeform 183">
                      <a:extLst>
                        <a:ext uri="{FF2B5EF4-FFF2-40B4-BE49-F238E27FC236}">
                          <a16:creationId xmlns:a16="http://schemas.microsoft.com/office/drawing/2014/main" id="{3E325D25-2AF9-4ADC-ABF8-F04C136A6BE4}"/>
                        </a:ext>
                      </a:extLst>
                    </p:cNvPr>
                    <p:cNvSpPr/>
                    <p:nvPr/>
                  </p:nvSpPr>
                  <p:spPr>
                    <a:xfrm>
                      <a:off x="2854877" y="3950109"/>
                      <a:ext cx="45719"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3" name="Freeform 184">
                      <a:extLst>
                        <a:ext uri="{FF2B5EF4-FFF2-40B4-BE49-F238E27FC236}">
                          <a16:creationId xmlns:a16="http://schemas.microsoft.com/office/drawing/2014/main" id="{2CF86DC3-FCA5-4B70-9D78-E8F648E5212B}"/>
                        </a:ext>
                      </a:extLst>
                    </p:cNvPr>
                    <p:cNvSpPr/>
                    <p:nvPr/>
                  </p:nvSpPr>
                  <p:spPr>
                    <a:xfrm>
                      <a:off x="2913332"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4" name="Freeform 185">
                      <a:extLst>
                        <a:ext uri="{FF2B5EF4-FFF2-40B4-BE49-F238E27FC236}">
                          <a16:creationId xmlns:a16="http://schemas.microsoft.com/office/drawing/2014/main" id="{E915BB4D-D5F5-422D-8318-D14D58277C93}"/>
                        </a:ext>
                      </a:extLst>
                    </p:cNvPr>
                    <p:cNvSpPr/>
                    <p:nvPr/>
                  </p:nvSpPr>
                  <p:spPr>
                    <a:xfrm>
                      <a:off x="3102044"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5" name="Freeform 186">
                      <a:extLst>
                        <a:ext uri="{FF2B5EF4-FFF2-40B4-BE49-F238E27FC236}">
                          <a16:creationId xmlns:a16="http://schemas.microsoft.com/office/drawing/2014/main" id="{D23DA7B7-910B-4311-9696-3BE7DA1FE19B}"/>
                        </a:ext>
                      </a:extLst>
                    </p:cNvPr>
                    <p:cNvSpPr/>
                    <p:nvPr/>
                  </p:nvSpPr>
                  <p:spPr>
                    <a:xfrm>
                      <a:off x="3132183" y="3968104"/>
                      <a:ext cx="45719"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6" name="Freeform 187">
                      <a:extLst>
                        <a:ext uri="{FF2B5EF4-FFF2-40B4-BE49-F238E27FC236}">
                          <a16:creationId xmlns:a16="http://schemas.microsoft.com/office/drawing/2014/main" id="{19F60958-3791-4E04-B306-98E0C36230BD}"/>
                        </a:ext>
                      </a:extLst>
                    </p:cNvPr>
                    <p:cNvSpPr/>
                    <p:nvPr/>
                  </p:nvSpPr>
                  <p:spPr>
                    <a:xfrm>
                      <a:off x="3213037" y="3964769"/>
                      <a:ext cx="31771"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7" name="Freeform 188">
                      <a:extLst>
                        <a:ext uri="{FF2B5EF4-FFF2-40B4-BE49-F238E27FC236}">
                          <a16:creationId xmlns:a16="http://schemas.microsoft.com/office/drawing/2014/main" id="{7804BE25-2BBC-42F7-BEFA-BF90AFD86077}"/>
                        </a:ext>
                      </a:extLst>
                    </p:cNvPr>
                    <p:cNvSpPr/>
                    <p:nvPr/>
                  </p:nvSpPr>
                  <p:spPr>
                    <a:xfrm>
                      <a:off x="3247146" y="3964769"/>
                      <a:ext cx="40005" cy="188119"/>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8" name="Freeform 189">
                      <a:extLst>
                        <a:ext uri="{FF2B5EF4-FFF2-40B4-BE49-F238E27FC236}">
                          <a16:creationId xmlns:a16="http://schemas.microsoft.com/office/drawing/2014/main" id="{872CFEDB-ED21-45F1-B3D8-F5C0E496B6C4}"/>
                        </a:ext>
                      </a:extLst>
                    </p:cNvPr>
                    <p:cNvSpPr/>
                    <p:nvPr/>
                  </p:nvSpPr>
                  <p:spPr>
                    <a:xfrm>
                      <a:off x="3330663"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9" name="Freeform 190">
                      <a:extLst>
                        <a:ext uri="{FF2B5EF4-FFF2-40B4-BE49-F238E27FC236}">
                          <a16:creationId xmlns:a16="http://schemas.microsoft.com/office/drawing/2014/main" id="{D72B48C9-AA24-413B-BFA6-9FCCF7D5C88B}"/>
                        </a:ext>
                      </a:extLst>
                    </p:cNvPr>
                    <p:cNvSpPr/>
                    <p:nvPr/>
                  </p:nvSpPr>
                  <p:spPr>
                    <a:xfrm>
                      <a:off x="3365072" y="3968103"/>
                      <a:ext cx="3048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0" name="Freeform 191">
                      <a:extLst>
                        <a:ext uri="{FF2B5EF4-FFF2-40B4-BE49-F238E27FC236}">
                          <a16:creationId xmlns:a16="http://schemas.microsoft.com/office/drawing/2014/main" id="{314152A5-0C8C-471A-A7B9-CEC029952C0F}"/>
                        </a:ext>
                      </a:extLst>
                    </p:cNvPr>
                    <p:cNvSpPr/>
                    <p:nvPr/>
                  </p:nvSpPr>
                  <p:spPr>
                    <a:xfrm>
                      <a:off x="3439078" y="3961992"/>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1" name="Freeform 192">
                      <a:extLst>
                        <a:ext uri="{FF2B5EF4-FFF2-40B4-BE49-F238E27FC236}">
                          <a16:creationId xmlns:a16="http://schemas.microsoft.com/office/drawing/2014/main" id="{20F10F3A-AA3B-4EAD-A377-4475C148098E}"/>
                        </a:ext>
                      </a:extLst>
                    </p:cNvPr>
                    <p:cNvSpPr/>
                    <p:nvPr/>
                  </p:nvSpPr>
                  <p:spPr>
                    <a:xfrm>
                      <a:off x="3467991" y="3973054"/>
                      <a:ext cx="45719"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2" name="Freeform 193">
                      <a:extLst>
                        <a:ext uri="{FF2B5EF4-FFF2-40B4-BE49-F238E27FC236}">
                          <a16:creationId xmlns:a16="http://schemas.microsoft.com/office/drawing/2014/main" id="{CF75D092-60F5-4A62-B622-D52A44AC7127}"/>
                        </a:ext>
                      </a:extLst>
                    </p:cNvPr>
                    <p:cNvSpPr/>
                    <p:nvPr/>
                  </p:nvSpPr>
                  <p:spPr>
                    <a:xfrm>
                      <a:off x="3639653" y="3934111"/>
                      <a:ext cx="45719"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3" name="Oval 172">
                      <a:extLst>
                        <a:ext uri="{FF2B5EF4-FFF2-40B4-BE49-F238E27FC236}">
                          <a16:creationId xmlns:a16="http://schemas.microsoft.com/office/drawing/2014/main" id="{8E3027C2-C849-4BC9-87D5-B17A9D1A4C63}"/>
                        </a:ext>
                      </a:extLst>
                    </p:cNvPr>
                    <p:cNvSpPr/>
                    <p:nvPr/>
                  </p:nvSpPr>
                  <p:spPr>
                    <a:xfrm>
                      <a:off x="3639653"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4" name="Freeform 195">
                      <a:extLst>
                        <a:ext uri="{FF2B5EF4-FFF2-40B4-BE49-F238E27FC236}">
                          <a16:creationId xmlns:a16="http://schemas.microsoft.com/office/drawing/2014/main" id="{B9F42FEB-0735-4DBB-906C-0760C31E28F2}"/>
                        </a:ext>
                      </a:extLst>
                    </p:cNvPr>
                    <p:cNvSpPr/>
                    <p:nvPr/>
                  </p:nvSpPr>
                  <p:spPr>
                    <a:xfrm>
                      <a:off x="3701394" y="3973054"/>
                      <a:ext cx="46259"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5" name="Oval 174">
                      <a:extLst>
                        <a:ext uri="{FF2B5EF4-FFF2-40B4-BE49-F238E27FC236}">
                          <a16:creationId xmlns:a16="http://schemas.microsoft.com/office/drawing/2014/main" id="{038C8FDC-077B-47E1-8F0C-C03F770E4623}"/>
                        </a:ext>
                      </a:extLst>
                    </p:cNvPr>
                    <p:cNvSpPr/>
                    <p:nvPr/>
                  </p:nvSpPr>
                  <p:spPr>
                    <a:xfrm>
                      <a:off x="3754959"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6" name="Oval 175">
                      <a:extLst>
                        <a:ext uri="{FF2B5EF4-FFF2-40B4-BE49-F238E27FC236}">
                          <a16:creationId xmlns:a16="http://schemas.microsoft.com/office/drawing/2014/main" id="{E5C45E84-E3F9-479D-B5E9-3377A578FA64}"/>
                        </a:ext>
                      </a:extLst>
                    </p:cNvPr>
                    <p:cNvSpPr/>
                    <p:nvPr/>
                  </p:nvSpPr>
                  <p:spPr>
                    <a:xfrm>
                      <a:off x="3531653"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7" name="Oval 176">
                      <a:extLst>
                        <a:ext uri="{FF2B5EF4-FFF2-40B4-BE49-F238E27FC236}">
                          <a16:creationId xmlns:a16="http://schemas.microsoft.com/office/drawing/2014/main" id="{C9DEE7B3-CF1E-4C80-B2EB-7E2551BFC0DE}"/>
                        </a:ext>
                      </a:extLst>
                    </p:cNvPr>
                    <p:cNvSpPr/>
                    <p:nvPr/>
                  </p:nvSpPr>
                  <p:spPr>
                    <a:xfrm>
                      <a:off x="3867102"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8" name="Oval 177">
                      <a:extLst>
                        <a:ext uri="{FF2B5EF4-FFF2-40B4-BE49-F238E27FC236}">
                          <a16:creationId xmlns:a16="http://schemas.microsoft.com/office/drawing/2014/main" id="{944235C6-320F-4E24-BD45-03DF50EA5DE7}"/>
                        </a:ext>
                      </a:extLst>
                    </p:cNvPr>
                    <p:cNvSpPr/>
                    <p:nvPr/>
                  </p:nvSpPr>
                  <p:spPr>
                    <a:xfrm>
                      <a:off x="3982767"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9" name="Oval 178">
                      <a:extLst>
                        <a:ext uri="{FF2B5EF4-FFF2-40B4-BE49-F238E27FC236}">
                          <a16:creationId xmlns:a16="http://schemas.microsoft.com/office/drawing/2014/main" id="{63D13EC1-EBD5-4641-B9FD-2763DCA5C144}"/>
                        </a:ext>
                      </a:extLst>
                    </p:cNvPr>
                    <p:cNvSpPr/>
                    <p:nvPr/>
                  </p:nvSpPr>
                  <p:spPr>
                    <a:xfrm>
                      <a:off x="4090767"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0" name="Freeform 201">
                      <a:extLst>
                        <a:ext uri="{FF2B5EF4-FFF2-40B4-BE49-F238E27FC236}">
                          <a16:creationId xmlns:a16="http://schemas.microsoft.com/office/drawing/2014/main" id="{409A4973-951D-4021-8C09-C394C768A83E}"/>
                        </a:ext>
                      </a:extLst>
                    </p:cNvPr>
                    <p:cNvSpPr/>
                    <p:nvPr/>
                  </p:nvSpPr>
                  <p:spPr>
                    <a:xfrm>
                      <a:off x="3539934" y="3950109"/>
                      <a:ext cx="45719"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1" name="Freeform 202">
                      <a:extLst>
                        <a:ext uri="{FF2B5EF4-FFF2-40B4-BE49-F238E27FC236}">
                          <a16:creationId xmlns:a16="http://schemas.microsoft.com/office/drawing/2014/main" id="{678B9BE1-1F51-4633-A2D0-2B297BD0F2C2}"/>
                        </a:ext>
                      </a:extLst>
                    </p:cNvPr>
                    <p:cNvSpPr/>
                    <p:nvPr/>
                  </p:nvSpPr>
                  <p:spPr>
                    <a:xfrm>
                      <a:off x="3598389"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2" name="Freeform 203">
                      <a:extLst>
                        <a:ext uri="{FF2B5EF4-FFF2-40B4-BE49-F238E27FC236}">
                          <a16:creationId xmlns:a16="http://schemas.microsoft.com/office/drawing/2014/main" id="{DB6ED95F-4633-45D9-810E-930E38BB2E5D}"/>
                        </a:ext>
                      </a:extLst>
                    </p:cNvPr>
                    <p:cNvSpPr/>
                    <p:nvPr/>
                  </p:nvSpPr>
                  <p:spPr>
                    <a:xfrm>
                      <a:off x="3787101"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3" name="Freeform 204">
                      <a:extLst>
                        <a:ext uri="{FF2B5EF4-FFF2-40B4-BE49-F238E27FC236}">
                          <a16:creationId xmlns:a16="http://schemas.microsoft.com/office/drawing/2014/main" id="{9052B7E0-165E-4EDE-8F5D-A72A2D78B902}"/>
                        </a:ext>
                      </a:extLst>
                    </p:cNvPr>
                    <p:cNvSpPr/>
                    <p:nvPr/>
                  </p:nvSpPr>
                  <p:spPr>
                    <a:xfrm>
                      <a:off x="3817240" y="3968104"/>
                      <a:ext cx="45719"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4" name="Freeform 205">
                      <a:extLst>
                        <a:ext uri="{FF2B5EF4-FFF2-40B4-BE49-F238E27FC236}">
                          <a16:creationId xmlns:a16="http://schemas.microsoft.com/office/drawing/2014/main" id="{6D4645C3-F2B0-4679-B83A-8DB9CF58A0CE}"/>
                        </a:ext>
                      </a:extLst>
                    </p:cNvPr>
                    <p:cNvSpPr/>
                    <p:nvPr/>
                  </p:nvSpPr>
                  <p:spPr>
                    <a:xfrm>
                      <a:off x="3898094" y="3964769"/>
                      <a:ext cx="31771"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5" name="Freeform 206">
                      <a:extLst>
                        <a:ext uri="{FF2B5EF4-FFF2-40B4-BE49-F238E27FC236}">
                          <a16:creationId xmlns:a16="http://schemas.microsoft.com/office/drawing/2014/main" id="{1C1BA463-A186-49C0-B4FA-EDCF18ACC3F6}"/>
                        </a:ext>
                      </a:extLst>
                    </p:cNvPr>
                    <p:cNvSpPr/>
                    <p:nvPr/>
                  </p:nvSpPr>
                  <p:spPr>
                    <a:xfrm>
                      <a:off x="3932203" y="3964769"/>
                      <a:ext cx="40005" cy="188119"/>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6" name="Freeform 207">
                      <a:extLst>
                        <a:ext uri="{FF2B5EF4-FFF2-40B4-BE49-F238E27FC236}">
                          <a16:creationId xmlns:a16="http://schemas.microsoft.com/office/drawing/2014/main" id="{0D248662-F4B6-4342-80C6-4921EAD618B2}"/>
                        </a:ext>
                      </a:extLst>
                    </p:cNvPr>
                    <p:cNvSpPr/>
                    <p:nvPr/>
                  </p:nvSpPr>
                  <p:spPr>
                    <a:xfrm>
                      <a:off x="4015720"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7" name="Freeform 208">
                      <a:extLst>
                        <a:ext uri="{FF2B5EF4-FFF2-40B4-BE49-F238E27FC236}">
                          <a16:creationId xmlns:a16="http://schemas.microsoft.com/office/drawing/2014/main" id="{67004270-76ED-424C-A1A4-9B55D22C9AD3}"/>
                        </a:ext>
                      </a:extLst>
                    </p:cNvPr>
                    <p:cNvSpPr/>
                    <p:nvPr/>
                  </p:nvSpPr>
                  <p:spPr>
                    <a:xfrm>
                      <a:off x="4050129" y="3968103"/>
                      <a:ext cx="3048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8" name="Freeform 209">
                      <a:extLst>
                        <a:ext uri="{FF2B5EF4-FFF2-40B4-BE49-F238E27FC236}">
                          <a16:creationId xmlns:a16="http://schemas.microsoft.com/office/drawing/2014/main" id="{B505B9E4-E95C-4863-9E80-18366C9016B6}"/>
                        </a:ext>
                      </a:extLst>
                    </p:cNvPr>
                    <p:cNvSpPr/>
                    <p:nvPr/>
                  </p:nvSpPr>
                  <p:spPr>
                    <a:xfrm>
                      <a:off x="4124135" y="3961992"/>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9" name="Freeform 210">
                      <a:extLst>
                        <a:ext uri="{FF2B5EF4-FFF2-40B4-BE49-F238E27FC236}">
                          <a16:creationId xmlns:a16="http://schemas.microsoft.com/office/drawing/2014/main" id="{4C4CB75D-C674-4CB6-99E0-443F469B7E94}"/>
                        </a:ext>
                      </a:extLst>
                    </p:cNvPr>
                    <p:cNvSpPr/>
                    <p:nvPr/>
                  </p:nvSpPr>
                  <p:spPr>
                    <a:xfrm>
                      <a:off x="4153048" y="3973054"/>
                      <a:ext cx="45719"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0" name="Freeform 211">
                      <a:extLst>
                        <a:ext uri="{FF2B5EF4-FFF2-40B4-BE49-F238E27FC236}">
                          <a16:creationId xmlns:a16="http://schemas.microsoft.com/office/drawing/2014/main" id="{F5BCFD0B-FF68-4897-854C-D6A7D2551D6D}"/>
                        </a:ext>
                      </a:extLst>
                    </p:cNvPr>
                    <p:cNvSpPr/>
                    <p:nvPr/>
                  </p:nvSpPr>
                  <p:spPr>
                    <a:xfrm>
                      <a:off x="4310014" y="3934111"/>
                      <a:ext cx="45719"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1" name="Oval 190">
                      <a:extLst>
                        <a:ext uri="{FF2B5EF4-FFF2-40B4-BE49-F238E27FC236}">
                          <a16:creationId xmlns:a16="http://schemas.microsoft.com/office/drawing/2014/main" id="{585FBFA7-636E-4DA3-8985-A805DB5EC4D8}"/>
                        </a:ext>
                      </a:extLst>
                    </p:cNvPr>
                    <p:cNvSpPr/>
                    <p:nvPr/>
                  </p:nvSpPr>
                  <p:spPr>
                    <a:xfrm>
                      <a:off x="4310014"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2" name="Freeform 213">
                      <a:extLst>
                        <a:ext uri="{FF2B5EF4-FFF2-40B4-BE49-F238E27FC236}">
                          <a16:creationId xmlns:a16="http://schemas.microsoft.com/office/drawing/2014/main" id="{4927DA9F-2FEF-49C2-9D1F-B8F0E5D131F8}"/>
                        </a:ext>
                      </a:extLst>
                    </p:cNvPr>
                    <p:cNvSpPr/>
                    <p:nvPr/>
                  </p:nvSpPr>
                  <p:spPr>
                    <a:xfrm>
                      <a:off x="4371755" y="3973054"/>
                      <a:ext cx="46259"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3" name="Oval 192">
                      <a:extLst>
                        <a:ext uri="{FF2B5EF4-FFF2-40B4-BE49-F238E27FC236}">
                          <a16:creationId xmlns:a16="http://schemas.microsoft.com/office/drawing/2014/main" id="{E9D6B62F-FD54-4DD8-B00B-6FF8416977B1}"/>
                        </a:ext>
                      </a:extLst>
                    </p:cNvPr>
                    <p:cNvSpPr/>
                    <p:nvPr/>
                  </p:nvSpPr>
                  <p:spPr>
                    <a:xfrm>
                      <a:off x="4425320"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4" name="Oval 193">
                      <a:extLst>
                        <a:ext uri="{FF2B5EF4-FFF2-40B4-BE49-F238E27FC236}">
                          <a16:creationId xmlns:a16="http://schemas.microsoft.com/office/drawing/2014/main" id="{70CDA7F8-22E7-4853-985F-F0A8794EC3D4}"/>
                        </a:ext>
                      </a:extLst>
                    </p:cNvPr>
                    <p:cNvSpPr/>
                    <p:nvPr/>
                  </p:nvSpPr>
                  <p:spPr>
                    <a:xfrm>
                      <a:off x="4202014"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5" name="Oval 194">
                      <a:extLst>
                        <a:ext uri="{FF2B5EF4-FFF2-40B4-BE49-F238E27FC236}">
                          <a16:creationId xmlns:a16="http://schemas.microsoft.com/office/drawing/2014/main" id="{BAAE44F5-EABE-4005-8BD7-24E211D494E1}"/>
                        </a:ext>
                      </a:extLst>
                    </p:cNvPr>
                    <p:cNvSpPr/>
                    <p:nvPr/>
                  </p:nvSpPr>
                  <p:spPr>
                    <a:xfrm>
                      <a:off x="4537463"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6" name="Oval 195">
                      <a:extLst>
                        <a:ext uri="{FF2B5EF4-FFF2-40B4-BE49-F238E27FC236}">
                          <a16:creationId xmlns:a16="http://schemas.microsoft.com/office/drawing/2014/main" id="{541E3303-569E-464B-8D35-0AE87BD582E7}"/>
                        </a:ext>
                      </a:extLst>
                    </p:cNvPr>
                    <p:cNvSpPr/>
                    <p:nvPr/>
                  </p:nvSpPr>
                  <p:spPr>
                    <a:xfrm>
                      <a:off x="4653128"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7" name="Oval 196">
                      <a:extLst>
                        <a:ext uri="{FF2B5EF4-FFF2-40B4-BE49-F238E27FC236}">
                          <a16:creationId xmlns:a16="http://schemas.microsoft.com/office/drawing/2014/main" id="{AD10F59C-0CC2-44A3-84FD-CEA8A29718F5}"/>
                        </a:ext>
                      </a:extLst>
                    </p:cNvPr>
                    <p:cNvSpPr/>
                    <p:nvPr/>
                  </p:nvSpPr>
                  <p:spPr>
                    <a:xfrm>
                      <a:off x="4761128"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8" name="Freeform 219">
                      <a:extLst>
                        <a:ext uri="{FF2B5EF4-FFF2-40B4-BE49-F238E27FC236}">
                          <a16:creationId xmlns:a16="http://schemas.microsoft.com/office/drawing/2014/main" id="{4C2D7638-4288-496E-A8B5-F0F2C1B9F150}"/>
                        </a:ext>
                      </a:extLst>
                    </p:cNvPr>
                    <p:cNvSpPr/>
                    <p:nvPr/>
                  </p:nvSpPr>
                  <p:spPr>
                    <a:xfrm>
                      <a:off x="4210295" y="3950109"/>
                      <a:ext cx="45719"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9" name="Freeform 220">
                      <a:extLst>
                        <a:ext uri="{FF2B5EF4-FFF2-40B4-BE49-F238E27FC236}">
                          <a16:creationId xmlns:a16="http://schemas.microsoft.com/office/drawing/2014/main" id="{C028141C-34D4-4E4F-AC95-600D4606856C}"/>
                        </a:ext>
                      </a:extLst>
                    </p:cNvPr>
                    <p:cNvSpPr/>
                    <p:nvPr/>
                  </p:nvSpPr>
                  <p:spPr>
                    <a:xfrm>
                      <a:off x="4268750"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0" name="Freeform 221">
                      <a:extLst>
                        <a:ext uri="{FF2B5EF4-FFF2-40B4-BE49-F238E27FC236}">
                          <a16:creationId xmlns:a16="http://schemas.microsoft.com/office/drawing/2014/main" id="{47410FAA-6209-4970-A0B8-7F1BF2728A65}"/>
                        </a:ext>
                      </a:extLst>
                    </p:cNvPr>
                    <p:cNvSpPr/>
                    <p:nvPr/>
                  </p:nvSpPr>
                  <p:spPr>
                    <a:xfrm>
                      <a:off x="4457462"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1" name="Freeform 222">
                      <a:extLst>
                        <a:ext uri="{FF2B5EF4-FFF2-40B4-BE49-F238E27FC236}">
                          <a16:creationId xmlns:a16="http://schemas.microsoft.com/office/drawing/2014/main" id="{AC65F508-2CF3-45EA-9CC0-547DEDDFEDAE}"/>
                        </a:ext>
                      </a:extLst>
                    </p:cNvPr>
                    <p:cNvSpPr/>
                    <p:nvPr/>
                  </p:nvSpPr>
                  <p:spPr>
                    <a:xfrm>
                      <a:off x="4487601" y="3968104"/>
                      <a:ext cx="45719"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2" name="Freeform 223">
                      <a:extLst>
                        <a:ext uri="{FF2B5EF4-FFF2-40B4-BE49-F238E27FC236}">
                          <a16:creationId xmlns:a16="http://schemas.microsoft.com/office/drawing/2014/main" id="{9AC3D1FB-74EC-4A63-A884-F5D5247AAB2E}"/>
                        </a:ext>
                      </a:extLst>
                    </p:cNvPr>
                    <p:cNvSpPr/>
                    <p:nvPr/>
                  </p:nvSpPr>
                  <p:spPr>
                    <a:xfrm>
                      <a:off x="4568455" y="3964769"/>
                      <a:ext cx="31771"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3" name="Freeform 224">
                      <a:extLst>
                        <a:ext uri="{FF2B5EF4-FFF2-40B4-BE49-F238E27FC236}">
                          <a16:creationId xmlns:a16="http://schemas.microsoft.com/office/drawing/2014/main" id="{0EB05E1C-E5F6-483F-A5BF-23894EA696A3}"/>
                        </a:ext>
                      </a:extLst>
                    </p:cNvPr>
                    <p:cNvSpPr/>
                    <p:nvPr/>
                  </p:nvSpPr>
                  <p:spPr>
                    <a:xfrm>
                      <a:off x="4602564" y="3964769"/>
                      <a:ext cx="40005" cy="188119"/>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4" name="Freeform 225">
                      <a:extLst>
                        <a:ext uri="{FF2B5EF4-FFF2-40B4-BE49-F238E27FC236}">
                          <a16:creationId xmlns:a16="http://schemas.microsoft.com/office/drawing/2014/main" id="{6D3CB04E-A279-4B5C-BD4B-516D77D92DCC}"/>
                        </a:ext>
                      </a:extLst>
                    </p:cNvPr>
                    <p:cNvSpPr/>
                    <p:nvPr/>
                  </p:nvSpPr>
                  <p:spPr>
                    <a:xfrm>
                      <a:off x="4686081"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5" name="Freeform 226">
                      <a:extLst>
                        <a:ext uri="{FF2B5EF4-FFF2-40B4-BE49-F238E27FC236}">
                          <a16:creationId xmlns:a16="http://schemas.microsoft.com/office/drawing/2014/main" id="{17523892-B28F-460C-8901-595E2894BBD1}"/>
                        </a:ext>
                      </a:extLst>
                    </p:cNvPr>
                    <p:cNvSpPr/>
                    <p:nvPr/>
                  </p:nvSpPr>
                  <p:spPr>
                    <a:xfrm>
                      <a:off x="4720490" y="3968103"/>
                      <a:ext cx="3048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6" name="Freeform 227">
                      <a:extLst>
                        <a:ext uri="{FF2B5EF4-FFF2-40B4-BE49-F238E27FC236}">
                          <a16:creationId xmlns:a16="http://schemas.microsoft.com/office/drawing/2014/main" id="{BA36F639-90C9-40D7-819F-EDF60F10086B}"/>
                        </a:ext>
                      </a:extLst>
                    </p:cNvPr>
                    <p:cNvSpPr/>
                    <p:nvPr/>
                  </p:nvSpPr>
                  <p:spPr>
                    <a:xfrm>
                      <a:off x="4794496" y="3961992"/>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7" name="Freeform 228">
                      <a:extLst>
                        <a:ext uri="{FF2B5EF4-FFF2-40B4-BE49-F238E27FC236}">
                          <a16:creationId xmlns:a16="http://schemas.microsoft.com/office/drawing/2014/main" id="{A7FAB5FB-FEEC-4284-9BBD-61D791AE667C}"/>
                        </a:ext>
                      </a:extLst>
                    </p:cNvPr>
                    <p:cNvSpPr/>
                    <p:nvPr/>
                  </p:nvSpPr>
                  <p:spPr>
                    <a:xfrm>
                      <a:off x="4823409" y="3973054"/>
                      <a:ext cx="45719"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8" name="Freeform 229">
                      <a:extLst>
                        <a:ext uri="{FF2B5EF4-FFF2-40B4-BE49-F238E27FC236}">
                          <a16:creationId xmlns:a16="http://schemas.microsoft.com/office/drawing/2014/main" id="{827606C8-E05C-4FBF-93FA-5A7769B7FD82}"/>
                        </a:ext>
                      </a:extLst>
                    </p:cNvPr>
                    <p:cNvSpPr/>
                    <p:nvPr/>
                  </p:nvSpPr>
                  <p:spPr>
                    <a:xfrm>
                      <a:off x="4992288" y="3934111"/>
                      <a:ext cx="45719"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9" name="Oval 208">
                      <a:extLst>
                        <a:ext uri="{FF2B5EF4-FFF2-40B4-BE49-F238E27FC236}">
                          <a16:creationId xmlns:a16="http://schemas.microsoft.com/office/drawing/2014/main" id="{3B787597-63CC-4EF2-A481-E11978524EDB}"/>
                        </a:ext>
                      </a:extLst>
                    </p:cNvPr>
                    <p:cNvSpPr/>
                    <p:nvPr/>
                  </p:nvSpPr>
                  <p:spPr>
                    <a:xfrm>
                      <a:off x="4992288"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0" name="Freeform 231">
                      <a:extLst>
                        <a:ext uri="{FF2B5EF4-FFF2-40B4-BE49-F238E27FC236}">
                          <a16:creationId xmlns:a16="http://schemas.microsoft.com/office/drawing/2014/main" id="{B2B4FE65-AA18-4215-9B22-436E94CA2C30}"/>
                        </a:ext>
                      </a:extLst>
                    </p:cNvPr>
                    <p:cNvSpPr/>
                    <p:nvPr/>
                  </p:nvSpPr>
                  <p:spPr>
                    <a:xfrm>
                      <a:off x="5054029" y="3973054"/>
                      <a:ext cx="46259"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1" name="Oval 210">
                      <a:extLst>
                        <a:ext uri="{FF2B5EF4-FFF2-40B4-BE49-F238E27FC236}">
                          <a16:creationId xmlns:a16="http://schemas.microsoft.com/office/drawing/2014/main" id="{42999F06-88D6-4BCF-B4FE-56C2A455D093}"/>
                        </a:ext>
                      </a:extLst>
                    </p:cNvPr>
                    <p:cNvSpPr/>
                    <p:nvPr/>
                  </p:nvSpPr>
                  <p:spPr>
                    <a:xfrm>
                      <a:off x="5107594"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2" name="Oval 211">
                      <a:extLst>
                        <a:ext uri="{FF2B5EF4-FFF2-40B4-BE49-F238E27FC236}">
                          <a16:creationId xmlns:a16="http://schemas.microsoft.com/office/drawing/2014/main" id="{05450E64-8004-4A83-8F98-7D7BC715DCCF}"/>
                        </a:ext>
                      </a:extLst>
                    </p:cNvPr>
                    <p:cNvSpPr/>
                    <p:nvPr/>
                  </p:nvSpPr>
                  <p:spPr>
                    <a:xfrm>
                      <a:off x="4884288"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3" name="Oval 212">
                      <a:extLst>
                        <a:ext uri="{FF2B5EF4-FFF2-40B4-BE49-F238E27FC236}">
                          <a16:creationId xmlns:a16="http://schemas.microsoft.com/office/drawing/2014/main" id="{65BFDB9E-400A-48E6-918C-D39D51074C1A}"/>
                        </a:ext>
                      </a:extLst>
                    </p:cNvPr>
                    <p:cNvSpPr/>
                    <p:nvPr/>
                  </p:nvSpPr>
                  <p:spPr>
                    <a:xfrm>
                      <a:off x="5219737"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4" name="Oval 213">
                      <a:extLst>
                        <a:ext uri="{FF2B5EF4-FFF2-40B4-BE49-F238E27FC236}">
                          <a16:creationId xmlns:a16="http://schemas.microsoft.com/office/drawing/2014/main" id="{B7BC31AE-4B88-4903-8F27-DA337C46C781}"/>
                        </a:ext>
                      </a:extLst>
                    </p:cNvPr>
                    <p:cNvSpPr/>
                    <p:nvPr/>
                  </p:nvSpPr>
                  <p:spPr>
                    <a:xfrm>
                      <a:off x="5335402"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5" name="Oval 214">
                      <a:extLst>
                        <a:ext uri="{FF2B5EF4-FFF2-40B4-BE49-F238E27FC236}">
                          <a16:creationId xmlns:a16="http://schemas.microsoft.com/office/drawing/2014/main" id="{3EAF5A92-3184-4021-B12C-CCAA44A5FB91}"/>
                        </a:ext>
                      </a:extLst>
                    </p:cNvPr>
                    <p:cNvSpPr/>
                    <p:nvPr/>
                  </p:nvSpPr>
                  <p:spPr>
                    <a:xfrm>
                      <a:off x="5443402"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6" name="Freeform 237">
                      <a:extLst>
                        <a:ext uri="{FF2B5EF4-FFF2-40B4-BE49-F238E27FC236}">
                          <a16:creationId xmlns:a16="http://schemas.microsoft.com/office/drawing/2014/main" id="{E33E830B-D667-465B-BDA8-EF7E439A6EF3}"/>
                        </a:ext>
                      </a:extLst>
                    </p:cNvPr>
                    <p:cNvSpPr/>
                    <p:nvPr/>
                  </p:nvSpPr>
                  <p:spPr>
                    <a:xfrm>
                      <a:off x="4892569" y="3950109"/>
                      <a:ext cx="45719"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7" name="Freeform 238">
                      <a:extLst>
                        <a:ext uri="{FF2B5EF4-FFF2-40B4-BE49-F238E27FC236}">
                          <a16:creationId xmlns:a16="http://schemas.microsoft.com/office/drawing/2014/main" id="{74570105-ED76-4D25-A526-F105E6911B3F}"/>
                        </a:ext>
                      </a:extLst>
                    </p:cNvPr>
                    <p:cNvSpPr/>
                    <p:nvPr/>
                  </p:nvSpPr>
                  <p:spPr>
                    <a:xfrm>
                      <a:off x="4951024"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8" name="Freeform 239">
                      <a:extLst>
                        <a:ext uri="{FF2B5EF4-FFF2-40B4-BE49-F238E27FC236}">
                          <a16:creationId xmlns:a16="http://schemas.microsoft.com/office/drawing/2014/main" id="{1104BBDD-3832-45D9-9E29-639BB86DA12F}"/>
                        </a:ext>
                      </a:extLst>
                    </p:cNvPr>
                    <p:cNvSpPr/>
                    <p:nvPr/>
                  </p:nvSpPr>
                  <p:spPr>
                    <a:xfrm>
                      <a:off x="5139736"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9" name="Freeform 240">
                      <a:extLst>
                        <a:ext uri="{FF2B5EF4-FFF2-40B4-BE49-F238E27FC236}">
                          <a16:creationId xmlns:a16="http://schemas.microsoft.com/office/drawing/2014/main" id="{3DE92895-231A-473C-BA39-72177B2EA854}"/>
                        </a:ext>
                      </a:extLst>
                    </p:cNvPr>
                    <p:cNvSpPr/>
                    <p:nvPr/>
                  </p:nvSpPr>
                  <p:spPr>
                    <a:xfrm>
                      <a:off x="5169875" y="3968104"/>
                      <a:ext cx="45719"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0" name="Freeform 241">
                      <a:extLst>
                        <a:ext uri="{FF2B5EF4-FFF2-40B4-BE49-F238E27FC236}">
                          <a16:creationId xmlns:a16="http://schemas.microsoft.com/office/drawing/2014/main" id="{8F41ACA2-C389-4D24-ABA1-408886C4860F}"/>
                        </a:ext>
                      </a:extLst>
                    </p:cNvPr>
                    <p:cNvSpPr/>
                    <p:nvPr/>
                  </p:nvSpPr>
                  <p:spPr>
                    <a:xfrm>
                      <a:off x="5250729" y="3964769"/>
                      <a:ext cx="31771"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1" name="Freeform 242">
                      <a:extLst>
                        <a:ext uri="{FF2B5EF4-FFF2-40B4-BE49-F238E27FC236}">
                          <a16:creationId xmlns:a16="http://schemas.microsoft.com/office/drawing/2014/main" id="{2EB823B0-6FA6-4EA3-A912-8998849273BD}"/>
                        </a:ext>
                      </a:extLst>
                    </p:cNvPr>
                    <p:cNvSpPr/>
                    <p:nvPr/>
                  </p:nvSpPr>
                  <p:spPr>
                    <a:xfrm>
                      <a:off x="5284838" y="3964769"/>
                      <a:ext cx="40005" cy="188119"/>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2" name="Freeform 243">
                      <a:extLst>
                        <a:ext uri="{FF2B5EF4-FFF2-40B4-BE49-F238E27FC236}">
                          <a16:creationId xmlns:a16="http://schemas.microsoft.com/office/drawing/2014/main" id="{37DC11E0-0AB0-4911-8886-293CDEFB3071}"/>
                        </a:ext>
                      </a:extLst>
                    </p:cNvPr>
                    <p:cNvSpPr/>
                    <p:nvPr/>
                  </p:nvSpPr>
                  <p:spPr>
                    <a:xfrm>
                      <a:off x="5368355"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3" name="Freeform 244">
                      <a:extLst>
                        <a:ext uri="{FF2B5EF4-FFF2-40B4-BE49-F238E27FC236}">
                          <a16:creationId xmlns:a16="http://schemas.microsoft.com/office/drawing/2014/main" id="{7292AE35-5D71-4CC5-895F-FD37629BF78C}"/>
                        </a:ext>
                      </a:extLst>
                    </p:cNvPr>
                    <p:cNvSpPr/>
                    <p:nvPr/>
                  </p:nvSpPr>
                  <p:spPr>
                    <a:xfrm>
                      <a:off x="5402764" y="3968103"/>
                      <a:ext cx="3048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4" name="Freeform 245">
                      <a:extLst>
                        <a:ext uri="{FF2B5EF4-FFF2-40B4-BE49-F238E27FC236}">
                          <a16:creationId xmlns:a16="http://schemas.microsoft.com/office/drawing/2014/main" id="{A501D585-5626-44BA-B59A-879486993CC3}"/>
                        </a:ext>
                      </a:extLst>
                    </p:cNvPr>
                    <p:cNvSpPr/>
                    <p:nvPr/>
                  </p:nvSpPr>
                  <p:spPr>
                    <a:xfrm>
                      <a:off x="5476770" y="3961992"/>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5" name="Freeform 246">
                      <a:extLst>
                        <a:ext uri="{FF2B5EF4-FFF2-40B4-BE49-F238E27FC236}">
                          <a16:creationId xmlns:a16="http://schemas.microsoft.com/office/drawing/2014/main" id="{027BA329-5BD3-4FFB-AA1A-C22C3F5FF3B2}"/>
                        </a:ext>
                      </a:extLst>
                    </p:cNvPr>
                    <p:cNvSpPr/>
                    <p:nvPr/>
                  </p:nvSpPr>
                  <p:spPr>
                    <a:xfrm>
                      <a:off x="5505683" y="3973054"/>
                      <a:ext cx="45719"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grpSp>
            </p:grpSp>
            <p:sp>
              <p:nvSpPr>
                <p:cNvPr id="74" name="Freeform 95">
                  <a:extLst>
                    <a:ext uri="{FF2B5EF4-FFF2-40B4-BE49-F238E27FC236}">
                      <a16:creationId xmlns:a16="http://schemas.microsoft.com/office/drawing/2014/main" id="{ACCC6CAE-D750-498E-B5C9-BFEB6B346648}"/>
                    </a:ext>
                  </a:extLst>
                </p:cNvPr>
                <p:cNvSpPr/>
                <p:nvPr/>
              </p:nvSpPr>
              <p:spPr>
                <a:xfrm>
                  <a:off x="1907303" y="1614093"/>
                  <a:ext cx="29766" cy="148401"/>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5" name="Oval 74">
                  <a:extLst>
                    <a:ext uri="{FF2B5EF4-FFF2-40B4-BE49-F238E27FC236}">
                      <a16:creationId xmlns:a16="http://schemas.microsoft.com/office/drawing/2014/main" id="{63EC8FF2-EF10-49B7-94F0-EC15D7A43301}"/>
                    </a:ext>
                  </a:extLst>
                </p:cNvPr>
                <p:cNvSpPr/>
                <p:nvPr/>
              </p:nvSpPr>
              <p:spPr>
                <a:xfrm>
                  <a:off x="1907303"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6" name="Freeform 97">
                  <a:extLst>
                    <a:ext uri="{FF2B5EF4-FFF2-40B4-BE49-F238E27FC236}">
                      <a16:creationId xmlns:a16="http://schemas.microsoft.com/office/drawing/2014/main" id="{304E995B-B500-47C4-A61B-2A987CD04A22}"/>
                    </a:ext>
                  </a:extLst>
                </p:cNvPr>
                <p:cNvSpPr/>
                <p:nvPr/>
              </p:nvSpPr>
              <p:spPr>
                <a:xfrm>
                  <a:off x="1947500" y="1640849"/>
                  <a:ext cx="30117" cy="12355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7" name="Oval 76">
                  <a:extLst>
                    <a:ext uri="{FF2B5EF4-FFF2-40B4-BE49-F238E27FC236}">
                      <a16:creationId xmlns:a16="http://schemas.microsoft.com/office/drawing/2014/main" id="{A85CC4B5-02EB-49AA-9BED-22F209F574FB}"/>
                    </a:ext>
                  </a:extLst>
                </p:cNvPr>
                <p:cNvSpPr/>
                <p:nvPr/>
              </p:nvSpPr>
              <p:spPr>
                <a:xfrm>
                  <a:off x="1982373"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8" name="Oval 77">
                  <a:extLst>
                    <a:ext uri="{FF2B5EF4-FFF2-40B4-BE49-F238E27FC236}">
                      <a16:creationId xmlns:a16="http://schemas.microsoft.com/office/drawing/2014/main" id="{F2A80FE2-575C-4AFA-B56E-DC5C35DDE68C}"/>
                    </a:ext>
                  </a:extLst>
                </p:cNvPr>
                <p:cNvSpPr/>
                <p:nvPr/>
              </p:nvSpPr>
              <p:spPr>
                <a:xfrm>
                  <a:off x="1836988"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9" name="Oval 78">
                  <a:extLst>
                    <a:ext uri="{FF2B5EF4-FFF2-40B4-BE49-F238E27FC236}">
                      <a16:creationId xmlns:a16="http://schemas.microsoft.com/office/drawing/2014/main" id="{2EF59251-3C2C-4A8B-9699-E05201F91F76}"/>
                    </a:ext>
                  </a:extLst>
                </p:cNvPr>
                <p:cNvSpPr/>
                <p:nvPr/>
              </p:nvSpPr>
              <p:spPr>
                <a:xfrm>
                  <a:off x="2055384"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0" name="Oval 79">
                  <a:extLst>
                    <a:ext uri="{FF2B5EF4-FFF2-40B4-BE49-F238E27FC236}">
                      <a16:creationId xmlns:a16="http://schemas.microsoft.com/office/drawing/2014/main" id="{B69E81AB-80CD-416C-9924-D82144FC8FB1}"/>
                    </a:ext>
                  </a:extLst>
                </p:cNvPr>
                <p:cNvSpPr/>
                <p:nvPr/>
              </p:nvSpPr>
              <p:spPr>
                <a:xfrm>
                  <a:off x="2130688"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1" name="Oval 80">
                  <a:extLst>
                    <a:ext uri="{FF2B5EF4-FFF2-40B4-BE49-F238E27FC236}">
                      <a16:creationId xmlns:a16="http://schemas.microsoft.com/office/drawing/2014/main" id="{D341738A-D286-4FC0-BD83-1531433C355F}"/>
                    </a:ext>
                  </a:extLst>
                </p:cNvPr>
                <p:cNvSpPr/>
                <p:nvPr/>
              </p:nvSpPr>
              <p:spPr>
                <a:xfrm>
                  <a:off x="2201002"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2" name="Freeform 103">
                  <a:extLst>
                    <a:ext uri="{FF2B5EF4-FFF2-40B4-BE49-F238E27FC236}">
                      <a16:creationId xmlns:a16="http://schemas.microsoft.com/office/drawing/2014/main" id="{76492DEF-A68A-467B-A678-CD27562563D5}"/>
                    </a:ext>
                  </a:extLst>
                </p:cNvPr>
                <p:cNvSpPr/>
                <p:nvPr/>
              </p:nvSpPr>
              <p:spPr>
                <a:xfrm>
                  <a:off x="1842378" y="1625085"/>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3" name="Freeform 104">
                  <a:extLst>
                    <a:ext uri="{FF2B5EF4-FFF2-40B4-BE49-F238E27FC236}">
                      <a16:creationId xmlns:a16="http://schemas.microsoft.com/office/drawing/2014/main" id="{F75A04B4-2193-47C3-A774-6C459EE49D83}"/>
                    </a:ext>
                  </a:extLst>
                </p:cNvPr>
                <p:cNvSpPr/>
                <p:nvPr/>
              </p:nvSpPr>
              <p:spPr>
                <a:xfrm>
                  <a:off x="1880437"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4" name="Freeform 105">
                  <a:extLst>
                    <a:ext uri="{FF2B5EF4-FFF2-40B4-BE49-F238E27FC236}">
                      <a16:creationId xmlns:a16="http://schemas.microsoft.com/office/drawing/2014/main" id="{EDCF915E-6665-42A9-AB0E-63ABC909066B}"/>
                    </a:ext>
                  </a:extLst>
                </p:cNvPr>
                <p:cNvSpPr/>
                <p:nvPr/>
              </p:nvSpPr>
              <p:spPr>
                <a:xfrm>
                  <a:off x="2003300"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5" name="Freeform 106">
                  <a:extLst>
                    <a:ext uri="{FF2B5EF4-FFF2-40B4-BE49-F238E27FC236}">
                      <a16:creationId xmlns:a16="http://schemas.microsoft.com/office/drawing/2014/main" id="{227BC110-D14C-4E35-8340-75741B110B68}"/>
                    </a:ext>
                  </a:extLst>
                </p:cNvPr>
                <p:cNvSpPr/>
                <p:nvPr/>
              </p:nvSpPr>
              <p:spPr>
                <a:xfrm>
                  <a:off x="2022923" y="1637448"/>
                  <a:ext cx="29766" cy="12695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6" name="Freeform 107">
                  <a:extLst>
                    <a:ext uri="{FF2B5EF4-FFF2-40B4-BE49-F238E27FC236}">
                      <a16:creationId xmlns:a16="http://schemas.microsoft.com/office/drawing/2014/main" id="{BAF610A9-9CDE-4A17-97AA-A730EE974BA9}"/>
                    </a:ext>
                  </a:extLst>
                </p:cNvPr>
                <p:cNvSpPr/>
                <p:nvPr/>
              </p:nvSpPr>
              <p:spPr>
                <a:xfrm>
                  <a:off x="2075564" y="1635157"/>
                  <a:ext cx="20685" cy="12355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7" name="Freeform 108">
                  <a:extLst>
                    <a:ext uri="{FF2B5EF4-FFF2-40B4-BE49-F238E27FC236}">
                      <a16:creationId xmlns:a16="http://schemas.microsoft.com/office/drawing/2014/main" id="{FFC716A7-97D7-47CA-8340-D14D01196222}"/>
                    </a:ext>
                  </a:extLst>
                </p:cNvPr>
                <p:cNvSpPr/>
                <p:nvPr/>
              </p:nvSpPr>
              <p:spPr>
                <a:xfrm>
                  <a:off x="2097770" y="1635157"/>
                  <a:ext cx="26045" cy="129246"/>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8" name="Freeform 109">
                  <a:extLst>
                    <a:ext uri="{FF2B5EF4-FFF2-40B4-BE49-F238E27FC236}">
                      <a16:creationId xmlns:a16="http://schemas.microsoft.com/office/drawing/2014/main" id="{22EC84C3-5845-4F33-B99E-DC9763AD2BBB}"/>
                    </a:ext>
                  </a:extLst>
                </p:cNvPr>
                <p:cNvSpPr/>
                <p:nvPr/>
              </p:nvSpPr>
              <p:spPr>
                <a:xfrm>
                  <a:off x="2152144"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9" name="Freeform 110">
                  <a:extLst>
                    <a:ext uri="{FF2B5EF4-FFF2-40B4-BE49-F238E27FC236}">
                      <a16:creationId xmlns:a16="http://schemas.microsoft.com/office/drawing/2014/main" id="{DF026C60-C751-40B0-9718-585C4016729A}"/>
                    </a:ext>
                  </a:extLst>
                </p:cNvPr>
                <p:cNvSpPr/>
                <p:nvPr/>
              </p:nvSpPr>
              <p:spPr>
                <a:xfrm>
                  <a:off x="2174545" y="1637447"/>
                  <a:ext cx="19844" cy="12695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0" name="Freeform 111">
                  <a:extLst>
                    <a:ext uri="{FF2B5EF4-FFF2-40B4-BE49-F238E27FC236}">
                      <a16:creationId xmlns:a16="http://schemas.microsoft.com/office/drawing/2014/main" id="{BE9A65D0-8774-477B-977C-FF94CA5CE330}"/>
                    </a:ext>
                  </a:extLst>
                </p:cNvPr>
                <p:cNvSpPr/>
                <p:nvPr/>
              </p:nvSpPr>
              <p:spPr>
                <a:xfrm>
                  <a:off x="2222728" y="1633249"/>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1" name="Freeform 112">
                  <a:extLst>
                    <a:ext uri="{FF2B5EF4-FFF2-40B4-BE49-F238E27FC236}">
                      <a16:creationId xmlns:a16="http://schemas.microsoft.com/office/drawing/2014/main" id="{93FE3D21-CB99-4F23-8DC7-B16E035ED3E5}"/>
                    </a:ext>
                  </a:extLst>
                </p:cNvPr>
                <p:cNvSpPr/>
                <p:nvPr/>
              </p:nvSpPr>
              <p:spPr>
                <a:xfrm>
                  <a:off x="2241552" y="1640849"/>
                  <a:ext cx="29766" cy="1235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2" name="Freeform 113">
                  <a:extLst>
                    <a:ext uri="{FF2B5EF4-FFF2-40B4-BE49-F238E27FC236}">
                      <a16:creationId xmlns:a16="http://schemas.microsoft.com/office/drawing/2014/main" id="{EBBF6E71-EB5C-4CB7-A5BF-9F4EF3A93201}"/>
                    </a:ext>
                  </a:extLst>
                </p:cNvPr>
                <p:cNvSpPr/>
                <p:nvPr/>
              </p:nvSpPr>
              <p:spPr>
                <a:xfrm>
                  <a:off x="2353314" y="1614093"/>
                  <a:ext cx="29766" cy="148401"/>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3" name="Oval 92">
                  <a:extLst>
                    <a:ext uri="{FF2B5EF4-FFF2-40B4-BE49-F238E27FC236}">
                      <a16:creationId xmlns:a16="http://schemas.microsoft.com/office/drawing/2014/main" id="{2459B1F3-1C4D-46E1-835A-DBD98D7427DC}"/>
                    </a:ext>
                  </a:extLst>
                </p:cNvPr>
                <p:cNvSpPr/>
                <p:nvPr/>
              </p:nvSpPr>
              <p:spPr>
                <a:xfrm>
                  <a:off x="2353314"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4" name="Freeform 115">
                  <a:extLst>
                    <a:ext uri="{FF2B5EF4-FFF2-40B4-BE49-F238E27FC236}">
                      <a16:creationId xmlns:a16="http://schemas.microsoft.com/office/drawing/2014/main" id="{67A380D9-6590-4D94-951E-E101F9DE690B}"/>
                    </a:ext>
                  </a:extLst>
                </p:cNvPr>
                <p:cNvSpPr/>
                <p:nvPr/>
              </p:nvSpPr>
              <p:spPr>
                <a:xfrm>
                  <a:off x="2393510" y="1640849"/>
                  <a:ext cx="30117" cy="12355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5" name="Oval 94">
                  <a:extLst>
                    <a:ext uri="{FF2B5EF4-FFF2-40B4-BE49-F238E27FC236}">
                      <a16:creationId xmlns:a16="http://schemas.microsoft.com/office/drawing/2014/main" id="{D011B1DC-2CCF-4A28-A092-55068A8C8C1C}"/>
                    </a:ext>
                  </a:extLst>
                </p:cNvPr>
                <p:cNvSpPr/>
                <p:nvPr/>
              </p:nvSpPr>
              <p:spPr>
                <a:xfrm>
                  <a:off x="2428384"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6" name="Oval 95">
                  <a:extLst>
                    <a:ext uri="{FF2B5EF4-FFF2-40B4-BE49-F238E27FC236}">
                      <a16:creationId xmlns:a16="http://schemas.microsoft.com/office/drawing/2014/main" id="{AB962854-2C80-4026-98BF-387F2C9F9783}"/>
                    </a:ext>
                  </a:extLst>
                </p:cNvPr>
                <p:cNvSpPr/>
                <p:nvPr/>
              </p:nvSpPr>
              <p:spPr>
                <a:xfrm>
                  <a:off x="2283000"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7" name="Oval 96">
                  <a:extLst>
                    <a:ext uri="{FF2B5EF4-FFF2-40B4-BE49-F238E27FC236}">
                      <a16:creationId xmlns:a16="http://schemas.microsoft.com/office/drawing/2014/main" id="{0F7C83E8-3C9F-4C73-AC63-2F2C37868644}"/>
                    </a:ext>
                  </a:extLst>
                </p:cNvPr>
                <p:cNvSpPr/>
                <p:nvPr/>
              </p:nvSpPr>
              <p:spPr>
                <a:xfrm>
                  <a:off x="2501395"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8" name="Oval 97">
                  <a:extLst>
                    <a:ext uri="{FF2B5EF4-FFF2-40B4-BE49-F238E27FC236}">
                      <a16:creationId xmlns:a16="http://schemas.microsoft.com/office/drawing/2014/main" id="{7FF07CC8-CECA-4179-9FA3-43D62E4F71B6}"/>
                    </a:ext>
                  </a:extLst>
                </p:cNvPr>
                <p:cNvSpPr/>
                <p:nvPr/>
              </p:nvSpPr>
              <p:spPr>
                <a:xfrm>
                  <a:off x="2576700"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9" name="Oval 98">
                  <a:extLst>
                    <a:ext uri="{FF2B5EF4-FFF2-40B4-BE49-F238E27FC236}">
                      <a16:creationId xmlns:a16="http://schemas.microsoft.com/office/drawing/2014/main" id="{9B58FFA9-7E64-4594-88DD-C5C646269E38}"/>
                    </a:ext>
                  </a:extLst>
                </p:cNvPr>
                <p:cNvSpPr/>
                <p:nvPr/>
              </p:nvSpPr>
              <p:spPr>
                <a:xfrm>
                  <a:off x="2647014"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0" name="Freeform 121">
                  <a:extLst>
                    <a:ext uri="{FF2B5EF4-FFF2-40B4-BE49-F238E27FC236}">
                      <a16:creationId xmlns:a16="http://schemas.microsoft.com/office/drawing/2014/main" id="{8D95E04E-94D4-4295-A0DE-EBE6A7167D0C}"/>
                    </a:ext>
                  </a:extLst>
                </p:cNvPr>
                <p:cNvSpPr/>
                <p:nvPr/>
              </p:nvSpPr>
              <p:spPr>
                <a:xfrm>
                  <a:off x="2288391" y="1625085"/>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1" name="Freeform 122">
                  <a:extLst>
                    <a:ext uri="{FF2B5EF4-FFF2-40B4-BE49-F238E27FC236}">
                      <a16:creationId xmlns:a16="http://schemas.microsoft.com/office/drawing/2014/main" id="{F01B85B5-9D43-4519-B0A5-7C6F6D8DFADE}"/>
                    </a:ext>
                  </a:extLst>
                </p:cNvPr>
                <p:cNvSpPr/>
                <p:nvPr/>
              </p:nvSpPr>
              <p:spPr>
                <a:xfrm>
                  <a:off x="2326449"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2" name="Freeform 123">
                  <a:extLst>
                    <a:ext uri="{FF2B5EF4-FFF2-40B4-BE49-F238E27FC236}">
                      <a16:creationId xmlns:a16="http://schemas.microsoft.com/office/drawing/2014/main" id="{728E2C33-BA32-4179-AF89-7C001CD1B4B9}"/>
                    </a:ext>
                  </a:extLst>
                </p:cNvPr>
                <p:cNvSpPr/>
                <p:nvPr/>
              </p:nvSpPr>
              <p:spPr>
                <a:xfrm>
                  <a:off x="2449309"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3" name="Freeform 124">
                  <a:extLst>
                    <a:ext uri="{FF2B5EF4-FFF2-40B4-BE49-F238E27FC236}">
                      <a16:creationId xmlns:a16="http://schemas.microsoft.com/office/drawing/2014/main" id="{B9F8080A-067A-4160-AF0F-D74B5DBE73BA}"/>
                    </a:ext>
                  </a:extLst>
                </p:cNvPr>
                <p:cNvSpPr/>
                <p:nvPr/>
              </p:nvSpPr>
              <p:spPr>
                <a:xfrm>
                  <a:off x="2468933" y="1637448"/>
                  <a:ext cx="29766" cy="12695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4" name="Freeform 125">
                  <a:extLst>
                    <a:ext uri="{FF2B5EF4-FFF2-40B4-BE49-F238E27FC236}">
                      <a16:creationId xmlns:a16="http://schemas.microsoft.com/office/drawing/2014/main" id="{34CA4171-1523-42EF-9318-25CFA5A0125D}"/>
                    </a:ext>
                  </a:extLst>
                </p:cNvPr>
                <p:cNvSpPr/>
                <p:nvPr/>
              </p:nvSpPr>
              <p:spPr>
                <a:xfrm>
                  <a:off x="2521574" y="1635157"/>
                  <a:ext cx="20685" cy="12355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5" name="Freeform 126">
                  <a:extLst>
                    <a:ext uri="{FF2B5EF4-FFF2-40B4-BE49-F238E27FC236}">
                      <a16:creationId xmlns:a16="http://schemas.microsoft.com/office/drawing/2014/main" id="{AC522F73-098A-447A-BC2A-21D3F36453C2}"/>
                    </a:ext>
                  </a:extLst>
                </p:cNvPr>
                <p:cNvSpPr/>
                <p:nvPr/>
              </p:nvSpPr>
              <p:spPr>
                <a:xfrm>
                  <a:off x="2543781" y="1635157"/>
                  <a:ext cx="26045" cy="129246"/>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6" name="Freeform 127">
                  <a:extLst>
                    <a:ext uri="{FF2B5EF4-FFF2-40B4-BE49-F238E27FC236}">
                      <a16:creationId xmlns:a16="http://schemas.microsoft.com/office/drawing/2014/main" id="{49FF8568-2CAF-42A2-8760-121F89463C4E}"/>
                    </a:ext>
                  </a:extLst>
                </p:cNvPr>
                <p:cNvSpPr/>
                <p:nvPr/>
              </p:nvSpPr>
              <p:spPr>
                <a:xfrm>
                  <a:off x="2598155"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7" name="Freeform 128">
                  <a:extLst>
                    <a:ext uri="{FF2B5EF4-FFF2-40B4-BE49-F238E27FC236}">
                      <a16:creationId xmlns:a16="http://schemas.microsoft.com/office/drawing/2014/main" id="{543E47BE-222D-4EA6-B1CD-1240931B802E}"/>
                    </a:ext>
                  </a:extLst>
                </p:cNvPr>
                <p:cNvSpPr/>
                <p:nvPr/>
              </p:nvSpPr>
              <p:spPr>
                <a:xfrm>
                  <a:off x="2620557" y="1637447"/>
                  <a:ext cx="19844" cy="12695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8" name="Freeform 129">
                  <a:extLst>
                    <a:ext uri="{FF2B5EF4-FFF2-40B4-BE49-F238E27FC236}">
                      <a16:creationId xmlns:a16="http://schemas.microsoft.com/office/drawing/2014/main" id="{F6D30406-B954-4E8D-8277-46C26ED29753}"/>
                    </a:ext>
                  </a:extLst>
                </p:cNvPr>
                <p:cNvSpPr/>
                <p:nvPr/>
              </p:nvSpPr>
              <p:spPr>
                <a:xfrm>
                  <a:off x="2668740" y="1633249"/>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9" name="Freeform 130">
                  <a:extLst>
                    <a:ext uri="{FF2B5EF4-FFF2-40B4-BE49-F238E27FC236}">
                      <a16:creationId xmlns:a16="http://schemas.microsoft.com/office/drawing/2014/main" id="{FE3235AB-B5E4-4631-BA92-8D61B9B71C4D}"/>
                    </a:ext>
                  </a:extLst>
                </p:cNvPr>
                <p:cNvSpPr/>
                <p:nvPr/>
              </p:nvSpPr>
              <p:spPr>
                <a:xfrm>
                  <a:off x="2687564" y="1640849"/>
                  <a:ext cx="29766" cy="1235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0" name="Oval 109">
                  <a:extLst>
                    <a:ext uri="{FF2B5EF4-FFF2-40B4-BE49-F238E27FC236}">
                      <a16:creationId xmlns:a16="http://schemas.microsoft.com/office/drawing/2014/main" id="{AABEB42C-AE57-4D2E-868D-4D87F366DA28}"/>
                    </a:ext>
                  </a:extLst>
                </p:cNvPr>
                <p:cNvSpPr/>
                <p:nvPr/>
              </p:nvSpPr>
              <p:spPr>
                <a:xfrm>
                  <a:off x="2719443"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1" name="Freeform 132">
                  <a:extLst>
                    <a:ext uri="{FF2B5EF4-FFF2-40B4-BE49-F238E27FC236}">
                      <a16:creationId xmlns:a16="http://schemas.microsoft.com/office/drawing/2014/main" id="{5232571F-9489-4B07-8587-A32A7068F29A}"/>
                    </a:ext>
                  </a:extLst>
                </p:cNvPr>
                <p:cNvSpPr/>
                <p:nvPr/>
              </p:nvSpPr>
              <p:spPr>
                <a:xfrm>
                  <a:off x="2724835" y="1625085"/>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2" name="Freeform 133">
                  <a:extLst>
                    <a:ext uri="{FF2B5EF4-FFF2-40B4-BE49-F238E27FC236}">
                      <a16:creationId xmlns:a16="http://schemas.microsoft.com/office/drawing/2014/main" id="{EE33EC3E-98B6-4C41-9F82-748E4318EA7F}"/>
                    </a:ext>
                  </a:extLst>
                </p:cNvPr>
                <p:cNvSpPr/>
                <p:nvPr/>
              </p:nvSpPr>
              <p:spPr>
                <a:xfrm>
                  <a:off x="2762891"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3" name="Freeform 134">
                  <a:extLst>
                    <a:ext uri="{FF2B5EF4-FFF2-40B4-BE49-F238E27FC236}">
                      <a16:creationId xmlns:a16="http://schemas.microsoft.com/office/drawing/2014/main" id="{4A76584E-1B53-4783-96DE-803D4B95A56A}"/>
                    </a:ext>
                  </a:extLst>
                </p:cNvPr>
                <p:cNvSpPr/>
                <p:nvPr/>
              </p:nvSpPr>
              <p:spPr>
                <a:xfrm flipV="1">
                  <a:off x="1907331" y="1782882"/>
                  <a:ext cx="29766" cy="148401"/>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4" name="Oval 113">
                  <a:extLst>
                    <a:ext uri="{FF2B5EF4-FFF2-40B4-BE49-F238E27FC236}">
                      <a16:creationId xmlns:a16="http://schemas.microsoft.com/office/drawing/2014/main" id="{E84D6C01-22CC-4CFF-83B6-49918EE5EAA8}"/>
                    </a:ext>
                  </a:extLst>
                </p:cNvPr>
                <p:cNvSpPr/>
                <p:nvPr/>
              </p:nvSpPr>
              <p:spPr>
                <a:xfrm flipV="1">
                  <a:off x="1907331"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5" name="Freeform 136">
                  <a:extLst>
                    <a:ext uri="{FF2B5EF4-FFF2-40B4-BE49-F238E27FC236}">
                      <a16:creationId xmlns:a16="http://schemas.microsoft.com/office/drawing/2014/main" id="{A0E11F27-0868-4CAA-8463-4E9838796E11}"/>
                    </a:ext>
                  </a:extLst>
                </p:cNvPr>
                <p:cNvSpPr/>
                <p:nvPr/>
              </p:nvSpPr>
              <p:spPr>
                <a:xfrm flipV="1">
                  <a:off x="1947528" y="1780974"/>
                  <a:ext cx="30118" cy="123553"/>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6" name="Oval 115">
                  <a:extLst>
                    <a:ext uri="{FF2B5EF4-FFF2-40B4-BE49-F238E27FC236}">
                      <a16:creationId xmlns:a16="http://schemas.microsoft.com/office/drawing/2014/main" id="{4396D5C2-EA21-48BB-A84D-7B5B80A86970}"/>
                    </a:ext>
                  </a:extLst>
                </p:cNvPr>
                <p:cNvSpPr/>
                <p:nvPr/>
              </p:nvSpPr>
              <p:spPr>
                <a:xfrm flipV="1">
                  <a:off x="1982403"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7" name="Oval 116">
                  <a:extLst>
                    <a:ext uri="{FF2B5EF4-FFF2-40B4-BE49-F238E27FC236}">
                      <a16:creationId xmlns:a16="http://schemas.microsoft.com/office/drawing/2014/main" id="{B19F4179-E7C3-44E1-87EC-F52632724867}"/>
                    </a:ext>
                  </a:extLst>
                </p:cNvPr>
                <p:cNvSpPr/>
                <p:nvPr/>
              </p:nvSpPr>
              <p:spPr>
                <a:xfrm flipV="1">
                  <a:off x="1837016"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8" name="Oval 117">
                  <a:extLst>
                    <a:ext uri="{FF2B5EF4-FFF2-40B4-BE49-F238E27FC236}">
                      <a16:creationId xmlns:a16="http://schemas.microsoft.com/office/drawing/2014/main" id="{87F67541-DC4B-4A1D-AE64-30250D3781B5}"/>
                    </a:ext>
                  </a:extLst>
                </p:cNvPr>
                <p:cNvSpPr/>
                <p:nvPr/>
              </p:nvSpPr>
              <p:spPr>
                <a:xfrm flipV="1">
                  <a:off x="2055415"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9" name="Oval 118">
                  <a:extLst>
                    <a:ext uri="{FF2B5EF4-FFF2-40B4-BE49-F238E27FC236}">
                      <a16:creationId xmlns:a16="http://schemas.microsoft.com/office/drawing/2014/main" id="{E33915CA-17C1-4F82-B851-CF06C5EC4D95}"/>
                    </a:ext>
                  </a:extLst>
                </p:cNvPr>
                <p:cNvSpPr/>
                <p:nvPr/>
              </p:nvSpPr>
              <p:spPr>
                <a:xfrm flipV="1">
                  <a:off x="2130720"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0" name="Oval 119">
                  <a:extLst>
                    <a:ext uri="{FF2B5EF4-FFF2-40B4-BE49-F238E27FC236}">
                      <a16:creationId xmlns:a16="http://schemas.microsoft.com/office/drawing/2014/main" id="{54FF7DA0-8CE1-48CA-A94A-5564A28E75A7}"/>
                    </a:ext>
                  </a:extLst>
                </p:cNvPr>
                <p:cNvSpPr/>
                <p:nvPr/>
              </p:nvSpPr>
              <p:spPr>
                <a:xfrm flipV="1">
                  <a:off x="2201035"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1" name="Freeform 142">
                  <a:extLst>
                    <a:ext uri="{FF2B5EF4-FFF2-40B4-BE49-F238E27FC236}">
                      <a16:creationId xmlns:a16="http://schemas.microsoft.com/office/drawing/2014/main" id="{7376598F-6BEB-48DF-9A46-B836140245D7}"/>
                    </a:ext>
                  </a:extLst>
                </p:cNvPr>
                <p:cNvSpPr/>
                <p:nvPr/>
              </p:nvSpPr>
              <p:spPr>
                <a:xfrm flipV="1">
                  <a:off x="1842407" y="1782883"/>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2" name="Freeform 143">
                  <a:extLst>
                    <a:ext uri="{FF2B5EF4-FFF2-40B4-BE49-F238E27FC236}">
                      <a16:creationId xmlns:a16="http://schemas.microsoft.com/office/drawing/2014/main" id="{8D323293-4A48-4FDA-9F84-014E71E3F7B4}"/>
                    </a:ext>
                  </a:extLst>
                </p:cNvPr>
                <p:cNvSpPr/>
                <p:nvPr/>
              </p:nvSpPr>
              <p:spPr>
                <a:xfrm flipV="1">
                  <a:off x="1880465"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3" name="Freeform 144">
                  <a:extLst>
                    <a:ext uri="{FF2B5EF4-FFF2-40B4-BE49-F238E27FC236}">
                      <a16:creationId xmlns:a16="http://schemas.microsoft.com/office/drawing/2014/main" id="{6548BBA2-E322-4996-BEC4-B07E37F74E81}"/>
                    </a:ext>
                  </a:extLst>
                </p:cNvPr>
                <p:cNvSpPr/>
                <p:nvPr/>
              </p:nvSpPr>
              <p:spPr>
                <a:xfrm flipV="1">
                  <a:off x="2003329"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4" name="Freeform 145">
                  <a:extLst>
                    <a:ext uri="{FF2B5EF4-FFF2-40B4-BE49-F238E27FC236}">
                      <a16:creationId xmlns:a16="http://schemas.microsoft.com/office/drawing/2014/main" id="{B1E81449-EAC8-436B-B02F-756D4FA93CA0}"/>
                    </a:ext>
                  </a:extLst>
                </p:cNvPr>
                <p:cNvSpPr/>
                <p:nvPr/>
              </p:nvSpPr>
              <p:spPr>
                <a:xfrm flipV="1">
                  <a:off x="2022951" y="1780973"/>
                  <a:ext cx="29766" cy="1269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5" name="Freeform 146">
                  <a:extLst>
                    <a:ext uri="{FF2B5EF4-FFF2-40B4-BE49-F238E27FC236}">
                      <a16:creationId xmlns:a16="http://schemas.microsoft.com/office/drawing/2014/main" id="{4AB942E9-C67F-4AF5-85B4-5B8B6F3A76E3}"/>
                    </a:ext>
                  </a:extLst>
                </p:cNvPr>
                <p:cNvSpPr/>
                <p:nvPr/>
              </p:nvSpPr>
              <p:spPr>
                <a:xfrm flipV="1">
                  <a:off x="2075593" y="1786666"/>
                  <a:ext cx="20685" cy="123553"/>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6" name="Freeform 147">
                  <a:extLst>
                    <a:ext uri="{FF2B5EF4-FFF2-40B4-BE49-F238E27FC236}">
                      <a16:creationId xmlns:a16="http://schemas.microsoft.com/office/drawing/2014/main" id="{EF7F8F5F-DEAD-4B2B-8251-F76BB18E5F32}"/>
                    </a:ext>
                  </a:extLst>
                </p:cNvPr>
                <p:cNvSpPr/>
                <p:nvPr/>
              </p:nvSpPr>
              <p:spPr>
                <a:xfrm flipV="1">
                  <a:off x="2097800" y="1780974"/>
                  <a:ext cx="26046" cy="129245"/>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7" name="Freeform 148">
                  <a:extLst>
                    <a:ext uri="{FF2B5EF4-FFF2-40B4-BE49-F238E27FC236}">
                      <a16:creationId xmlns:a16="http://schemas.microsoft.com/office/drawing/2014/main" id="{E433764F-45F7-488A-B558-E841EEE10FC5}"/>
                    </a:ext>
                  </a:extLst>
                </p:cNvPr>
                <p:cNvSpPr/>
                <p:nvPr/>
              </p:nvSpPr>
              <p:spPr>
                <a:xfrm flipV="1">
                  <a:off x="2152175"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8" name="Freeform 149">
                  <a:extLst>
                    <a:ext uri="{FF2B5EF4-FFF2-40B4-BE49-F238E27FC236}">
                      <a16:creationId xmlns:a16="http://schemas.microsoft.com/office/drawing/2014/main" id="{D8AD5F8F-DEE6-4D78-AF29-202E959D9724}"/>
                    </a:ext>
                  </a:extLst>
                </p:cNvPr>
                <p:cNvSpPr/>
                <p:nvPr/>
              </p:nvSpPr>
              <p:spPr>
                <a:xfrm flipV="1">
                  <a:off x="2174577" y="1780974"/>
                  <a:ext cx="19844" cy="1269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9" name="Freeform 150">
                  <a:extLst>
                    <a:ext uri="{FF2B5EF4-FFF2-40B4-BE49-F238E27FC236}">
                      <a16:creationId xmlns:a16="http://schemas.microsoft.com/office/drawing/2014/main" id="{63C1CC07-F2EF-40DF-916F-63412F3FF206}"/>
                    </a:ext>
                  </a:extLst>
                </p:cNvPr>
                <p:cNvSpPr/>
                <p:nvPr/>
              </p:nvSpPr>
              <p:spPr>
                <a:xfrm flipV="1">
                  <a:off x="2222760" y="1782882"/>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0" name="Freeform 151">
                  <a:extLst>
                    <a:ext uri="{FF2B5EF4-FFF2-40B4-BE49-F238E27FC236}">
                      <a16:creationId xmlns:a16="http://schemas.microsoft.com/office/drawing/2014/main" id="{BB5DFA16-4297-4BE0-AE23-60B93E0E004D}"/>
                    </a:ext>
                  </a:extLst>
                </p:cNvPr>
                <p:cNvSpPr/>
                <p:nvPr/>
              </p:nvSpPr>
              <p:spPr>
                <a:xfrm flipV="1">
                  <a:off x="2241584" y="1780973"/>
                  <a:ext cx="29766" cy="123554"/>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1" name="Freeform 152">
                  <a:extLst>
                    <a:ext uri="{FF2B5EF4-FFF2-40B4-BE49-F238E27FC236}">
                      <a16:creationId xmlns:a16="http://schemas.microsoft.com/office/drawing/2014/main" id="{4CDC1B46-D598-43F8-BD9D-C0463D74486D}"/>
                    </a:ext>
                  </a:extLst>
                </p:cNvPr>
                <p:cNvSpPr/>
                <p:nvPr/>
              </p:nvSpPr>
              <p:spPr>
                <a:xfrm flipV="1">
                  <a:off x="2353347" y="1782882"/>
                  <a:ext cx="29766" cy="148401"/>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2" name="Oval 131">
                  <a:extLst>
                    <a:ext uri="{FF2B5EF4-FFF2-40B4-BE49-F238E27FC236}">
                      <a16:creationId xmlns:a16="http://schemas.microsoft.com/office/drawing/2014/main" id="{6DA6AE38-FF3E-4B74-88FD-2B033361602D}"/>
                    </a:ext>
                  </a:extLst>
                </p:cNvPr>
                <p:cNvSpPr/>
                <p:nvPr/>
              </p:nvSpPr>
              <p:spPr>
                <a:xfrm flipV="1">
                  <a:off x="2353347"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3" name="Freeform 154">
                  <a:extLst>
                    <a:ext uri="{FF2B5EF4-FFF2-40B4-BE49-F238E27FC236}">
                      <a16:creationId xmlns:a16="http://schemas.microsoft.com/office/drawing/2014/main" id="{61D00AD2-274D-4648-828D-8752C0B397C7}"/>
                    </a:ext>
                  </a:extLst>
                </p:cNvPr>
                <p:cNvSpPr/>
                <p:nvPr/>
              </p:nvSpPr>
              <p:spPr>
                <a:xfrm flipV="1">
                  <a:off x="2393544" y="1780974"/>
                  <a:ext cx="30118" cy="123553"/>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4" name="Oval 133">
                  <a:extLst>
                    <a:ext uri="{FF2B5EF4-FFF2-40B4-BE49-F238E27FC236}">
                      <a16:creationId xmlns:a16="http://schemas.microsoft.com/office/drawing/2014/main" id="{8808CBDE-F952-4CC1-A251-8F2542FDEB08}"/>
                    </a:ext>
                  </a:extLst>
                </p:cNvPr>
                <p:cNvSpPr/>
                <p:nvPr/>
              </p:nvSpPr>
              <p:spPr>
                <a:xfrm flipV="1">
                  <a:off x="2428419"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5" name="Oval 134">
                  <a:extLst>
                    <a:ext uri="{FF2B5EF4-FFF2-40B4-BE49-F238E27FC236}">
                      <a16:creationId xmlns:a16="http://schemas.microsoft.com/office/drawing/2014/main" id="{A60E9884-28D4-4B09-8BF7-9F88BB9093BE}"/>
                    </a:ext>
                  </a:extLst>
                </p:cNvPr>
                <p:cNvSpPr/>
                <p:nvPr/>
              </p:nvSpPr>
              <p:spPr>
                <a:xfrm flipV="1">
                  <a:off x="2283032"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6" name="Oval 135">
                  <a:extLst>
                    <a:ext uri="{FF2B5EF4-FFF2-40B4-BE49-F238E27FC236}">
                      <a16:creationId xmlns:a16="http://schemas.microsoft.com/office/drawing/2014/main" id="{80FFC94D-47D7-4B8E-840B-914501EF0BA9}"/>
                    </a:ext>
                  </a:extLst>
                </p:cNvPr>
                <p:cNvSpPr/>
                <p:nvPr/>
              </p:nvSpPr>
              <p:spPr>
                <a:xfrm flipV="1">
                  <a:off x="2501431"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7" name="Oval 136">
                  <a:extLst>
                    <a:ext uri="{FF2B5EF4-FFF2-40B4-BE49-F238E27FC236}">
                      <a16:creationId xmlns:a16="http://schemas.microsoft.com/office/drawing/2014/main" id="{10B9EC5C-DF43-4C21-A105-5705F58D11DB}"/>
                    </a:ext>
                  </a:extLst>
                </p:cNvPr>
                <p:cNvSpPr/>
                <p:nvPr/>
              </p:nvSpPr>
              <p:spPr>
                <a:xfrm flipV="1">
                  <a:off x="2576736"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8" name="Oval 137">
                  <a:extLst>
                    <a:ext uri="{FF2B5EF4-FFF2-40B4-BE49-F238E27FC236}">
                      <a16:creationId xmlns:a16="http://schemas.microsoft.com/office/drawing/2014/main" id="{1C2F35AB-D5BE-462A-AF76-E4789B405690}"/>
                    </a:ext>
                  </a:extLst>
                </p:cNvPr>
                <p:cNvSpPr/>
                <p:nvPr/>
              </p:nvSpPr>
              <p:spPr>
                <a:xfrm flipV="1">
                  <a:off x="2647051"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9" name="Freeform 160">
                  <a:extLst>
                    <a:ext uri="{FF2B5EF4-FFF2-40B4-BE49-F238E27FC236}">
                      <a16:creationId xmlns:a16="http://schemas.microsoft.com/office/drawing/2014/main" id="{344A94D5-5EC5-4970-8C47-76C5E4DCB77D}"/>
                    </a:ext>
                  </a:extLst>
                </p:cNvPr>
                <p:cNvSpPr/>
                <p:nvPr/>
              </p:nvSpPr>
              <p:spPr>
                <a:xfrm flipV="1">
                  <a:off x="2288423" y="1782883"/>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0" name="Freeform 161">
                  <a:extLst>
                    <a:ext uri="{FF2B5EF4-FFF2-40B4-BE49-F238E27FC236}">
                      <a16:creationId xmlns:a16="http://schemas.microsoft.com/office/drawing/2014/main" id="{15415D22-85B9-428A-AF06-65802F8F981C}"/>
                    </a:ext>
                  </a:extLst>
                </p:cNvPr>
                <p:cNvSpPr/>
                <p:nvPr/>
              </p:nvSpPr>
              <p:spPr>
                <a:xfrm flipV="1">
                  <a:off x="2326481"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1" name="Freeform 162">
                  <a:extLst>
                    <a:ext uri="{FF2B5EF4-FFF2-40B4-BE49-F238E27FC236}">
                      <a16:creationId xmlns:a16="http://schemas.microsoft.com/office/drawing/2014/main" id="{5BC56105-7B28-4C91-9595-3FD12D3B4C14}"/>
                    </a:ext>
                  </a:extLst>
                </p:cNvPr>
                <p:cNvSpPr/>
                <p:nvPr/>
              </p:nvSpPr>
              <p:spPr>
                <a:xfrm flipV="1">
                  <a:off x="2449345"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2" name="Freeform 163">
                  <a:extLst>
                    <a:ext uri="{FF2B5EF4-FFF2-40B4-BE49-F238E27FC236}">
                      <a16:creationId xmlns:a16="http://schemas.microsoft.com/office/drawing/2014/main" id="{53C180C1-93D1-4EA4-A379-73FF2B111664}"/>
                    </a:ext>
                  </a:extLst>
                </p:cNvPr>
                <p:cNvSpPr/>
                <p:nvPr/>
              </p:nvSpPr>
              <p:spPr>
                <a:xfrm flipV="1">
                  <a:off x="2468967" y="1780973"/>
                  <a:ext cx="29766" cy="1269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3" name="Freeform 164">
                  <a:extLst>
                    <a:ext uri="{FF2B5EF4-FFF2-40B4-BE49-F238E27FC236}">
                      <a16:creationId xmlns:a16="http://schemas.microsoft.com/office/drawing/2014/main" id="{6EA7B201-C593-40A1-BBD5-50A8D1906C03}"/>
                    </a:ext>
                  </a:extLst>
                </p:cNvPr>
                <p:cNvSpPr/>
                <p:nvPr/>
              </p:nvSpPr>
              <p:spPr>
                <a:xfrm flipV="1">
                  <a:off x="2521609" y="1786666"/>
                  <a:ext cx="20685" cy="123553"/>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4" name="Freeform 165">
                  <a:extLst>
                    <a:ext uri="{FF2B5EF4-FFF2-40B4-BE49-F238E27FC236}">
                      <a16:creationId xmlns:a16="http://schemas.microsoft.com/office/drawing/2014/main" id="{2D3F8A37-7628-485A-AD80-A6CB8286FC47}"/>
                    </a:ext>
                  </a:extLst>
                </p:cNvPr>
                <p:cNvSpPr/>
                <p:nvPr/>
              </p:nvSpPr>
              <p:spPr>
                <a:xfrm flipV="1">
                  <a:off x="2543816" y="1780974"/>
                  <a:ext cx="26046" cy="129245"/>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5" name="Freeform 166">
                  <a:extLst>
                    <a:ext uri="{FF2B5EF4-FFF2-40B4-BE49-F238E27FC236}">
                      <a16:creationId xmlns:a16="http://schemas.microsoft.com/office/drawing/2014/main" id="{A89EA9B7-720A-4841-9874-81F92C5CAA68}"/>
                    </a:ext>
                  </a:extLst>
                </p:cNvPr>
                <p:cNvSpPr/>
                <p:nvPr/>
              </p:nvSpPr>
              <p:spPr>
                <a:xfrm flipV="1">
                  <a:off x="2598191"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6" name="Freeform 167">
                  <a:extLst>
                    <a:ext uri="{FF2B5EF4-FFF2-40B4-BE49-F238E27FC236}">
                      <a16:creationId xmlns:a16="http://schemas.microsoft.com/office/drawing/2014/main" id="{71DAE0CA-A03D-45C8-BED4-6076F11EED2A}"/>
                    </a:ext>
                  </a:extLst>
                </p:cNvPr>
                <p:cNvSpPr/>
                <p:nvPr/>
              </p:nvSpPr>
              <p:spPr>
                <a:xfrm flipV="1">
                  <a:off x="2620593" y="1780974"/>
                  <a:ext cx="19844" cy="1269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7" name="Freeform 168">
                  <a:extLst>
                    <a:ext uri="{FF2B5EF4-FFF2-40B4-BE49-F238E27FC236}">
                      <a16:creationId xmlns:a16="http://schemas.microsoft.com/office/drawing/2014/main" id="{A745ADB0-7B0F-4CA2-A01C-A4FFBE630CB1}"/>
                    </a:ext>
                  </a:extLst>
                </p:cNvPr>
                <p:cNvSpPr/>
                <p:nvPr/>
              </p:nvSpPr>
              <p:spPr>
                <a:xfrm flipV="1">
                  <a:off x="2668776" y="1782882"/>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8" name="Freeform 169">
                  <a:extLst>
                    <a:ext uri="{FF2B5EF4-FFF2-40B4-BE49-F238E27FC236}">
                      <a16:creationId xmlns:a16="http://schemas.microsoft.com/office/drawing/2014/main" id="{9CB84EB2-FA2E-452B-9B61-CDB2C0A21A9E}"/>
                    </a:ext>
                  </a:extLst>
                </p:cNvPr>
                <p:cNvSpPr/>
                <p:nvPr/>
              </p:nvSpPr>
              <p:spPr>
                <a:xfrm flipV="1">
                  <a:off x="2687600" y="1780973"/>
                  <a:ext cx="29766" cy="123554"/>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9" name="Oval 148">
                  <a:extLst>
                    <a:ext uri="{FF2B5EF4-FFF2-40B4-BE49-F238E27FC236}">
                      <a16:creationId xmlns:a16="http://schemas.microsoft.com/office/drawing/2014/main" id="{49C34203-D9E5-448D-B6A4-C50D6DD1C98D}"/>
                    </a:ext>
                  </a:extLst>
                </p:cNvPr>
                <p:cNvSpPr/>
                <p:nvPr/>
              </p:nvSpPr>
              <p:spPr>
                <a:xfrm flipV="1">
                  <a:off x="2719480"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0" name="Freeform 171">
                  <a:extLst>
                    <a:ext uri="{FF2B5EF4-FFF2-40B4-BE49-F238E27FC236}">
                      <a16:creationId xmlns:a16="http://schemas.microsoft.com/office/drawing/2014/main" id="{167C700E-503E-400E-B591-3A5C9CCD1DA9}"/>
                    </a:ext>
                  </a:extLst>
                </p:cNvPr>
                <p:cNvSpPr/>
                <p:nvPr/>
              </p:nvSpPr>
              <p:spPr>
                <a:xfrm flipV="1">
                  <a:off x="2724871" y="1782883"/>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1" name="Freeform 172">
                  <a:extLst>
                    <a:ext uri="{FF2B5EF4-FFF2-40B4-BE49-F238E27FC236}">
                      <a16:creationId xmlns:a16="http://schemas.microsoft.com/office/drawing/2014/main" id="{FE10458E-DD0D-4E2E-8EE5-53A46168F861}"/>
                    </a:ext>
                  </a:extLst>
                </p:cNvPr>
                <p:cNvSpPr/>
                <p:nvPr/>
              </p:nvSpPr>
              <p:spPr>
                <a:xfrm flipV="1">
                  <a:off x="2762929"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grpSp>
          <p:cxnSp>
            <p:nvCxnSpPr>
              <p:cNvPr id="25" name="Straight Arrow Connector 24">
                <a:extLst>
                  <a:ext uri="{FF2B5EF4-FFF2-40B4-BE49-F238E27FC236}">
                    <a16:creationId xmlns:a16="http://schemas.microsoft.com/office/drawing/2014/main" id="{5EC8F624-89A4-46E9-BA3C-44F6E14F751E}"/>
                  </a:ext>
                </a:extLst>
              </p:cNvPr>
              <p:cNvCxnSpPr/>
              <p:nvPr/>
            </p:nvCxnSpPr>
            <p:spPr>
              <a:xfrm>
                <a:off x="8050321" y="3914359"/>
                <a:ext cx="0" cy="377867"/>
              </a:xfrm>
              <a:prstGeom prst="straightConnector1">
                <a:avLst/>
              </a:prstGeom>
              <a:ln w="41275" cap="rnd">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0ABF80BA-1298-4079-9C93-8ABEAC7A1E35}"/>
                  </a:ext>
                </a:extLst>
              </p:cNvPr>
              <p:cNvSpPr txBox="1"/>
              <p:nvPr/>
            </p:nvSpPr>
            <p:spPr>
              <a:xfrm>
                <a:off x="7744195" y="2683720"/>
                <a:ext cx="63710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2F2F2">
                        <a:lumMod val="10000"/>
                      </a:srgbClr>
                    </a:solidFill>
                    <a:effectLst/>
                    <a:uLnTx/>
                    <a:uFillTx/>
                    <a:latin typeface="Verdana" panose="020B0604030504040204" pitchFamily="34" charset="0"/>
                    <a:ea typeface="Verdana" panose="020B0604030504040204" pitchFamily="34" charset="0"/>
                    <a:cs typeface="Arial" pitchFamily="34" charset="0"/>
                  </a:rPr>
                  <a:t>BMPs</a:t>
                </a:r>
              </a:p>
            </p:txBody>
          </p:sp>
          <p:sp>
            <p:nvSpPr>
              <p:cNvPr id="27" name="Rectangle 26">
                <a:extLst>
                  <a:ext uri="{FF2B5EF4-FFF2-40B4-BE49-F238E27FC236}">
                    <a16:creationId xmlns:a16="http://schemas.microsoft.com/office/drawing/2014/main" id="{77A08EF9-B343-43D1-8FCC-464934C70EA2}"/>
                  </a:ext>
                </a:extLst>
              </p:cNvPr>
              <p:cNvSpPr/>
              <p:nvPr/>
            </p:nvSpPr>
            <p:spPr>
              <a:xfrm>
                <a:off x="6798166" y="1815927"/>
                <a:ext cx="4472519" cy="46166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B21E6C"/>
                    </a:solidFill>
                    <a:effectLst/>
                    <a:uLnTx/>
                    <a:uFillTx/>
                    <a:latin typeface="Verdana" panose="020B0604030504040204" pitchFamily="34" charset="0"/>
                    <a:ea typeface="Verdana" panose="020B0604030504040204" pitchFamily="34" charset="0"/>
                    <a:cs typeface="+mn-cs"/>
                  </a:rPr>
                  <a:t>Role of TGF-β Receptor S</a:t>
                </a:r>
                <a:r>
                  <a:rPr kumimoji="0" lang="en-GB" sz="1400" b="1" i="0" u="none" strike="noStrike" kern="1200" cap="none" spc="0" normalizeH="0" baseline="0" noProof="0" dirty="0" err="1">
                    <a:ln>
                      <a:noFill/>
                    </a:ln>
                    <a:solidFill>
                      <a:srgbClr val="B21E6C"/>
                    </a:solidFill>
                    <a:effectLst/>
                    <a:uLnTx/>
                    <a:uFillTx/>
                    <a:latin typeface="Verdana" panose="020B0604030504040204" pitchFamily="34" charset="0"/>
                    <a:ea typeface="Verdana" panose="020B0604030504040204" pitchFamily="34" charset="0"/>
                    <a:cs typeface="+mn-cs"/>
                  </a:rPr>
                  <a:t>uperfamily</a:t>
                </a:r>
                <a:r>
                  <a:rPr kumimoji="0" lang="en-GB" sz="1400" b="1" i="0" u="none" strike="noStrike" kern="1200" cap="none" spc="0" normalizeH="0" baseline="0" noProof="0" dirty="0">
                    <a:ln>
                      <a:noFill/>
                    </a:ln>
                    <a:solidFill>
                      <a:srgbClr val="B21E6C"/>
                    </a:solidFill>
                    <a:effectLst/>
                    <a:uLnTx/>
                    <a:uFillTx/>
                    <a:latin typeface="Verdana" panose="020B0604030504040204" pitchFamily="34" charset="0"/>
                    <a:ea typeface="Verdana" panose="020B0604030504040204" pitchFamily="34" charset="0"/>
                    <a:cs typeface="+mn-cs"/>
                  </a:rPr>
                  <a:t> in Pulmonary V</a:t>
                </a:r>
                <a:r>
                  <a:rPr kumimoji="0" lang="en-GB" sz="1400" b="1" i="0" u="none" strike="noStrike" kern="1200" cap="none" spc="0" normalizeH="0" baseline="0" noProof="0" dirty="0" err="1">
                    <a:ln>
                      <a:noFill/>
                    </a:ln>
                    <a:solidFill>
                      <a:srgbClr val="B21E6C"/>
                    </a:solidFill>
                    <a:effectLst/>
                    <a:uLnTx/>
                    <a:uFillTx/>
                    <a:latin typeface="Verdana" panose="020B0604030504040204" pitchFamily="34" charset="0"/>
                    <a:ea typeface="Verdana" panose="020B0604030504040204" pitchFamily="34" charset="0"/>
                    <a:cs typeface="+mn-cs"/>
                  </a:rPr>
                  <a:t>ascular</a:t>
                </a:r>
                <a:r>
                  <a:rPr kumimoji="0" lang="en-GB" sz="1400" b="1" i="0" u="none" strike="noStrike" kern="1200" cap="none" spc="0" normalizeH="0" baseline="0" noProof="0" dirty="0">
                    <a:ln>
                      <a:noFill/>
                    </a:ln>
                    <a:solidFill>
                      <a:srgbClr val="B21E6C"/>
                    </a:solidFill>
                    <a:effectLst/>
                    <a:uLnTx/>
                    <a:uFillTx/>
                    <a:latin typeface="Verdana" panose="020B0604030504040204" pitchFamily="34" charset="0"/>
                    <a:ea typeface="Verdana" panose="020B0604030504040204" pitchFamily="34" charset="0"/>
                    <a:cs typeface="+mn-cs"/>
                  </a:rPr>
                  <a:t> Homeostasis</a:t>
                </a:r>
                <a:r>
                  <a:rPr kumimoji="0" lang="en-GB" sz="1400" b="1" i="0" u="none" strike="noStrike" kern="1200" cap="none" spc="0" normalizeH="0" baseline="30000" noProof="0" dirty="0">
                    <a:ln>
                      <a:noFill/>
                    </a:ln>
                    <a:solidFill>
                      <a:srgbClr val="B21E6C"/>
                    </a:solidFill>
                    <a:effectLst/>
                    <a:uLnTx/>
                    <a:uFillTx/>
                    <a:latin typeface="Verdana" panose="020B0604030504040204" pitchFamily="34" charset="0"/>
                    <a:ea typeface="Verdana" panose="020B0604030504040204" pitchFamily="34" charset="0"/>
                    <a:cs typeface="+mn-cs"/>
                  </a:rPr>
                  <a:t>1</a:t>
                </a:r>
              </a:p>
            </p:txBody>
          </p:sp>
          <p:grpSp>
            <p:nvGrpSpPr>
              <p:cNvPr id="28" name="Group 27">
                <a:extLst>
                  <a:ext uri="{FF2B5EF4-FFF2-40B4-BE49-F238E27FC236}">
                    <a16:creationId xmlns:a16="http://schemas.microsoft.com/office/drawing/2014/main" id="{85C11156-B69A-4C90-A9E9-A25725D72618}"/>
                  </a:ext>
                </a:extLst>
              </p:cNvPr>
              <p:cNvGrpSpPr/>
              <p:nvPr/>
            </p:nvGrpSpPr>
            <p:grpSpPr>
              <a:xfrm>
                <a:off x="7776679" y="3118249"/>
                <a:ext cx="224518" cy="712181"/>
                <a:chOff x="7177855" y="2702477"/>
                <a:chExt cx="192512" cy="610656"/>
              </a:xfrm>
              <a:solidFill>
                <a:srgbClr val="0070C0"/>
              </a:solidFill>
            </p:grpSpPr>
            <p:sp>
              <p:nvSpPr>
                <p:cNvPr id="67" name="Can 583">
                  <a:extLst>
                    <a:ext uri="{FF2B5EF4-FFF2-40B4-BE49-F238E27FC236}">
                      <a16:creationId xmlns:a16="http://schemas.microsoft.com/office/drawing/2014/main" id="{67DB1D16-72A5-4E3A-8FBA-B070D3D843AB}"/>
                    </a:ext>
                  </a:extLst>
                </p:cNvPr>
                <p:cNvSpPr/>
                <p:nvPr/>
              </p:nvSpPr>
              <p:spPr>
                <a:xfrm>
                  <a:off x="7295740" y="2931487"/>
                  <a:ext cx="74627" cy="381520"/>
                </a:xfrm>
                <a:prstGeom prst="can">
                  <a:avLst/>
                </a:prstGeom>
                <a:grpFill/>
                <a:ln>
                  <a:solidFill>
                    <a:srgbClr val="0034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68" name="Can 584">
                  <a:extLst>
                    <a:ext uri="{FF2B5EF4-FFF2-40B4-BE49-F238E27FC236}">
                      <a16:creationId xmlns:a16="http://schemas.microsoft.com/office/drawing/2014/main" id="{78AB9CCB-3AD5-4822-A99B-97BD31F9BC1C}"/>
                    </a:ext>
                  </a:extLst>
                </p:cNvPr>
                <p:cNvSpPr/>
                <p:nvPr/>
              </p:nvSpPr>
              <p:spPr>
                <a:xfrm>
                  <a:off x="7295740" y="2931488"/>
                  <a:ext cx="74627" cy="230591"/>
                </a:xfrm>
                <a:prstGeom prst="can">
                  <a:avLst/>
                </a:prstGeom>
                <a:grpFill/>
                <a:ln>
                  <a:solidFill>
                    <a:srgbClr val="0034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69" name="Can 587">
                  <a:extLst>
                    <a:ext uri="{FF2B5EF4-FFF2-40B4-BE49-F238E27FC236}">
                      <a16:creationId xmlns:a16="http://schemas.microsoft.com/office/drawing/2014/main" id="{DD493412-FC8D-46A4-9774-6C96E8135C29}"/>
                    </a:ext>
                  </a:extLst>
                </p:cNvPr>
                <p:cNvSpPr/>
                <p:nvPr/>
              </p:nvSpPr>
              <p:spPr>
                <a:xfrm>
                  <a:off x="7177855" y="2718086"/>
                  <a:ext cx="74627" cy="595047"/>
                </a:xfrm>
                <a:prstGeom prst="can">
                  <a:avLst/>
                </a:prstGeom>
                <a:grpFill/>
                <a:ln>
                  <a:solidFill>
                    <a:srgbClr val="0034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70" name="Can 588">
                  <a:extLst>
                    <a:ext uri="{FF2B5EF4-FFF2-40B4-BE49-F238E27FC236}">
                      <a16:creationId xmlns:a16="http://schemas.microsoft.com/office/drawing/2014/main" id="{AADBD5E5-CE92-4499-8903-398D48F7AE3A}"/>
                    </a:ext>
                  </a:extLst>
                </p:cNvPr>
                <p:cNvSpPr/>
                <p:nvPr/>
              </p:nvSpPr>
              <p:spPr>
                <a:xfrm>
                  <a:off x="7177855" y="2705740"/>
                  <a:ext cx="74627" cy="482889"/>
                </a:xfrm>
                <a:prstGeom prst="can">
                  <a:avLst/>
                </a:prstGeom>
                <a:grpFill/>
                <a:ln>
                  <a:solidFill>
                    <a:srgbClr val="0034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71" name="Can 589">
                  <a:extLst>
                    <a:ext uri="{FF2B5EF4-FFF2-40B4-BE49-F238E27FC236}">
                      <a16:creationId xmlns:a16="http://schemas.microsoft.com/office/drawing/2014/main" id="{1C2B3D6E-3049-46EF-8581-A89A4514BE7F}"/>
                    </a:ext>
                  </a:extLst>
                </p:cNvPr>
                <p:cNvSpPr/>
                <p:nvPr/>
              </p:nvSpPr>
              <p:spPr>
                <a:xfrm>
                  <a:off x="7177855" y="2702477"/>
                  <a:ext cx="74627" cy="351033"/>
                </a:xfrm>
                <a:prstGeom prst="can">
                  <a:avLst/>
                </a:prstGeom>
                <a:grpFill/>
                <a:ln>
                  <a:solidFill>
                    <a:srgbClr val="0034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72" name="Can 590">
                  <a:extLst>
                    <a:ext uri="{FF2B5EF4-FFF2-40B4-BE49-F238E27FC236}">
                      <a16:creationId xmlns:a16="http://schemas.microsoft.com/office/drawing/2014/main" id="{1BE27AD7-D73F-4347-9651-5E1267B80A07}"/>
                    </a:ext>
                  </a:extLst>
                </p:cNvPr>
                <p:cNvSpPr/>
                <p:nvPr/>
              </p:nvSpPr>
              <p:spPr>
                <a:xfrm>
                  <a:off x="7177855" y="2711386"/>
                  <a:ext cx="74627" cy="206444"/>
                </a:xfrm>
                <a:prstGeom prst="can">
                  <a:avLst/>
                </a:prstGeom>
                <a:grpFill/>
                <a:ln>
                  <a:solidFill>
                    <a:srgbClr val="0034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grpSp>
            <p:nvGrpSpPr>
              <p:cNvPr id="29" name="Group 28">
                <a:extLst>
                  <a:ext uri="{FF2B5EF4-FFF2-40B4-BE49-F238E27FC236}">
                    <a16:creationId xmlns:a16="http://schemas.microsoft.com/office/drawing/2014/main" id="{A54D5AA9-A055-4D45-A660-67D4F7314291}"/>
                  </a:ext>
                </a:extLst>
              </p:cNvPr>
              <p:cNvGrpSpPr/>
              <p:nvPr/>
            </p:nvGrpSpPr>
            <p:grpSpPr>
              <a:xfrm flipH="1">
                <a:off x="8108963" y="3118249"/>
                <a:ext cx="224518" cy="712181"/>
                <a:chOff x="7177855" y="2702477"/>
                <a:chExt cx="192512" cy="610656"/>
              </a:xfrm>
              <a:solidFill>
                <a:schemeClr val="tx1">
                  <a:lumMod val="50000"/>
                  <a:lumOff val="50000"/>
                </a:schemeClr>
              </a:solidFill>
            </p:grpSpPr>
            <p:sp>
              <p:nvSpPr>
                <p:cNvPr id="61" name="Can 583">
                  <a:extLst>
                    <a:ext uri="{FF2B5EF4-FFF2-40B4-BE49-F238E27FC236}">
                      <a16:creationId xmlns:a16="http://schemas.microsoft.com/office/drawing/2014/main" id="{606F7EA9-DF71-4718-856E-1AB5961C5E4C}"/>
                    </a:ext>
                  </a:extLst>
                </p:cNvPr>
                <p:cNvSpPr/>
                <p:nvPr/>
              </p:nvSpPr>
              <p:spPr>
                <a:xfrm>
                  <a:off x="7295740" y="2931487"/>
                  <a:ext cx="74627" cy="381520"/>
                </a:xfrm>
                <a:prstGeom prst="can">
                  <a:avLst/>
                </a:prstGeom>
                <a:grp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62" name="Can 584">
                  <a:extLst>
                    <a:ext uri="{FF2B5EF4-FFF2-40B4-BE49-F238E27FC236}">
                      <a16:creationId xmlns:a16="http://schemas.microsoft.com/office/drawing/2014/main" id="{0A6397C6-8ED0-4470-96AE-2AAE78345C94}"/>
                    </a:ext>
                  </a:extLst>
                </p:cNvPr>
                <p:cNvSpPr/>
                <p:nvPr/>
              </p:nvSpPr>
              <p:spPr>
                <a:xfrm>
                  <a:off x="7295740" y="2931488"/>
                  <a:ext cx="74627" cy="230591"/>
                </a:xfrm>
                <a:prstGeom prst="can">
                  <a:avLst/>
                </a:prstGeom>
                <a:grp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63" name="Can 587">
                  <a:extLst>
                    <a:ext uri="{FF2B5EF4-FFF2-40B4-BE49-F238E27FC236}">
                      <a16:creationId xmlns:a16="http://schemas.microsoft.com/office/drawing/2014/main" id="{898950BE-DE64-4649-9146-E3454C51021C}"/>
                    </a:ext>
                  </a:extLst>
                </p:cNvPr>
                <p:cNvSpPr/>
                <p:nvPr/>
              </p:nvSpPr>
              <p:spPr>
                <a:xfrm>
                  <a:off x="7177855" y="2718086"/>
                  <a:ext cx="74627" cy="595047"/>
                </a:xfrm>
                <a:prstGeom prst="can">
                  <a:avLst/>
                </a:prstGeom>
                <a:grp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64" name="Can 588">
                  <a:extLst>
                    <a:ext uri="{FF2B5EF4-FFF2-40B4-BE49-F238E27FC236}">
                      <a16:creationId xmlns:a16="http://schemas.microsoft.com/office/drawing/2014/main" id="{F4376FF0-7D1F-4BCB-BB90-71598C28305E}"/>
                    </a:ext>
                  </a:extLst>
                </p:cNvPr>
                <p:cNvSpPr/>
                <p:nvPr/>
              </p:nvSpPr>
              <p:spPr>
                <a:xfrm>
                  <a:off x="7177855" y="2705740"/>
                  <a:ext cx="74627" cy="482889"/>
                </a:xfrm>
                <a:prstGeom prst="can">
                  <a:avLst/>
                </a:prstGeom>
                <a:grp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65" name="Can 589">
                  <a:extLst>
                    <a:ext uri="{FF2B5EF4-FFF2-40B4-BE49-F238E27FC236}">
                      <a16:creationId xmlns:a16="http://schemas.microsoft.com/office/drawing/2014/main" id="{25A380E0-0FC7-4198-BC61-0BB546E83BDF}"/>
                    </a:ext>
                  </a:extLst>
                </p:cNvPr>
                <p:cNvSpPr/>
                <p:nvPr/>
              </p:nvSpPr>
              <p:spPr>
                <a:xfrm>
                  <a:off x="7177855" y="2702477"/>
                  <a:ext cx="74627" cy="351033"/>
                </a:xfrm>
                <a:prstGeom prst="can">
                  <a:avLst/>
                </a:prstGeom>
                <a:grp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66" name="Can 590">
                  <a:extLst>
                    <a:ext uri="{FF2B5EF4-FFF2-40B4-BE49-F238E27FC236}">
                      <a16:creationId xmlns:a16="http://schemas.microsoft.com/office/drawing/2014/main" id="{D832724D-41D0-4271-BEB8-61AE7FFCF9CC}"/>
                    </a:ext>
                  </a:extLst>
                </p:cNvPr>
                <p:cNvSpPr/>
                <p:nvPr/>
              </p:nvSpPr>
              <p:spPr>
                <a:xfrm>
                  <a:off x="7177855" y="2711386"/>
                  <a:ext cx="74627" cy="206444"/>
                </a:xfrm>
                <a:prstGeom prst="can">
                  <a:avLst/>
                </a:prstGeom>
                <a:grp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grpSp>
            <p:nvGrpSpPr>
              <p:cNvPr id="30" name="Group 29">
                <a:extLst>
                  <a:ext uri="{FF2B5EF4-FFF2-40B4-BE49-F238E27FC236}">
                    <a16:creationId xmlns:a16="http://schemas.microsoft.com/office/drawing/2014/main" id="{BBD4734C-952A-41E2-BAF7-2DF5EAB898A4}"/>
                  </a:ext>
                </a:extLst>
              </p:cNvPr>
              <p:cNvGrpSpPr/>
              <p:nvPr/>
            </p:nvGrpSpPr>
            <p:grpSpPr>
              <a:xfrm>
                <a:off x="9871617" y="3118249"/>
                <a:ext cx="224518" cy="712181"/>
                <a:chOff x="7177855" y="2702477"/>
                <a:chExt cx="192512" cy="610656"/>
              </a:xfrm>
              <a:solidFill>
                <a:schemeClr val="accent3"/>
              </a:solidFill>
            </p:grpSpPr>
            <p:sp>
              <p:nvSpPr>
                <p:cNvPr id="55" name="Can 583">
                  <a:extLst>
                    <a:ext uri="{FF2B5EF4-FFF2-40B4-BE49-F238E27FC236}">
                      <a16:creationId xmlns:a16="http://schemas.microsoft.com/office/drawing/2014/main" id="{6B2C653B-0224-4E8E-ACCA-32718BFA692E}"/>
                    </a:ext>
                  </a:extLst>
                </p:cNvPr>
                <p:cNvSpPr/>
                <p:nvPr/>
              </p:nvSpPr>
              <p:spPr>
                <a:xfrm>
                  <a:off x="7295740" y="2931487"/>
                  <a:ext cx="74627" cy="381520"/>
                </a:xfrm>
                <a:prstGeom prst="can">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56" name="Can 584">
                  <a:extLst>
                    <a:ext uri="{FF2B5EF4-FFF2-40B4-BE49-F238E27FC236}">
                      <a16:creationId xmlns:a16="http://schemas.microsoft.com/office/drawing/2014/main" id="{BACF341C-9EDD-4387-B6F6-7DD73F7CFC40}"/>
                    </a:ext>
                  </a:extLst>
                </p:cNvPr>
                <p:cNvSpPr/>
                <p:nvPr/>
              </p:nvSpPr>
              <p:spPr>
                <a:xfrm>
                  <a:off x="7295740" y="2931488"/>
                  <a:ext cx="74627" cy="230591"/>
                </a:xfrm>
                <a:prstGeom prst="can">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57" name="Can 587">
                  <a:extLst>
                    <a:ext uri="{FF2B5EF4-FFF2-40B4-BE49-F238E27FC236}">
                      <a16:creationId xmlns:a16="http://schemas.microsoft.com/office/drawing/2014/main" id="{29DCCF58-E808-4A4F-9C07-1B449A98981F}"/>
                    </a:ext>
                  </a:extLst>
                </p:cNvPr>
                <p:cNvSpPr/>
                <p:nvPr/>
              </p:nvSpPr>
              <p:spPr>
                <a:xfrm>
                  <a:off x="7177855" y="2718086"/>
                  <a:ext cx="74627" cy="595047"/>
                </a:xfrm>
                <a:prstGeom prst="can">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58" name="Can 588">
                  <a:extLst>
                    <a:ext uri="{FF2B5EF4-FFF2-40B4-BE49-F238E27FC236}">
                      <a16:creationId xmlns:a16="http://schemas.microsoft.com/office/drawing/2014/main" id="{3E14E465-0591-4470-B45E-0025F260142C}"/>
                    </a:ext>
                  </a:extLst>
                </p:cNvPr>
                <p:cNvSpPr/>
                <p:nvPr/>
              </p:nvSpPr>
              <p:spPr>
                <a:xfrm>
                  <a:off x="7177855" y="2705740"/>
                  <a:ext cx="74627" cy="482889"/>
                </a:xfrm>
                <a:prstGeom prst="can">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59" name="Can 589">
                  <a:extLst>
                    <a:ext uri="{FF2B5EF4-FFF2-40B4-BE49-F238E27FC236}">
                      <a16:creationId xmlns:a16="http://schemas.microsoft.com/office/drawing/2014/main" id="{1A986C38-E7E1-4E53-AD6F-23FAB043D612}"/>
                    </a:ext>
                  </a:extLst>
                </p:cNvPr>
                <p:cNvSpPr/>
                <p:nvPr/>
              </p:nvSpPr>
              <p:spPr>
                <a:xfrm>
                  <a:off x="7177855" y="2702477"/>
                  <a:ext cx="74627" cy="351033"/>
                </a:xfrm>
                <a:prstGeom prst="can">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60" name="Can 590">
                  <a:extLst>
                    <a:ext uri="{FF2B5EF4-FFF2-40B4-BE49-F238E27FC236}">
                      <a16:creationId xmlns:a16="http://schemas.microsoft.com/office/drawing/2014/main" id="{28CDABEE-CDAD-4587-BA3D-6BED529A525C}"/>
                    </a:ext>
                  </a:extLst>
                </p:cNvPr>
                <p:cNvSpPr/>
                <p:nvPr/>
              </p:nvSpPr>
              <p:spPr>
                <a:xfrm>
                  <a:off x="7177855" y="2711386"/>
                  <a:ext cx="74627" cy="206444"/>
                </a:xfrm>
                <a:prstGeom prst="can">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grpSp>
            <p:nvGrpSpPr>
              <p:cNvPr id="31" name="Group 30">
                <a:extLst>
                  <a:ext uri="{FF2B5EF4-FFF2-40B4-BE49-F238E27FC236}">
                    <a16:creationId xmlns:a16="http://schemas.microsoft.com/office/drawing/2014/main" id="{FFDA659C-E46D-4E44-B7F9-173A089E1396}"/>
                  </a:ext>
                </a:extLst>
              </p:cNvPr>
              <p:cNvGrpSpPr/>
              <p:nvPr/>
            </p:nvGrpSpPr>
            <p:grpSpPr>
              <a:xfrm flipH="1">
                <a:off x="10203901" y="3118249"/>
                <a:ext cx="224518" cy="712181"/>
                <a:chOff x="7177855" y="2702477"/>
                <a:chExt cx="192512" cy="610656"/>
              </a:xfrm>
              <a:solidFill>
                <a:schemeClr val="accent6"/>
              </a:solidFill>
            </p:grpSpPr>
            <p:sp>
              <p:nvSpPr>
                <p:cNvPr id="49" name="Can 583">
                  <a:extLst>
                    <a:ext uri="{FF2B5EF4-FFF2-40B4-BE49-F238E27FC236}">
                      <a16:creationId xmlns:a16="http://schemas.microsoft.com/office/drawing/2014/main" id="{A6F93CFE-210A-4FF9-9D3B-B45C85E6AA32}"/>
                    </a:ext>
                  </a:extLst>
                </p:cNvPr>
                <p:cNvSpPr/>
                <p:nvPr/>
              </p:nvSpPr>
              <p:spPr>
                <a:xfrm>
                  <a:off x="7295740" y="2931487"/>
                  <a:ext cx="74627" cy="381520"/>
                </a:xfrm>
                <a:prstGeom prst="can">
                  <a:avLst/>
                </a:prstGeom>
                <a:grp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50" name="Can 584">
                  <a:extLst>
                    <a:ext uri="{FF2B5EF4-FFF2-40B4-BE49-F238E27FC236}">
                      <a16:creationId xmlns:a16="http://schemas.microsoft.com/office/drawing/2014/main" id="{6DC720B4-DAC9-4CEC-927B-C8D42D2CC4AE}"/>
                    </a:ext>
                  </a:extLst>
                </p:cNvPr>
                <p:cNvSpPr/>
                <p:nvPr/>
              </p:nvSpPr>
              <p:spPr>
                <a:xfrm>
                  <a:off x="7295740" y="2931488"/>
                  <a:ext cx="74627" cy="230591"/>
                </a:xfrm>
                <a:prstGeom prst="can">
                  <a:avLst/>
                </a:prstGeom>
                <a:grp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51" name="Can 587">
                  <a:extLst>
                    <a:ext uri="{FF2B5EF4-FFF2-40B4-BE49-F238E27FC236}">
                      <a16:creationId xmlns:a16="http://schemas.microsoft.com/office/drawing/2014/main" id="{9E810C9E-9F88-4A2A-BA06-141EE43539BF}"/>
                    </a:ext>
                  </a:extLst>
                </p:cNvPr>
                <p:cNvSpPr/>
                <p:nvPr/>
              </p:nvSpPr>
              <p:spPr>
                <a:xfrm>
                  <a:off x="7177855" y="2718086"/>
                  <a:ext cx="74627" cy="595047"/>
                </a:xfrm>
                <a:prstGeom prst="can">
                  <a:avLst/>
                </a:prstGeom>
                <a:grp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52" name="Can 588">
                  <a:extLst>
                    <a:ext uri="{FF2B5EF4-FFF2-40B4-BE49-F238E27FC236}">
                      <a16:creationId xmlns:a16="http://schemas.microsoft.com/office/drawing/2014/main" id="{2704E3E0-8899-4755-A7D0-18CB5C816BF8}"/>
                    </a:ext>
                  </a:extLst>
                </p:cNvPr>
                <p:cNvSpPr/>
                <p:nvPr/>
              </p:nvSpPr>
              <p:spPr>
                <a:xfrm>
                  <a:off x="7177855" y="2705740"/>
                  <a:ext cx="74627" cy="482889"/>
                </a:xfrm>
                <a:prstGeom prst="can">
                  <a:avLst/>
                </a:prstGeom>
                <a:grp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53" name="Can 589">
                  <a:extLst>
                    <a:ext uri="{FF2B5EF4-FFF2-40B4-BE49-F238E27FC236}">
                      <a16:creationId xmlns:a16="http://schemas.microsoft.com/office/drawing/2014/main" id="{E4528DB7-FA2E-4519-BDA8-C1A115BCA5A4}"/>
                    </a:ext>
                  </a:extLst>
                </p:cNvPr>
                <p:cNvSpPr/>
                <p:nvPr/>
              </p:nvSpPr>
              <p:spPr>
                <a:xfrm>
                  <a:off x="7177855" y="2702477"/>
                  <a:ext cx="74627" cy="351033"/>
                </a:xfrm>
                <a:prstGeom prst="can">
                  <a:avLst/>
                </a:prstGeom>
                <a:grp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54" name="Can 590">
                  <a:extLst>
                    <a:ext uri="{FF2B5EF4-FFF2-40B4-BE49-F238E27FC236}">
                      <a16:creationId xmlns:a16="http://schemas.microsoft.com/office/drawing/2014/main" id="{FB9AF3C4-A0DC-4DA9-B696-6DBCE6EC6F1C}"/>
                    </a:ext>
                  </a:extLst>
                </p:cNvPr>
                <p:cNvSpPr/>
                <p:nvPr/>
              </p:nvSpPr>
              <p:spPr>
                <a:xfrm>
                  <a:off x="7177855" y="2711386"/>
                  <a:ext cx="74627" cy="206444"/>
                </a:xfrm>
                <a:prstGeom prst="can">
                  <a:avLst/>
                </a:prstGeom>
                <a:grp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sp>
            <p:nvSpPr>
              <p:cNvPr id="32" name="Rectangle: Rounded Corners 31">
                <a:extLst>
                  <a:ext uri="{FF2B5EF4-FFF2-40B4-BE49-F238E27FC236}">
                    <a16:creationId xmlns:a16="http://schemas.microsoft.com/office/drawing/2014/main" id="{7C849EDB-CE65-417F-ADF7-4AF62F27F110}"/>
                  </a:ext>
                </a:extLst>
              </p:cNvPr>
              <p:cNvSpPr/>
              <p:nvPr/>
            </p:nvSpPr>
            <p:spPr bwMode="auto">
              <a:xfrm>
                <a:off x="7504072" y="4351657"/>
                <a:ext cx="1114201" cy="347477"/>
              </a:xfrm>
              <a:prstGeom prst="roundRect">
                <a:avLst>
                  <a:gd name="adj" fmla="val 50000"/>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rPr>
                  <a:t>pSMAD1/5/8</a:t>
                </a:r>
              </a:p>
            </p:txBody>
          </p:sp>
          <p:sp>
            <p:nvSpPr>
              <p:cNvPr id="33" name="Rectangle: Rounded Corners 32">
                <a:extLst>
                  <a:ext uri="{FF2B5EF4-FFF2-40B4-BE49-F238E27FC236}">
                    <a16:creationId xmlns:a16="http://schemas.microsoft.com/office/drawing/2014/main" id="{2DDCBD4D-6CC3-4CB2-B135-38E370B8342E}"/>
                  </a:ext>
                </a:extLst>
              </p:cNvPr>
              <p:cNvSpPr/>
              <p:nvPr/>
            </p:nvSpPr>
            <p:spPr bwMode="auto">
              <a:xfrm>
                <a:off x="9599931" y="4351657"/>
                <a:ext cx="1114201" cy="347477"/>
              </a:xfrm>
              <a:prstGeom prst="roundRect">
                <a:avLst>
                  <a:gd name="adj" fmla="val 50000"/>
                </a:avLst>
              </a:prstGeom>
              <a:solidFill>
                <a:srgbClr val="C00000"/>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rPr>
                  <a:t>pSMAD2/3</a:t>
                </a:r>
              </a:p>
            </p:txBody>
          </p:sp>
          <p:sp>
            <p:nvSpPr>
              <p:cNvPr id="34" name="Rectangle: Rounded Corners 33">
                <a:extLst>
                  <a:ext uri="{FF2B5EF4-FFF2-40B4-BE49-F238E27FC236}">
                    <a16:creationId xmlns:a16="http://schemas.microsoft.com/office/drawing/2014/main" id="{41C06983-58A1-44B0-81AF-126F794E4F94}"/>
                  </a:ext>
                </a:extLst>
              </p:cNvPr>
              <p:cNvSpPr/>
              <p:nvPr/>
            </p:nvSpPr>
            <p:spPr bwMode="auto">
              <a:xfrm>
                <a:off x="8661381" y="4351657"/>
                <a:ext cx="911046" cy="347477"/>
              </a:xfrm>
              <a:prstGeom prst="roundRect">
                <a:avLst>
                  <a:gd name="adj" fmla="val 50000"/>
                </a:avLst>
              </a:prstGeom>
              <a:solidFill>
                <a:srgbClr val="FFC000"/>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itchFamily="34" charset="0"/>
                  </a:rPr>
                  <a:t>SMAD4</a:t>
                </a:r>
              </a:p>
            </p:txBody>
          </p:sp>
          <p:sp>
            <p:nvSpPr>
              <p:cNvPr id="35" name="Rectangle: Rounded Corners 34">
                <a:extLst>
                  <a:ext uri="{FF2B5EF4-FFF2-40B4-BE49-F238E27FC236}">
                    <a16:creationId xmlns:a16="http://schemas.microsoft.com/office/drawing/2014/main" id="{50B06599-EAD1-466E-8845-FDA79C59ECB2}"/>
                  </a:ext>
                </a:extLst>
              </p:cNvPr>
              <p:cNvSpPr/>
              <p:nvPr/>
            </p:nvSpPr>
            <p:spPr bwMode="auto">
              <a:xfrm>
                <a:off x="7944450" y="2995807"/>
                <a:ext cx="194455" cy="194455"/>
              </a:xfrm>
              <a:prstGeom prst="roundRect">
                <a:avLst/>
              </a:prstGeom>
              <a:solidFill>
                <a:schemeClr val="accent4"/>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36" name="Rectangle: Rounded Corners 35">
                <a:extLst>
                  <a:ext uri="{FF2B5EF4-FFF2-40B4-BE49-F238E27FC236}">
                    <a16:creationId xmlns:a16="http://schemas.microsoft.com/office/drawing/2014/main" id="{BE76376D-A477-4DF5-BBE3-6DFEDED3405F}"/>
                  </a:ext>
                </a:extLst>
              </p:cNvPr>
              <p:cNvSpPr/>
              <p:nvPr/>
            </p:nvSpPr>
            <p:spPr bwMode="auto">
              <a:xfrm>
                <a:off x="8302862" y="2576150"/>
                <a:ext cx="194455" cy="194455"/>
              </a:xfrm>
              <a:prstGeom prst="roundRect">
                <a:avLst/>
              </a:prstGeom>
              <a:solidFill>
                <a:schemeClr val="accent4"/>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37" name="TextBox 36">
                <a:extLst>
                  <a:ext uri="{FF2B5EF4-FFF2-40B4-BE49-F238E27FC236}">
                    <a16:creationId xmlns:a16="http://schemas.microsoft.com/office/drawing/2014/main" id="{6BB1FE37-B62F-4FCD-9227-243D7C898C0E}"/>
                  </a:ext>
                </a:extLst>
              </p:cNvPr>
              <p:cNvSpPr txBox="1"/>
              <p:nvPr/>
            </p:nvSpPr>
            <p:spPr>
              <a:xfrm>
                <a:off x="9659764" y="2599082"/>
                <a:ext cx="967882"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2F2F2">
                        <a:lumMod val="10000"/>
                      </a:srgbClr>
                    </a:solidFill>
                    <a:effectLst/>
                    <a:uLnTx/>
                    <a:uFillTx/>
                    <a:latin typeface="Verdana" panose="020B0604030504040204" pitchFamily="34" charset="0"/>
                    <a:ea typeface="Verdana" panose="020B0604030504040204" pitchFamily="34" charset="0"/>
                    <a:cs typeface="Arial" pitchFamily="34" charset="0"/>
                  </a:rPr>
                  <a:t>Activins </a:t>
                </a:r>
                <a:br>
                  <a:rPr kumimoji="0" lang="en-GB" sz="1100" b="1" i="0" u="none" strike="noStrike" kern="1200" cap="none" spc="0" normalizeH="0" baseline="0" noProof="0">
                    <a:ln>
                      <a:noFill/>
                    </a:ln>
                    <a:solidFill>
                      <a:srgbClr val="F2F2F2">
                        <a:lumMod val="10000"/>
                      </a:srgbClr>
                    </a:solidFill>
                    <a:effectLst/>
                    <a:uLnTx/>
                    <a:uFillTx/>
                    <a:latin typeface="Verdana" panose="020B0604030504040204" pitchFamily="34" charset="0"/>
                    <a:ea typeface="Verdana" panose="020B0604030504040204" pitchFamily="34" charset="0"/>
                    <a:cs typeface="Arial" pitchFamily="34" charset="0"/>
                  </a:rPr>
                </a:br>
                <a:r>
                  <a:rPr kumimoji="0" lang="en-GB" sz="1100" b="1" i="0" u="none" strike="noStrike" kern="1200" cap="none" spc="0" normalizeH="0" baseline="0" noProof="0">
                    <a:ln>
                      <a:noFill/>
                    </a:ln>
                    <a:solidFill>
                      <a:srgbClr val="F2F2F2">
                        <a:lumMod val="10000"/>
                      </a:srgbClr>
                    </a:solidFill>
                    <a:effectLst/>
                    <a:uLnTx/>
                    <a:uFillTx/>
                    <a:latin typeface="Verdana" panose="020B0604030504040204" pitchFamily="34" charset="0"/>
                    <a:ea typeface="Verdana" panose="020B0604030504040204" pitchFamily="34" charset="0"/>
                    <a:cs typeface="Arial" pitchFamily="34" charset="0"/>
                  </a:rPr>
                  <a:t>and GDFs</a:t>
                </a:r>
              </a:p>
            </p:txBody>
          </p:sp>
          <p:sp>
            <p:nvSpPr>
              <p:cNvPr id="38" name="Rectangle: Rounded Corners 37">
                <a:extLst>
                  <a:ext uri="{FF2B5EF4-FFF2-40B4-BE49-F238E27FC236}">
                    <a16:creationId xmlns:a16="http://schemas.microsoft.com/office/drawing/2014/main" id="{0A3B44C3-4FF0-4B2B-9759-33EBC9422B9E}"/>
                  </a:ext>
                </a:extLst>
              </p:cNvPr>
              <p:cNvSpPr/>
              <p:nvPr/>
            </p:nvSpPr>
            <p:spPr bwMode="auto">
              <a:xfrm>
                <a:off x="10055013" y="3033634"/>
                <a:ext cx="194455" cy="194455"/>
              </a:xfrm>
              <a:prstGeom prst="roundRect">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39" name="Rectangle: Rounded Corners 38">
                <a:extLst>
                  <a:ext uri="{FF2B5EF4-FFF2-40B4-BE49-F238E27FC236}">
                    <a16:creationId xmlns:a16="http://schemas.microsoft.com/office/drawing/2014/main" id="{E27E9824-9968-44D2-9FEB-1A341E21438C}"/>
                  </a:ext>
                </a:extLst>
              </p:cNvPr>
              <p:cNvSpPr/>
              <p:nvPr/>
            </p:nvSpPr>
            <p:spPr bwMode="auto">
              <a:xfrm>
                <a:off x="10575511" y="2594342"/>
                <a:ext cx="194455" cy="194455"/>
              </a:xfrm>
              <a:prstGeom prst="roundRect">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0" name="Rectangle: Rounded Corners 39">
                <a:extLst>
                  <a:ext uri="{FF2B5EF4-FFF2-40B4-BE49-F238E27FC236}">
                    <a16:creationId xmlns:a16="http://schemas.microsoft.com/office/drawing/2014/main" id="{EA0EF048-FCC4-4820-B580-17F511B8BDC5}"/>
                  </a:ext>
                </a:extLst>
              </p:cNvPr>
              <p:cNvSpPr/>
              <p:nvPr/>
            </p:nvSpPr>
            <p:spPr bwMode="auto">
              <a:xfrm>
                <a:off x="7528769" y="4944066"/>
                <a:ext cx="1784069" cy="232675"/>
              </a:xfrm>
              <a:prstGeom prst="roundRect">
                <a:avLst/>
              </a:prstGeom>
              <a:solidFill>
                <a:schemeClr val="accent3">
                  <a:lumMod val="20000"/>
                  <a:lumOff val="80000"/>
                </a:schemeClr>
              </a:solidFill>
              <a:ln w="12700" cap="flat" cmpd="sng" algn="ctr">
                <a:solidFill>
                  <a:srgbClr val="000000"/>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Gremlin-1 and Noggin</a:t>
                </a:r>
              </a:p>
            </p:txBody>
          </p:sp>
          <p:sp>
            <p:nvSpPr>
              <p:cNvPr id="41" name="Freeform: Shape 40">
                <a:extLst>
                  <a:ext uri="{FF2B5EF4-FFF2-40B4-BE49-F238E27FC236}">
                    <a16:creationId xmlns:a16="http://schemas.microsoft.com/office/drawing/2014/main" id="{8149BA9A-F3E1-4058-8FAB-B4D8555F8E0D}"/>
                  </a:ext>
                </a:extLst>
              </p:cNvPr>
              <p:cNvSpPr/>
              <p:nvPr/>
            </p:nvSpPr>
            <p:spPr bwMode="auto">
              <a:xfrm>
                <a:off x="9355751" y="4792867"/>
                <a:ext cx="799293" cy="273920"/>
              </a:xfrm>
              <a:custGeom>
                <a:avLst/>
                <a:gdLst>
                  <a:gd name="connsiteX0" fmla="*/ 1033669 w 1033669"/>
                  <a:gd name="connsiteY0" fmla="*/ 0 h 612251"/>
                  <a:gd name="connsiteX1" fmla="*/ 1033669 w 1033669"/>
                  <a:gd name="connsiteY1" fmla="*/ 612251 h 612251"/>
                  <a:gd name="connsiteX2" fmla="*/ 0 w 1033669"/>
                  <a:gd name="connsiteY2" fmla="*/ 612251 h 612251"/>
                </a:gdLst>
                <a:ahLst/>
                <a:cxnLst>
                  <a:cxn ang="0">
                    <a:pos x="connsiteX0" y="connsiteY0"/>
                  </a:cxn>
                  <a:cxn ang="0">
                    <a:pos x="connsiteX1" y="connsiteY1"/>
                  </a:cxn>
                  <a:cxn ang="0">
                    <a:pos x="connsiteX2" y="connsiteY2"/>
                  </a:cxn>
                </a:cxnLst>
                <a:rect l="l" t="t" r="r" b="b"/>
                <a:pathLst>
                  <a:path w="1033669" h="612251">
                    <a:moveTo>
                      <a:pt x="1033669" y="0"/>
                    </a:moveTo>
                    <a:lnTo>
                      <a:pt x="1033669" y="612251"/>
                    </a:lnTo>
                    <a:lnTo>
                      <a:pt x="0" y="612251"/>
                    </a:lnTo>
                  </a:path>
                </a:pathLst>
              </a:custGeom>
              <a:noFill/>
              <a:ln w="25400" cap="rnd" cmpd="sng" algn="ctr">
                <a:solidFill>
                  <a:srgbClr val="000000"/>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cxnSp>
            <p:nvCxnSpPr>
              <p:cNvPr id="42" name="Straight Arrow Connector 41">
                <a:extLst>
                  <a:ext uri="{FF2B5EF4-FFF2-40B4-BE49-F238E27FC236}">
                    <a16:creationId xmlns:a16="http://schemas.microsoft.com/office/drawing/2014/main" id="{CD654A16-6334-4A95-906B-5B95EA51F824}"/>
                  </a:ext>
                </a:extLst>
              </p:cNvPr>
              <p:cNvCxnSpPr/>
              <p:nvPr/>
            </p:nvCxnSpPr>
            <p:spPr>
              <a:xfrm>
                <a:off x="10155044" y="3914359"/>
                <a:ext cx="0" cy="377867"/>
              </a:xfrm>
              <a:prstGeom prst="straightConnector1">
                <a:avLst/>
              </a:prstGeom>
              <a:ln w="41275" cap="rnd">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3" name="Freeform: Shape 42">
                <a:extLst>
                  <a:ext uri="{FF2B5EF4-FFF2-40B4-BE49-F238E27FC236}">
                    <a16:creationId xmlns:a16="http://schemas.microsoft.com/office/drawing/2014/main" id="{82374038-75A4-40EF-97EF-AA94987FC153}"/>
                  </a:ext>
                </a:extLst>
              </p:cNvPr>
              <p:cNvSpPr/>
              <p:nvPr/>
            </p:nvSpPr>
            <p:spPr bwMode="auto">
              <a:xfrm>
                <a:off x="7104146" y="2825683"/>
                <a:ext cx="352383" cy="2241102"/>
              </a:xfrm>
              <a:custGeom>
                <a:avLst/>
                <a:gdLst>
                  <a:gd name="connsiteX0" fmla="*/ 302149 w 302149"/>
                  <a:gd name="connsiteY0" fmla="*/ 1908313 h 1908313"/>
                  <a:gd name="connsiteX1" fmla="*/ 0 w 302149"/>
                  <a:gd name="connsiteY1" fmla="*/ 1908313 h 1908313"/>
                  <a:gd name="connsiteX2" fmla="*/ 0 w 302149"/>
                  <a:gd name="connsiteY2" fmla="*/ 0 h 1908313"/>
                  <a:gd name="connsiteX3" fmla="*/ 286246 w 302149"/>
                  <a:gd name="connsiteY3" fmla="*/ 0 h 1908313"/>
                </a:gdLst>
                <a:ahLst/>
                <a:cxnLst>
                  <a:cxn ang="0">
                    <a:pos x="connsiteX0" y="connsiteY0"/>
                  </a:cxn>
                  <a:cxn ang="0">
                    <a:pos x="connsiteX1" y="connsiteY1"/>
                  </a:cxn>
                  <a:cxn ang="0">
                    <a:pos x="connsiteX2" y="connsiteY2"/>
                  </a:cxn>
                  <a:cxn ang="0">
                    <a:pos x="connsiteX3" y="connsiteY3"/>
                  </a:cxn>
                </a:cxnLst>
                <a:rect l="l" t="t" r="r" b="b"/>
                <a:pathLst>
                  <a:path w="302149" h="1908313">
                    <a:moveTo>
                      <a:pt x="302149" y="1908313"/>
                    </a:moveTo>
                    <a:lnTo>
                      <a:pt x="0" y="1908313"/>
                    </a:lnTo>
                    <a:lnTo>
                      <a:pt x="0" y="0"/>
                    </a:lnTo>
                    <a:lnTo>
                      <a:pt x="286246" y="0"/>
                    </a:lnTo>
                  </a:path>
                </a:pathLst>
              </a:custGeom>
              <a:noFill/>
              <a:ln w="25400" cap="rnd"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cxnSp>
            <p:nvCxnSpPr>
              <p:cNvPr id="44" name="Straight Connector 43">
                <a:extLst>
                  <a:ext uri="{FF2B5EF4-FFF2-40B4-BE49-F238E27FC236}">
                    <a16:creationId xmlns:a16="http://schemas.microsoft.com/office/drawing/2014/main" id="{33E8B1AC-735F-40D5-A085-FA991751857B}"/>
                  </a:ext>
                </a:extLst>
              </p:cNvPr>
              <p:cNvCxnSpPr/>
              <p:nvPr/>
            </p:nvCxnSpPr>
            <p:spPr bwMode="auto">
              <a:xfrm>
                <a:off x="7452039" y="2751496"/>
                <a:ext cx="0" cy="148372"/>
              </a:xfrm>
              <a:prstGeom prst="line">
                <a:avLst/>
              </a:prstGeom>
              <a:solidFill>
                <a:srgbClr val="C0C0C0"/>
              </a:solidFill>
              <a:ln w="25400" cap="rnd" cmpd="sng" algn="ctr">
                <a:solidFill>
                  <a:srgbClr val="000000"/>
                </a:solidFill>
                <a:prstDash val="solid"/>
                <a:round/>
                <a:headEnd type="none" w="med" len="med"/>
                <a:tailEnd type="none" w="med" len="med"/>
              </a:ln>
              <a:effectLst/>
            </p:spPr>
          </p:cxnSp>
          <p:sp>
            <p:nvSpPr>
              <p:cNvPr id="45" name="Rectangle: Rounded Corners 44">
                <a:extLst>
                  <a:ext uri="{FF2B5EF4-FFF2-40B4-BE49-F238E27FC236}">
                    <a16:creationId xmlns:a16="http://schemas.microsoft.com/office/drawing/2014/main" id="{569A9286-C224-4346-997C-897886E810EB}"/>
                  </a:ext>
                </a:extLst>
              </p:cNvPr>
              <p:cNvSpPr/>
              <p:nvPr/>
            </p:nvSpPr>
            <p:spPr bwMode="auto">
              <a:xfrm>
                <a:off x="9534713" y="2558307"/>
                <a:ext cx="194455" cy="194455"/>
              </a:xfrm>
              <a:prstGeom prst="roundRect">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6" name="Rectangle: Rounded Corners 45">
                <a:extLst>
                  <a:ext uri="{FF2B5EF4-FFF2-40B4-BE49-F238E27FC236}">
                    <a16:creationId xmlns:a16="http://schemas.microsoft.com/office/drawing/2014/main" id="{6742AE49-7308-47F7-BA63-65FF5E806A1E}"/>
                  </a:ext>
                </a:extLst>
              </p:cNvPr>
              <p:cNvSpPr/>
              <p:nvPr/>
            </p:nvSpPr>
            <p:spPr bwMode="auto">
              <a:xfrm>
                <a:off x="7582341" y="2700292"/>
                <a:ext cx="194455" cy="194455"/>
              </a:xfrm>
              <a:prstGeom prst="roundRect">
                <a:avLst/>
              </a:prstGeom>
              <a:solidFill>
                <a:schemeClr val="accent4"/>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7" name="Rectangle: Rounded Corners 46">
                <a:extLst>
                  <a:ext uri="{FF2B5EF4-FFF2-40B4-BE49-F238E27FC236}">
                    <a16:creationId xmlns:a16="http://schemas.microsoft.com/office/drawing/2014/main" id="{0D9FA415-53C3-4ECF-AF54-ADF813F08128}"/>
                  </a:ext>
                </a:extLst>
              </p:cNvPr>
              <p:cNvSpPr/>
              <p:nvPr/>
            </p:nvSpPr>
            <p:spPr bwMode="auto">
              <a:xfrm>
                <a:off x="7341173" y="2277803"/>
                <a:ext cx="1429520" cy="232675"/>
              </a:xfrm>
              <a:prstGeom prst="roundRect">
                <a:avLst/>
              </a:prstGeom>
              <a:solidFill>
                <a:schemeClr val="accent5">
                  <a:lumMod val="40000"/>
                  <a:lumOff val="60000"/>
                </a:schemeClr>
              </a:solidFill>
              <a:ln w="12700" cap="flat" cmpd="sng" algn="ctr">
                <a:solidFill>
                  <a:srgbClr val="000000"/>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Anti-proliferative</a:t>
                </a:r>
              </a:p>
            </p:txBody>
          </p:sp>
          <p:sp>
            <p:nvSpPr>
              <p:cNvPr id="48" name="Rectangle: Rounded Corners 47">
                <a:extLst>
                  <a:ext uri="{FF2B5EF4-FFF2-40B4-BE49-F238E27FC236}">
                    <a16:creationId xmlns:a16="http://schemas.microsoft.com/office/drawing/2014/main" id="{9A92BDBB-981F-4B85-8BFA-A505F5B4F453}"/>
                  </a:ext>
                </a:extLst>
              </p:cNvPr>
              <p:cNvSpPr/>
              <p:nvPr/>
            </p:nvSpPr>
            <p:spPr bwMode="auto">
              <a:xfrm>
                <a:off x="9428945" y="2277803"/>
                <a:ext cx="1429520" cy="232675"/>
              </a:xfrm>
              <a:prstGeom prst="roundRect">
                <a:avLst/>
              </a:prstGeom>
              <a:solidFill>
                <a:srgbClr val="F7BDA3"/>
              </a:solidFill>
              <a:ln w="12700" cap="flat" cmpd="sng" algn="ctr">
                <a:solidFill>
                  <a:srgbClr val="000000"/>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Verdana"/>
                    <a:ea typeface="Verdana"/>
                    <a:cs typeface="ヒラギノ角ゴ ProN W3" pitchFamily="-110" charset="-128"/>
                    <a:sym typeface="Arial" pitchFamily="-110" charset="0"/>
                  </a:rPr>
                  <a:t>Pro-proliferative</a:t>
                </a:r>
                <a:endParaRPr kumimoji="0" lang="en-US" sz="105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grpSp>
        <p:sp>
          <p:nvSpPr>
            <p:cNvPr id="300" name="TextBox 299">
              <a:extLst>
                <a:ext uri="{FF2B5EF4-FFF2-40B4-BE49-F238E27FC236}">
                  <a16:creationId xmlns:a16="http://schemas.microsoft.com/office/drawing/2014/main" id="{A010D77A-9C78-4D23-858D-BFC647361215}"/>
                </a:ext>
              </a:extLst>
            </p:cNvPr>
            <p:cNvSpPr txBox="1"/>
            <p:nvPr/>
          </p:nvSpPr>
          <p:spPr>
            <a:xfrm>
              <a:off x="8294644" y="3296810"/>
              <a:ext cx="82191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itchFamily="34" charset="0"/>
                </a:rPr>
                <a:t>BMPR-II</a:t>
              </a:r>
            </a:p>
          </p:txBody>
        </p:sp>
        <p:sp>
          <p:nvSpPr>
            <p:cNvPr id="301" name="TextBox 300">
              <a:extLst>
                <a:ext uri="{FF2B5EF4-FFF2-40B4-BE49-F238E27FC236}">
                  <a16:creationId xmlns:a16="http://schemas.microsoft.com/office/drawing/2014/main" id="{E757FEE8-2EC9-4A90-82C9-C09AE67B7F8F}"/>
                </a:ext>
              </a:extLst>
            </p:cNvPr>
            <p:cNvSpPr txBox="1"/>
            <p:nvPr/>
          </p:nvSpPr>
          <p:spPr>
            <a:xfrm>
              <a:off x="6994211" y="3142921"/>
              <a:ext cx="89181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itchFamily="34" charset="0"/>
                </a:rPr>
                <a:t>ALK</a:t>
              </a:r>
              <a:br>
                <a:rPr kumimoji="0" lang="en-GB" sz="10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itchFamily="34" charset="0"/>
                </a:rPr>
              </a:br>
              <a:r>
                <a:rPr kumimoji="0" lang="en-GB" sz="10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itchFamily="34" charset="0"/>
                </a:rPr>
                <a:t>1/2/3/6</a:t>
              </a:r>
            </a:p>
          </p:txBody>
        </p:sp>
        <p:sp>
          <p:nvSpPr>
            <p:cNvPr id="302" name="TextBox 301">
              <a:extLst>
                <a:ext uri="{FF2B5EF4-FFF2-40B4-BE49-F238E27FC236}">
                  <a16:creationId xmlns:a16="http://schemas.microsoft.com/office/drawing/2014/main" id="{960EFB9E-A565-45D0-975C-40FDC97BF816}"/>
                </a:ext>
              </a:extLst>
            </p:cNvPr>
            <p:cNvSpPr txBox="1"/>
            <p:nvPr/>
          </p:nvSpPr>
          <p:spPr>
            <a:xfrm>
              <a:off x="9199795" y="3142921"/>
              <a:ext cx="77321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itchFamily="34" charset="0"/>
                </a:rPr>
                <a:t>ALK</a:t>
              </a:r>
              <a:br>
                <a:rPr kumimoji="0" lang="en-GB" sz="10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itchFamily="34" charset="0"/>
                </a:rPr>
              </a:br>
              <a:r>
                <a:rPr kumimoji="0" lang="en-GB" sz="10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itchFamily="34" charset="0"/>
                </a:rPr>
                <a:t>4/5/7</a:t>
              </a:r>
            </a:p>
          </p:txBody>
        </p:sp>
        <p:sp>
          <p:nvSpPr>
            <p:cNvPr id="303" name="TextBox 302">
              <a:extLst>
                <a:ext uri="{FF2B5EF4-FFF2-40B4-BE49-F238E27FC236}">
                  <a16:creationId xmlns:a16="http://schemas.microsoft.com/office/drawing/2014/main" id="{4CF4EA63-B471-4CBB-961E-72F7CE0B31FB}"/>
                </a:ext>
              </a:extLst>
            </p:cNvPr>
            <p:cNvSpPr txBox="1"/>
            <p:nvPr/>
          </p:nvSpPr>
          <p:spPr>
            <a:xfrm>
              <a:off x="10381916" y="3276189"/>
              <a:ext cx="97179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err="1">
                  <a:ln>
                    <a:noFill/>
                  </a:ln>
                  <a:solidFill>
                    <a:srgbClr val="000000"/>
                  </a:solidFill>
                  <a:effectLst/>
                  <a:uLnTx/>
                  <a:uFillTx/>
                  <a:latin typeface="Verdana" panose="020B0604030504040204" pitchFamily="34" charset="0"/>
                  <a:ea typeface="Verdana" panose="020B0604030504040204" pitchFamily="34" charset="0"/>
                  <a:cs typeface="Arial" pitchFamily="34" charset="0"/>
                </a:rPr>
                <a:t>ActRII</a:t>
              </a:r>
              <a:r>
                <a:rPr kumimoji="0" lang="en-GB" sz="10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itchFamily="34" charset="0"/>
                </a:rPr>
                <a:t>A/B</a:t>
              </a:r>
            </a:p>
          </p:txBody>
        </p:sp>
      </p:grpSp>
      <p:sp>
        <p:nvSpPr>
          <p:cNvPr id="2" name="Title 1">
            <a:extLst>
              <a:ext uri="{FF2B5EF4-FFF2-40B4-BE49-F238E27FC236}">
                <a16:creationId xmlns:a16="http://schemas.microsoft.com/office/drawing/2014/main" id="{0B05D3EF-819F-470A-9999-2B087B970B9D}"/>
              </a:ext>
            </a:extLst>
          </p:cNvPr>
          <p:cNvSpPr>
            <a:spLocks noGrp="1"/>
          </p:cNvSpPr>
          <p:nvPr>
            <p:ph type="title"/>
          </p:nvPr>
        </p:nvSpPr>
        <p:spPr>
          <a:xfrm>
            <a:off x="605367" y="240860"/>
            <a:ext cx="11415020" cy="853982"/>
          </a:xfrm>
        </p:spPr>
        <p:txBody>
          <a:bodyPr anchor="t">
            <a:noAutofit/>
          </a:bodyPr>
          <a:lstStyle/>
          <a:p>
            <a:r>
              <a:rPr lang="en-GB" noProof="0" dirty="0"/>
              <a:t>BMPR-II and TGF-β Receptor Superfamily Signalling: </a:t>
            </a:r>
            <a:br>
              <a:rPr lang="en-GB" noProof="0" dirty="0"/>
            </a:br>
            <a:r>
              <a:rPr lang="en-GB" noProof="0" dirty="0"/>
              <a:t>Critical in Maintaining Normal Pulmonary Vascular Homeostasis</a:t>
            </a:r>
          </a:p>
        </p:txBody>
      </p:sp>
      <p:sp>
        <p:nvSpPr>
          <p:cNvPr id="5" name="Text Placeholder 4">
            <a:extLst>
              <a:ext uri="{FF2B5EF4-FFF2-40B4-BE49-F238E27FC236}">
                <a16:creationId xmlns:a16="http://schemas.microsoft.com/office/drawing/2014/main" id="{2E30D3D4-864C-420B-8E28-E6D8A1F0B6B7}"/>
              </a:ext>
            </a:extLst>
          </p:cNvPr>
          <p:cNvSpPr>
            <a:spLocks noGrp="1"/>
          </p:cNvSpPr>
          <p:nvPr>
            <p:ph type="body" sz="quarter" idx="16"/>
          </p:nvPr>
        </p:nvSpPr>
        <p:spPr>
          <a:xfrm>
            <a:off x="6519611" y="5300390"/>
            <a:ext cx="5071712" cy="563068"/>
          </a:xfrm>
        </p:spPr>
        <p:txBody>
          <a:bodyPr anchor="t">
            <a:noAutofit/>
          </a:bodyPr>
          <a:lstStyle/>
          <a:p>
            <a:br>
              <a:rPr lang="en-GB" sz="1000" noProof="0" dirty="0"/>
            </a:br>
            <a:endParaRPr lang="en-GB" sz="1000" noProof="0" dirty="0"/>
          </a:p>
        </p:txBody>
      </p:sp>
      <p:grpSp>
        <p:nvGrpSpPr>
          <p:cNvPr id="6" name="Group 5">
            <a:extLst>
              <a:ext uri="{FF2B5EF4-FFF2-40B4-BE49-F238E27FC236}">
                <a16:creationId xmlns:a16="http://schemas.microsoft.com/office/drawing/2014/main" id="{C97DDAF5-F945-4FF6-B6CF-C099D54E4A68}"/>
              </a:ext>
            </a:extLst>
          </p:cNvPr>
          <p:cNvGrpSpPr/>
          <p:nvPr/>
        </p:nvGrpSpPr>
        <p:grpSpPr>
          <a:xfrm>
            <a:off x="699744" y="3029969"/>
            <a:ext cx="5058981" cy="2551955"/>
            <a:chOff x="669316" y="2563933"/>
            <a:chExt cx="5058981" cy="2551955"/>
          </a:xfrm>
        </p:grpSpPr>
        <p:sp>
          <p:nvSpPr>
            <p:cNvPr id="7" name="ZoneTexte 10">
              <a:extLst>
                <a:ext uri="{FF2B5EF4-FFF2-40B4-BE49-F238E27FC236}">
                  <a16:creationId xmlns:a16="http://schemas.microsoft.com/office/drawing/2014/main" id="{D3A4A501-ABA6-4CB1-9F17-8185D91A9CE6}"/>
                </a:ext>
              </a:extLst>
            </p:cNvPr>
            <p:cNvSpPr txBox="1"/>
            <p:nvPr/>
          </p:nvSpPr>
          <p:spPr>
            <a:xfrm>
              <a:off x="3717584" y="2563933"/>
              <a:ext cx="2010713" cy="4700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err="1">
                  <a:ln>
                    <a:noFill/>
                  </a:ln>
                  <a:solidFill>
                    <a:srgbClr val="C00000"/>
                  </a:solidFill>
                  <a:effectLst/>
                  <a:uLnTx/>
                  <a:uFillTx/>
                  <a:latin typeface="Verdana" panose="020B0604030504040204" pitchFamily="34" charset="0"/>
                  <a:ea typeface="Verdana" panose="020B0604030504040204" pitchFamily="34" charset="0"/>
                  <a:cs typeface="+mn-cs"/>
                </a:rPr>
                <a:t>Smad</a:t>
              </a:r>
              <a:r>
                <a:rPr kumimoji="0" lang="fr-FR" sz="1800" b="1" i="0" u="none" strike="noStrike" kern="1200" cap="none" spc="0" normalizeH="0" baseline="0" noProof="0">
                  <a:ln>
                    <a:noFill/>
                  </a:ln>
                  <a:solidFill>
                    <a:srgbClr val="C00000"/>
                  </a:solidFill>
                  <a:effectLst/>
                  <a:uLnTx/>
                  <a:uFillTx/>
                  <a:latin typeface="Verdana" panose="020B0604030504040204" pitchFamily="34" charset="0"/>
                  <a:ea typeface="Verdana" panose="020B0604030504040204" pitchFamily="34" charset="0"/>
                  <a:cs typeface="+mn-cs"/>
                </a:rPr>
                <a:t> 2/3</a:t>
              </a:r>
            </a:p>
          </p:txBody>
        </p:sp>
        <p:sp>
          <p:nvSpPr>
            <p:cNvPr id="8" name="ZoneTexte 12">
              <a:extLst>
                <a:ext uri="{FF2B5EF4-FFF2-40B4-BE49-F238E27FC236}">
                  <a16:creationId xmlns:a16="http://schemas.microsoft.com/office/drawing/2014/main" id="{AB3038B6-2774-47A5-BBBE-49FA9AD4A619}"/>
                </a:ext>
              </a:extLst>
            </p:cNvPr>
            <p:cNvSpPr txBox="1"/>
            <p:nvPr/>
          </p:nvSpPr>
          <p:spPr>
            <a:xfrm>
              <a:off x="669316" y="2578058"/>
              <a:ext cx="2427434" cy="4700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err="1">
                  <a:ln>
                    <a:noFill/>
                  </a:ln>
                  <a:solidFill>
                    <a:srgbClr val="00A0DF"/>
                  </a:solidFill>
                  <a:effectLst/>
                  <a:uLnTx/>
                  <a:uFillTx/>
                  <a:latin typeface="Verdana" panose="020B0604030504040204" pitchFamily="34" charset="0"/>
                  <a:ea typeface="Verdana" panose="020B0604030504040204" pitchFamily="34" charset="0"/>
                  <a:cs typeface="+mn-cs"/>
                </a:rPr>
                <a:t>Smad</a:t>
              </a:r>
              <a:r>
                <a:rPr kumimoji="0" lang="fr-FR" sz="1800" b="1" i="0" u="none" strike="noStrike" kern="1200" cap="none" spc="0" normalizeH="0" baseline="0" noProof="0">
                  <a:ln>
                    <a:noFill/>
                  </a:ln>
                  <a:solidFill>
                    <a:srgbClr val="00A0DF"/>
                  </a:solidFill>
                  <a:effectLst/>
                  <a:uLnTx/>
                  <a:uFillTx/>
                  <a:latin typeface="Verdana" panose="020B0604030504040204" pitchFamily="34" charset="0"/>
                  <a:ea typeface="Verdana" panose="020B0604030504040204" pitchFamily="34" charset="0"/>
                  <a:cs typeface="+mn-cs"/>
                </a:rPr>
                <a:t> 1/5/8</a:t>
              </a:r>
            </a:p>
          </p:txBody>
        </p:sp>
        <p:sp>
          <p:nvSpPr>
            <p:cNvPr id="9" name="ZoneTexte 10">
              <a:extLst>
                <a:ext uri="{FF2B5EF4-FFF2-40B4-BE49-F238E27FC236}">
                  <a16:creationId xmlns:a16="http://schemas.microsoft.com/office/drawing/2014/main" id="{7BACE6EE-FDF3-41ED-B59F-0801D49C976D}"/>
                </a:ext>
              </a:extLst>
            </p:cNvPr>
            <p:cNvSpPr txBox="1"/>
            <p:nvPr/>
          </p:nvSpPr>
          <p:spPr>
            <a:xfrm>
              <a:off x="1278618" y="4645867"/>
              <a:ext cx="4122473" cy="47002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mn-cs"/>
                </a:rPr>
                <a:t>Vascular homeostasis</a:t>
              </a:r>
            </a:p>
          </p:txBody>
        </p:sp>
        <p:grpSp>
          <p:nvGrpSpPr>
            <p:cNvPr id="10" name="Group 9">
              <a:extLst>
                <a:ext uri="{FF2B5EF4-FFF2-40B4-BE49-F238E27FC236}">
                  <a16:creationId xmlns:a16="http://schemas.microsoft.com/office/drawing/2014/main" id="{375AED87-F158-43BC-8025-71225F1012BD}"/>
                </a:ext>
              </a:extLst>
            </p:cNvPr>
            <p:cNvGrpSpPr/>
            <p:nvPr/>
          </p:nvGrpSpPr>
          <p:grpSpPr>
            <a:xfrm>
              <a:off x="1060553" y="3082561"/>
              <a:ext cx="1579756" cy="736572"/>
              <a:chOff x="1682746" y="3526480"/>
              <a:chExt cx="1241337" cy="578783"/>
            </a:xfrm>
          </p:grpSpPr>
          <p:sp>
            <p:nvSpPr>
              <p:cNvPr id="18" name="Rectangle: Rounded Corners 17">
                <a:extLst>
                  <a:ext uri="{FF2B5EF4-FFF2-40B4-BE49-F238E27FC236}">
                    <a16:creationId xmlns:a16="http://schemas.microsoft.com/office/drawing/2014/main" id="{0BC3B1D6-B4DC-485A-B1D4-AAB9609EFA43}"/>
                  </a:ext>
                </a:extLst>
              </p:cNvPr>
              <p:cNvSpPr/>
              <p:nvPr/>
            </p:nvSpPr>
            <p:spPr bwMode="auto">
              <a:xfrm>
                <a:off x="1682746" y="3757786"/>
                <a:ext cx="646703" cy="347477"/>
              </a:xfrm>
              <a:prstGeom prst="roundRect">
                <a:avLst>
                  <a:gd name="adj" fmla="val 50000"/>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 name="Rectangle: Rounded Corners 18">
                <a:extLst>
                  <a:ext uri="{FF2B5EF4-FFF2-40B4-BE49-F238E27FC236}">
                    <a16:creationId xmlns:a16="http://schemas.microsoft.com/office/drawing/2014/main" id="{62AC22C9-943A-49AE-9FDD-033943A64709}"/>
                  </a:ext>
                </a:extLst>
              </p:cNvPr>
              <p:cNvSpPr/>
              <p:nvPr/>
            </p:nvSpPr>
            <p:spPr bwMode="auto">
              <a:xfrm>
                <a:off x="2199552" y="3757786"/>
                <a:ext cx="646703" cy="347477"/>
              </a:xfrm>
              <a:prstGeom prst="roundRect">
                <a:avLst>
                  <a:gd name="adj" fmla="val 50000"/>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 name="Rectangle: Rounded Corners 19">
                <a:extLst>
                  <a:ext uri="{FF2B5EF4-FFF2-40B4-BE49-F238E27FC236}">
                    <a16:creationId xmlns:a16="http://schemas.microsoft.com/office/drawing/2014/main" id="{52EC8702-571C-453C-A954-372B6C0A34DD}"/>
                  </a:ext>
                </a:extLst>
              </p:cNvPr>
              <p:cNvSpPr/>
              <p:nvPr/>
            </p:nvSpPr>
            <p:spPr bwMode="auto">
              <a:xfrm>
                <a:off x="1760574" y="3526480"/>
                <a:ext cx="646703" cy="347477"/>
              </a:xfrm>
              <a:prstGeom prst="roundRect">
                <a:avLst>
                  <a:gd name="adj" fmla="val 50000"/>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 name="Rectangle: Rounded Corners 20">
                <a:extLst>
                  <a:ext uri="{FF2B5EF4-FFF2-40B4-BE49-F238E27FC236}">
                    <a16:creationId xmlns:a16="http://schemas.microsoft.com/office/drawing/2014/main" id="{67A8186A-B4AA-427A-B4D5-6FDAAEA04F90}"/>
                  </a:ext>
                </a:extLst>
              </p:cNvPr>
              <p:cNvSpPr/>
              <p:nvPr/>
            </p:nvSpPr>
            <p:spPr bwMode="auto">
              <a:xfrm>
                <a:off x="2277380" y="3526480"/>
                <a:ext cx="646703" cy="347477"/>
              </a:xfrm>
              <a:prstGeom prst="roundRect">
                <a:avLst>
                  <a:gd name="adj" fmla="val 50000"/>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grpSp>
        <p:grpSp>
          <p:nvGrpSpPr>
            <p:cNvPr id="11" name="Group 10">
              <a:extLst>
                <a:ext uri="{FF2B5EF4-FFF2-40B4-BE49-F238E27FC236}">
                  <a16:creationId xmlns:a16="http://schemas.microsoft.com/office/drawing/2014/main" id="{CB2887B3-2E9A-4AA8-B99F-3BD9095297FF}"/>
                </a:ext>
              </a:extLst>
            </p:cNvPr>
            <p:cNvGrpSpPr/>
            <p:nvPr/>
          </p:nvGrpSpPr>
          <p:grpSpPr>
            <a:xfrm flipH="1">
              <a:off x="3966193" y="3082561"/>
              <a:ext cx="1579756" cy="736572"/>
              <a:chOff x="1682746" y="3526480"/>
              <a:chExt cx="1241337" cy="578783"/>
            </a:xfrm>
            <a:solidFill>
              <a:srgbClr val="C00000"/>
            </a:solidFill>
          </p:grpSpPr>
          <p:sp>
            <p:nvSpPr>
              <p:cNvPr id="14" name="Rectangle: Rounded Corners 13">
                <a:extLst>
                  <a:ext uri="{FF2B5EF4-FFF2-40B4-BE49-F238E27FC236}">
                    <a16:creationId xmlns:a16="http://schemas.microsoft.com/office/drawing/2014/main" id="{3020C339-3A2F-4A20-9B30-5B09F42F3E99}"/>
                  </a:ext>
                </a:extLst>
              </p:cNvPr>
              <p:cNvSpPr/>
              <p:nvPr/>
            </p:nvSpPr>
            <p:spPr bwMode="auto">
              <a:xfrm>
                <a:off x="1682746" y="3757786"/>
                <a:ext cx="646703" cy="347477"/>
              </a:xfrm>
              <a:prstGeom prst="roundRect">
                <a:avLst>
                  <a:gd name="adj" fmla="val 50000"/>
                </a:avLst>
              </a:prstGeom>
              <a:grp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 name="Rectangle: Rounded Corners 14">
                <a:extLst>
                  <a:ext uri="{FF2B5EF4-FFF2-40B4-BE49-F238E27FC236}">
                    <a16:creationId xmlns:a16="http://schemas.microsoft.com/office/drawing/2014/main" id="{406BCDF3-D24B-440A-9877-20C9CC3420E1}"/>
                  </a:ext>
                </a:extLst>
              </p:cNvPr>
              <p:cNvSpPr/>
              <p:nvPr/>
            </p:nvSpPr>
            <p:spPr bwMode="auto">
              <a:xfrm>
                <a:off x="2199552" y="3757786"/>
                <a:ext cx="646703" cy="347477"/>
              </a:xfrm>
              <a:prstGeom prst="roundRect">
                <a:avLst>
                  <a:gd name="adj" fmla="val 50000"/>
                </a:avLst>
              </a:prstGeom>
              <a:grp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 name="Rectangle: Rounded Corners 15">
                <a:extLst>
                  <a:ext uri="{FF2B5EF4-FFF2-40B4-BE49-F238E27FC236}">
                    <a16:creationId xmlns:a16="http://schemas.microsoft.com/office/drawing/2014/main" id="{EDC73FBE-9ADF-40AA-8733-4E87DB5BB75D}"/>
                  </a:ext>
                </a:extLst>
              </p:cNvPr>
              <p:cNvSpPr/>
              <p:nvPr/>
            </p:nvSpPr>
            <p:spPr bwMode="auto">
              <a:xfrm>
                <a:off x="1760574" y="3526480"/>
                <a:ext cx="646703" cy="347477"/>
              </a:xfrm>
              <a:prstGeom prst="roundRect">
                <a:avLst>
                  <a:gd name="adj" fmla="val 50000"/>
                </a:avLst>
              </a:prstGeom>
              <a:grp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 name="Rectangle: Rounded Corners 16">
                <a:extLst>
                  <a:ext uri="{FF2B5EF4-FFF2-40B4-BE49-F238E27FC236}">
                    <a16:creationId xmlns:a16="http://schemas.microsoft.com/office/drawing/2014/main" id="{A35C0376-2A98-4B52-9938-2F8A0D452F74}"/>
                  </a:ext>
                </a:extLst>
              </p:cNvPr>
              <p:cNvSpPr/>
              <p:nvPr/>
            </p:nvSpPr>
            <p:spPr bwMode="auto">
              <a:xfrm>
                <a:off x="2277380" y="3526480"/>
                <a:ext cx="646703" cy="347477"/>
              </a:xfrm>
              <a:prstGeom prst="roundRect">
                <a:avLst>
                  <a:gd name="adj" fmla="val 50000"/>
                </a:avLst>
              </a:prstGeom>
              <a:grp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grpSp>
        <p:sp>
          <p:nvSpPr>
            <p:cNvPr id="12" name="Isosceles Triangle 11">
              <a:extLst>
                <a:ext uri="{FF2B5EF4-FFF2-40B4-BE49-F238E27FC236}">
                  <a16:creationId xmlns:a16="http://schemas.microsoft.com/office/drawing/2014/main" id="{A39D91FA-A035-4B7D-A458-D4AA97C4B7AF}"/>
                </a:ext>
              </a:extLst>
            </p:cNvPr>
            <p:cNvSpPr/>
            <p:nvPr/>
          </p:nvSpPr>
          <p:spPr bwMode="auto">
            <a:xfrm>
              <a:off x="2929640" y="4004460"/>
              <a:ext cx="747222" cy="644157"/>
            </a:xfrm>
            <a:prstGeom prst="triangle">
              <a:avLst/>
            </a:prstGeom>
            <a:solidFill>
              <a:srgbClr val="0000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3" name="Rectangle 12">
              <a:extLst>
                <a:ext uri="{FF2B5EF4-FFF2-40B4-BE49-F238E27FC236}">
                  <a16:creationId xmlns:a16="http://schemas.microsoft.com/office/drawing/2014/main" id="{2BAEEB38-C924-4EC0-984B-D5C0AB75D7DA}"/>
                </a:ext>
              </a:extLst>
            </p:cNvPr>
            <p:cNvSpPr/>
            <p:nvPr/>
          </p:nvSpPr>
          <p:spPr bwMode="auto">
            <a:xfrm>
              <a:off x="887135" y="3904676"/>
              <a:ext cx="4832231" cy="101426"/>
            </a:xfrm>
            <a:prstGeom prst="rect">
              <a:avLst/>
            </a:prstGeom>
            <a:solidFill>
              <a:srgbClr val="0000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grpSp>
      <p:sp>
        <p:nvSpPr>
          <p:cNvPr id="299" name="Rectangle: Rounded Corners 298">
            <a:extLst>
              <a:ext uri="{FF2B5EF4-FFF2-40B4-BE49-F238E27FC236}">
                <a16:creationId xmlns:a16="http://schemas.microsoft.com/office/drawing/2014/main" id="{2CEAB0D4-2539-4AB1-830A-7EFC0967A746}"/>
              </a:ext>
            </a:extLst>
          </p:cNvPr>
          <p:cNvSpPr/>
          <p:nvPr/>
        </p:nvSpPr>
        <p:spPr bwMode="auto">
          <a:xfrm>
            <a:off x="601662" y="1687069"/>
            <a:ext cx="5416366" cy="775597"/>
          </a:xfrm>
          <a:prstGeom prst="roundRect">
            <a:avLst>
              <a:gd name="adj" fmla="val 0"/>
            </a:avLst>
          </a:prstGeom>
          <a:solidFill>
            <a:schemeClr val="bg1"/>
          </a:solidFill>
          <a:ln w="28575" cap="flat" cmpd="sng" algn="ctr">
            <a:noFill/>
            <a:prstDash val="solid"/>
            <a:round/>
            <a:headEnd type="none" w="med" len="med"/>
            <a:tailEnd type="none" w="med" len="med"/>
          </a:ln>
          <a:effectLst/>
        </p:spPr>
        <p:txBody>
          <a:bodyPr vert="horz" wrap="square" lIns="0" tIns="0" rIns="0" bIns="0" numCol="1" rtlCol="0" anchor="ctr" anchorCtr="0" compatLnSpc="1">
            <a:prstTxWarp prst="textNoShape">
              <a:avLst/>
            </a:prstTxWarp>
          </a:bodyPr>
          <a:lstStyle/>
          <a:p>
            <a:pPr marL="72000" marR="0" lvl="0" indent="0" algn="ctr" defTabSz="914400" rtl="0" eaLnBrk="1" fontAlgn="auto" latinLnBrk="0" hangingPunct="1">
              <a:lnSpc>
                <a:spcPct val="100000"/>
              </a:lnSpc>
              <a:spcBef>
                <a:spcPts val="1200"/>
              </a:spcBef>
              <a:spcAft>
                <a:spcPts val="0"/>
              </a:spcAft>
              <a:buClrTx/>
              <a:buSzTx/>
              <a:buFontTx/>
              <a:buNone/>
              <a:tabLst/>
              <a:defRPr/>
            </a:pPr>
            <a:r>
              <a:rPr kumimoji="0" lang="en-GB" sz="1600" b="0" i="0" u="none" strike="noStrike" kern="1200" cap="none" spc="0" normalizeH="0" baseline="0" noProof="0" dirty="0">
                <a:ln>
                  <a:noFill/>
                </a:ln>
                <a:solidFill>
                  <a:srgbClr val="3F3F3F"/>
                </a:solidFill>
                <a:effectLst/>
                <a:uLnTx/>
                <a:uFillTx/>
                <a:latin typeface="Verdana" panose="020B0604030504040204" pitchFamily="34" charset="0"/>
                <a:ea typeface="Verdana" panose="020B0604030504040204" pitchFamily="34" charset="0"/>
                <a:cs typeface="+mn-cs"/>
              </a:rPr>
              <a:t>Balance of anti-proliferative and pro-proliferative signalling via BMPR-II/</a:t>
            </a:r>
            <a:r>
              <a:rPr kumimoji="0" lang="en-GB" sz="1600" b="0" i="0" u="none" strike="noStrike" kern="1200" cap="none" spc="0" normalizeH="0" baseline="0" noProof="0" dirty="0" err="1">
                <a:ln>
                  <a:noFill/>
                </a:ln>
                <a:solidFill>
                  <a:srgbClr val="3F3F3F"/>
                </a:solidFill>
                <a:effectLst/>
                <a:uLnTx/>
                <a:uFillTx/>
                <a:latin typeface="Verdana" panose="020B0604030504040204" pitchFamily="34" charset="0"/>
                <a:ea typeface="Verdana" panose="020B0604030504040204" pitchFamily="34" charset="0"/>
                <a:cs typeface="+mn-cs"/>
              </a:rPr>
              <a:t>ActRII</a:t>
            </a:r>
            <a:r>
              <a:rPr kumimoji="0" lang="en-GB" sz="1600" b="0" i="0" u="none" strike="noStrike" kern="1200" cap="none" spc="0" normalizeH="0" baseline="0" noProof="0" dirty="0">
                <a:ln>
                  <a:noFill/>
                </a:ln>
                <a:solidFill>
                  <a:srgbClr val="3F3F3F"/>
                </a:solidFill>
                <a:effectLst/>
                <a:uLnTx/>
                <a:uFillTx/>
                <a:latin typeface="Verdana" panose="020B0604030504040204" pitchFamily="34" charset="0"/>
                <a:ea typeface="Verdana" panose="020B0604030504040204" pitchFamily="34" charset="0"/>
                <a:cs typeface="+mn-cs"/>
              </a:rPr>
              <a:t> is important for pulmonary vascular homeostasis</a:t>
            </a:r>
            <a:r>
              <a:rPr kumimoji="0" lang="en-GB" sz="1600" b="0" i="0" u="none" strike="noStrike" kern="1200" cap="none" spc="0" normalizeH="0" baseline="30000" noProof="0" dirty="0">
                <a:ln>
                  <a:noFill/>
                </a:ln>
                <a:solidFill>
                  <a:srgbClr val="3F3F3F"/>
                </a:solidFill>
                <a:effectLst/>
                <a:uLnTx/>
                <a:uFillTx/>
                <a:latin typeface="Verdana" panose="020B0604030504040204" pitchFamily="34" charset="0"/>
                <a:ea typeface="Verdana" panose="020B0604030504040204" pitchFamily="34" charset="0"/>
                <a:cs typeface="+mn-cs"/>
              </a:rPr>
              <a:t>1,2</a:t>
            </a:r>
          </a:p>
        </p:txBody>
      </p:sp>
      <p:sp>
        <p:nvSpPr>
          <p:cNvPr id="3" name="TextBox 2">
            <a:extLst>
              <a:ext uri="{FF2B5EF4-FFF2-40B4-BE49-F238E27FC236}">
                <a16:creationId xmlns:a16="http://schemas.microsoft.com/office/drawing/2014/main" id="{97370C62-11C4-0147-B596-B881A9F0D701}"/>
              </a:ext>
            </a:extLst>
          </p:cNvPr>
          <p:cNvSpPr txBox="1"/>
          <p:nvPr/>
        </p:nvSpPr>
        <p:spPr>
          <a:xfrm>
            <a:off x="0" y="6453261"/>
            <a:ext cx="11844474"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F3F3F"/>
                </a:solidFill>
                <a:effectLst/>
                <a:uLnTx/>
                <a:uFillTx/>
                <a:latin typeface="Arial" panose="020B0604020202020204"/>
                <a:ea typeface="+mn-ea"/>
                <a:cs typeface="+mn-cs"/>
              </a:rPr>
              <a:t>ALK, anaplastic lymphoma kinase; BMP, bone morphogenic protein; BMPR-II, bone morphogenic protein receptor type II; </a:t>
            </a:r>
            <a:r>
              <a:rPr kumimoji="0" lang="en-GB" sz="1000" b="0" i="0" u="none" strike="noStrike" kern="1200" cap="none" spc="0" normalizeH="0" baseline="0" noProof="0" dirty="0" err="1">
                <a:ln>
                  <a:noFill/>
                </a:ln>
                <a:solidFill>
                  <a:srgbClr val="3F3F3F"/>
                </a:solidFill>
                <a:effectLst/>
                <a:uLnTx/>
                <a:uFillTx/>
                <a:latin typeface="Arial" panose="020B0604020202020204"/>
                <a:ea typeface="+mn-ea"/>
                <a:cs typeface="+mn-cs"/>
              </a:rPr>
              <a:t>GDF,growth</a:t>
            </a:r>
            <a:r>
              <a:rPr kumimoji="0" lang="en-GB" sz="1000" b="0" i="0" u="none" strike="noStrike" kern="1200" cap="none" spc="0" normalizeH="0" baseline="0" noProof="0" dirty="0">
                <a:ln>
                  <a:noFill/>
                </a:ln>
                <a:solidFill>
                  <a:srgbClr val="3F3F3F"/>
                </a:solidFill>
                <a:effectLst/>
                <a:uLnTx/>
                <a:uFillTx/>
                <a:latin typeface="Arial" panose="020B0604020202020204"/>
                <a:ea typeface="+mn-ea"/>
                <a:cs typeface="+mn-cs"/>
              </a:rPr>
              <a:t> differentiation factor; TGF-β: transforming growth factor beta.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F3F3F"/>
                </a:solidFill>
                <a:effectLst/>
                <a:uLnTx/>
                <a:uFillTx/>
                <a:latin typeface="Arial" panose="020B0604020202020204"/>
                <a:ea typeface="+mn-ea"/>
                <a:cs typeface="+mn-cs"/>
              </a:rPr>
              <a:t>1. Humbert M, et al. </a:t>
            </a:r>
            <a:r>
              <a:rPr kumimoji="0" lang="en-GB" sz="1000" b="0" i="1" u="none" strike="noStrike" kern="1200" cap="none" spc="0" normalizeH="0" baseline="0" noProof="0" dirty="0">
                <a:ln>
                  <a:noFill/>
                </a:ln>
                <a:solidFill>
                  <a:srgbClr val="3F3F3F"/>
                </a:solidFill>
                <a:effectLst/>
                <a:uLnTx/>
                <a:uFillTx/>
                <a:latin typeface="Arial" panose="020B0604020202020204"/>
                <a:ea typeface="+mn-ea"/>
                <a:cs typeface="+mn-cs"/>
              </a:rPr>
              <a:t>N </a:t>
            </a:r>
            <a:r>
              <a:rPr kumimoji="0" lang="en-GB" sz="1000" b="0" i="1" u="none" strike="noStrike" kern="1200" cap="none" spc="0" normalizeH="0" baseline="0" noProof="0" dirty="0" err="1">
                <a:ln>
                  <a:noFill/>
                </a:ln>
                <a:solidFill>
                  <a:srgbClr val="3F3F3F"/>
                </a:solidFill>
                <a:effectLst/>
                <a:uLnTx/>
                <a:uFillTx/>
                <a:latin typeface="Arial" panose="020B0604020202020204"/>
                <a:ea typeface="+mn-ea"/>
                <a:cs typeface="+mn-cs"/>
              </a:rPr>
              <a:t>Engl</a:t>
            </a:r>
            <a:r>
              <a:rPr kumimoji="0" lang="en-GB" sz="1000" b="0" i="1" u="none" strike="noStrike" kern="1200" cap="none" spc="0" normalizeH="0" baseline="0" noProof="0" dirty="0">
                <a:ln>
                  <a:noFill/>
                </a:ln>
                <a:solidFill>
                  <a:srgbClr val="3F3F3F"/>
                </a:solidFill>
                <a:effectLst/>
                <a:uLnTx/>
                <a:uFillTx/>
                <a:latin typeface="Arial" panose="020B0604020202020204"/>
                <a:ea typeface="+mn-ea"/>
                <a:cs typeface="+mn-cs"/>
              </a:rPr>
              <a:t> J Med. </a:t>
            </a:r>
            <a:r>
              <a:rPr kumimoji="0" lang="en-GB" sz="1000" b="0" i="0" u="none" strike="noStrike" kern="1200" cap="none" spc="0" normalizeH="0" baseline="0" noProof="0" dirty="0">
                <a:ln>
                  <a:noFill/>
                </a:ln>
                <a:solidFill>
                  <a:srgbClr val="3F3F3F"/>
                </a:solidFill>
                <a:effectLst/>
                <a:uLnTx/>
                <a:uFillTx/>
                <a:latin typeface="Arial" panose="020B0604020202020204"/>
                <a:ea typeface="+mn-ea"/>
                <a:cs typeface="+mn-cs"/>
              </a:rPr>
              <a:t>2021;384:1204-15; 2. </a:t>
            </a:r>
            <a:r>
              <a:rPr kumimoji="0" lang="en-GB" sz="1000" b="0" i="0" u="none" strike="noStrike" kern="1200" cap="none" spc="0" normalizeH="0" baseline="0" noProof="0" dirty="0" err="1">
                <a:ln>
                  <a:noFill/>
                </a:ln>
                <a:solidFill>
                  <a:srgbClr val="3F3F3F"/>
                </a:solidFill>
                <a:effectLst/>
                <a:uLnTx/>
                <a:uFillTx/>
                <a:latin typeface="Arial" panose="020B0604020202020204"/>
                <a:ea typeface="+mn-ea"/>
                <a:cs typeface="+mn-cs"/>
              </a:rPr>
              <a:t>Guignabert</a:t>
            </a:r>
            <a:r>
              <a:rPr kumimoji="0" lang="en-GB" sz="1000" b="0" i="0" u="none" strike="noStrike" kern="1200" cap="none" spc="0" normalizeH="0" baseline="0" noProof="0" dirty="0">
                <a:ln>
                  <a:noFill/>
                </a:ln>
                <a:solidFill>
                  <a:srgbClr val="3F3F3F"/>
                </a:solidFill>
                <a:effectLst/>
                <a:uLnTx/>
                <a:uFillTx/>
                <a:latin typeface="Arial" panose="020B0604020202020204"/>
                <a:ea typeface="+mn-ea"/>
                <a:cs typeface="+mn-cs"/>
              </a:rPr>
              <a:t> C, et al. </a:t>
            </a:r>
            <a:r>
              <a:rPr kumimoji="0" lang="en-GB" sz="1000" b="0" i="1" u="none" strike="noStrike" kern="1200" cap="none" spc="0" normalizeH="0" baseline="0" noProof="0" dirty="0" err="1">
                <a:ln>
                  <a:noFill/>
                </a:ln>
                <a:solidFill>
                  <a:srgbClr val="3F3F3F"/>
                </a:solidFill>
                <a:effectLst/>
                <a:uLnTx/>
                <a:uFillTx/>
                <a:latin typeface="Arial" panose="020B0604020202020204"/>
                <a:ea typeface="+mn-ea"/>
                <a:cs typeface="+mn-cs"/>
              </a:rPr>
              <a:t>Eur</a:t>
            </a:r>
            <a:r>
              <a:rPr kumimoji="0" lang="en-GB" sz="1000" b="0" i="1" u="none" strike="noStrike" kern="1200" cap="none" spc="0" normalizeH="0" baseline="0" noProof="0" dirty="0">
                <a:ln>
                  <a:noFill/>
                </a:ln>
                <a:solidFill>
                  <a:srgbClr val="3F3F3F"/>
                </a:solidFill>
                <a:effectLst/>
                <a:uLnTx/>
                <a:uFillTx/>
                <a:latin typeface="Arial" panose="020B0604020202020204"/>
                <a:ea typeface="+mn-ea"/>
                <a:cs typeface="+mn-cs"/>
              </a:rPr>
              <a:t> </a:t>
            </a:r>
            <a:r>
              <a:rPr kumimoji="0" lang="en-GB" sz="1000" b="0" i="1" u="none" strike="noStrike" kern="1200" cap="none" spc="0" normalizeH="0" baseline="0" noProof="0" dirty="0" err="1">
                <a:ln>
                  <a:noFill/>
                </a:ln>
                <a:solidFill>
                  <a:srgbClr val="3F3F3F"/>
                </a:solidFill>
                <a:effectLst/>
                <a:uLnTx/>
                <a:uFillTx/>
                <a:latin typeface="Arial" panose="020B0604020202020204"/>
                <a:ea typeface="+mn-ea"/>
                <a:cs typeface="+mn-cs"/>
              </a:rPr>
              <a:t>Respir</a:t>
            </a:r>
            <a:r>
              <a:rPr kumimoji="0" lang="en-GB" sz="1000" b="0" i="1" u="none" strike="noStrike" kern="1200" cap="none" spc="0" normalizeH="0" baseline="0" noProof="0" dirty="0">
                <a:ln>
                  <a:noFill/>
                </a:ln>
                <a:solidFill>
                  <a:srgbClr val="3F3F3F"/>
                </a:solidFill>
                <a:effectLst/>
                <a:uLnTx/>
                <a:uFillTx/>
                <a:latin typeface="Arial" panose="020B0604020202020204"/>
                <a:ea typeface="+mn-ea"/>
                <a:cs typeface="+mn-cs"/>
              </a:rPr>
              <a:t> J. </a:t>
            </a:r>
            <a:r>
              <a:rPr kumimoji="0" lang="en-GB" sz="1000" b="0" i="0" u="none" strike="noStrike" kern="1200" cap="none" spc="0" normalizeH="0" baseline="0" noProof="0" dirty="0">
                <a:ln>
                  <a:noFill/>
                </a:ln>
                <a:solidFill>
                  <a:srgbClr val="3F3F3F"/>
                </a:solidFill>
                <a:effectLst/>
                <a:uLnTx/>
                <a:uFillTx/>
                <a:latin typeface="Arial" panose="020B0604020202020204"/>
                <a:ea typeface="+mn-ea"/>
                <a:cs typeface="+mn-cs"/>
              </a:rPr>
              <a:t>2021;57:2002341.</a:t>
            </a:r>
            <a:endParaRPr kumimoji="0" lang="en-US" sz="1000" b="0" i="0" u="none" strike="noStrike" kern="1200" cap="none" spc="0" normalizeH="0" baseline="0" noProof="0" dirty="0">
              <a:ln>
                <a:noFill/>
              </a:ln>
              <a:solidFill>
                <a:srgbClr val="3F3F3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4631153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FE2D4C-4827-46D5-AAEC-850DEEB3412A}"/>
              </a:ext>
            </a:extLst>
          </p:cNvPr>
          <p:cNvSpPr>
            <a:spLocks noGrp="1"/>
          </p:cNvSpPr>
          <p:nvPr>
            <p:ph type="title"/>
          </p:nvPr>
        </p:nvSpPr>
        <p:spPr>
          <a:xfrm>
            <a:off x="601601" y="327717"/>
            <a:ext cx="11035342" cy="775597"/>
          </a:xfrm>
        </p:spPr>
        <p:txBody>
          <a:bodyPr>
            <a:noAutofit/>
          </a:bodyPr>
          <a:lstStyle/>
          <a:p>
            <a:r>
              <a:rPr lang="en-GB" noProof="0"/>
              <a:t>Mutations in BMPR-II Represent the Primary Genetic Risk Factor for Developing PAH</a:t>
            </a:r>
            <a:endParaRPr lang="en-GB" noProof="0" dirty="0"/>
          </a:p>
        </p:txBody>
      </p:sp>
      <p:sp>
        <p:nvSpPr>
          <p:cNvPr id="3" name="Content Placeholder 2">
            <a:extLst>
              <a:ext uri="{FF2B5EF4-FFF2-40B4-BE49-F238E27FC236}">
                <a16:creationId xmlns:a16="http://schemas.microsoft.com/office/drawing/2014/main" id="{E364241D-3BE0-4A24-AC99-EF9E4E99129A}"/>
              </a:ext>
            </a:extLst>
          </p:cNvPr>
          <p:cNvSpPr>
            <a:spLocks noGrp="1"/>
          </p:cNvSpPr>
          <p:nvPr>
            <p:ph sz="quarter" idx="15"/>
          </p:nvPr>
        </p:nvSpPr>
        <p:spPr>
          <a:xfrm>
            <a:off x="601601" y="1713179"/>
            <a:ext cx="5380099" cy="3627382"/>
          </a:xfrm>
        </p:spPr>
        <p:txBody>
          <a:bodyPr>
            <a:normAutofit/>
          </a:bodyPr>
          <a:lstStyle/>
          <a:p>
            <a:r>
              <a:rPr lang="en-GB" sz="1800" noProof="0" dirty="0">
                <a:latin typeface="+mn-lt"/>
              </a:rPr>
              <a:t>Up to 86% of familial PAH and 35% of idiopathic PAH patients show a genetic defect in BMPR-II</a:t>
            </a:r>
            <a:r>
              <a:rPr lang="en-GB" sz="1800" baseline="30000" noProof="0" dirty="0">
                <a:latin typeface="+mn-lt"/>
              </a:rPr>
              <a:t>2</a:t>
            </a:r>
          </a:p>
          <a:p>
            <a:r>
              <a:rPr lang="en-GB" sz="1800" noProof="0" dirty="0">
                <a:latin typeface="+mn-lt"/>
              </a:rPr>
              <a:t>PAH is associated with dysregulation of the </a:t>
            </a:r>
            <a:br>
              <a:rPr lang="en-GB" sz="1800" noProof="0" dirty="0">
                <a:latin typeface="+mn-lt"/>
              </a:rPr>
            </a:br>
            <a:r>
              <a:rPr lang="en-GB" sz="1800" noProof="0" dirty="0">
                <a:latin typeface="+mn-lt"/>
              </a:rPr>
              <a:t>BMPR-II–SMAD 1/5/8 pathway</a:t>
            </a:r>
            <a:r>
              <a:rPr lang="en-GB" sz="1800" baseline="30000" noProof="0" dirty="0">
                <a:latin typeface="+mn-lt"/>
              </a:rPr>
              <a:t>1</a:t>
            </a:r>
          </a:p>
          <a:p>
            <a:r>
              <a:rPr lang="en-GB" sz="1800" noProof="0" dirty="0">
                <a:latin typeface="+mn-lt"/>
              </a:rPr>
              <a:t>Elevated levels of circulating activins and </a:t>
            </a:r>
            <a:br>
              <a:rPr lang="en-GB" sz="1800" noProof="0" dirty="0">
                <a:latin typeface="+mn-lt"/>
              </a:rPr>
            </a:br>
            <a:r>
              <a:rPr lang="en-GB" sz="1800" noProof="0" dirty="0">
                <a:latin typeface="+mn-lt"/>
              </a:rPr>
              <a:t>GDFs contribute to an imbalance between </a:t>
            </a:r>
            <a:br>
              <a:rPr lang="en-GB" sz="1800" noProof="0" dirty="0">
                <a:latin typeface="+mn-lt"/>
              </a:rPr>
            </a:br>
            <a:r>
              <a:rPr lang="en-GB" sz="1800" noProof="0" dirty="0">
                <a:latin typeface="+mn-lt"/>
              </a:rPr>
              <a:t>anti- and pro-proliferative signalling pathways</a:t>
            </a:r>
            <a:r>
              <a:rPr lang="en-GB" sz="1800" baseline="30000" noProof="0" dirty="0">
                <a:latin typeface="+mn-lt"/>
              </a:rPr>
              <a:t>1,2</a:t>
            </a:r>
          </a:p>
          <a:p>
            <a:r>
              <a:rPr lang="en-GB" sz="1800" noProof="0" dirty="0">
                <a:latin typeface="+mn-lt"/>
              </a:rPr>
              <a:t>Increased pro-inflammatory cytokines downregulate BMPR-II and further contribute to PAH pathogenesis</a:t>
            </a:r>
            <a:r>
              <a:rPr lang="en-GB" sz="1800" baseline="30000" noProof="0" dirty="0">
                <a:latin typeface="+mn-lt"/>
              </a:rPr>
              <a:t>3,4</a:t>
            </a:r>
          </a:p>
          <a:p>
            <a:endParaRPr lang="en-GB" sz="1800" noProof="0" dirty="0">
              <a:latin typeface="+mn-lt"/>
            </a:endParaRPr>
          </a:p>
          <a:p>
            <a:endParaRPr lang="en-GB" sz="1800" noProof="0" dirty="0">
              <a:latin typeface="+mn-lt"/>
            </a:endParaRPr>
          </a:p>
          <a:p>
            <a:endParaRPr lang="en-GB" sz="1800" baseline="30000" noProof="0" dirty="0">
              <a:latin typeface="+mn-lt"/>
            </a:endParaRPr>
          </a:p>
          <a:p>
            <a:endParaRPr lang="en-GB" sz="1800" noProof="0" dirty="0">
              <a:latin typeface="+mn-lt"/>
            </a:endParaRPr>
          </a:p>
        </p:txBody>
      </p:sp>
      <p:grpSp>
        <p:nvGrpSpPr>
          <p:cNvPr id="291" name="Group 290">
            <a:extLst>
              <a:ext uri="{FF2B5EF4-FFF2-40B4-BE49-F238E27FC236}">
                <a16:creationId xmlns:a16="http://schemas.microsoft.com/office/drawing/2014/main" id="{1D85C07D-BCDC-A54B-8A81-FA8D5A051064}"/>
              </a:ext>
            </a:extLst>
          </p:cNvPr>
          <p:cNvGrpSpPr>
            <a:grpSpLocks noChangeAspect="1"/>
          </p:cNvGrpSpPr>
          <p:nvPr/>
        </p:nvGrpSpPr>
        <p:grpSpPr>
          <a:xfrm>
            <a:off x="6599300" y="1318165"/>
            <a:ext cx="5206252" cy="4022395"/>
            <a:chOff x="6795203" y="1818615"/>
            <a:chExt cx="4558511" cy="3521945"/>
          </a:xfrm>
        </p:grpSpPr>
        <p:sp>
          <p:nvSpPr>
            <p:cNvPr id="6" name="Rectangle 5">
              <a:extLst>
                <a:ext uri="{FF2B5EF4-FFF2-40B4-BE49-F238E27FC236}">
                  <a16:creationId xmlns:a16="http://schemas.microsoft.com/office/drawing/2014/main" id="{AB7C7A7F-FB07-4986-9776-6D883094917E}"/>
                </a:ext>
              </a:extLst>
            </p:cNvPr>
            <p:cNvSpPr/>
            <p:nvPr/>
          </p:nvSpPr>
          <p:spPr>
            <a:xfrm>
              <a:off x="6798167" y="1829944"/>
              <a:ext cx="4472518" cy="3510616"/>
            </a:xfrm>
            <a:prstGeom prst="rect">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nvGrpSpPr>
            <p:cNvPr id="7" name="Group 6">
              <a:extLst>
                <a:ext uri="{FF2B5EF4-FFF2-40B4-BE49-F238E27FC236}">
                  <a16:creationId xmlns:a16="http://schemas.microsoft.com/office/drawing/2014/main" id="{7C1283FE-EFC2-4A1C-8328-B50B88ECDAEF}"/>
                </a:ext>
              </a:extLst>
            </p:cNvPr>
            <p:cNvGrpSpPr/>
            <p:nvPr/>
          </p:nvGrpSpPr>
          <p:grpSpPr>
            <a:xfrm>
              <a:off x="6795203" y="3517352"/>
              <a:ext cx="4475556" cy="268930"/>
              <a:chOff x="206304" y="1563886"/>
              <a:chExt cx="2583491" cy="417596"/>
            </a:xfrm>
          </p:grpSpPr>
          <p:grpSp>
            <p:nvGrpSpPr>
              <p:cNvPr id="8" name="Group 7">
                <a:extLst>
                  <a:ext uri="{FF2B5EF4-FFF2-40B4-BE49-F238E27FC236}">
                    <a16:creationId xmlns:a16="http://schemas.microsoft.com/office/drawing/2014/main" id="{2EBD39D5-B7F5-44D7-A26C-11A549373846}"/>
                  </a:ext>
                </a:extLst>
              </p:cNvPr>
              <p:cNvGrpSpPr/>
              <p:nvPr/>
            </p:nvGrpSpPr>
            <p:grpSpPr>
              <a:xfrm>
                <a:off x="206304" y="1563886"/>
                <a:ext cx="1761030" cy="417596"/>
                <a:chOff x="1951284" y="1702133"/>
                <a:chExt cx="1761030" cy="417596"/>
              </a:xfrm>
            </p:grpSpPr>
            <p:grpSp>
              <p:nvGrpSpPr>
                <p:cNvPr id="87" name="Group 86">
                  <a:extLst>
                    <a:ext uri="{FF2B5EF4-FFF2-40B4-BE49-F238E27FC236}">
                      <a16:creationId xmlns:a16="http://schemas.microsoft.com/office/drawing/2014/main" id="{C8F5A306-7E04-4247-999B-E43861FAE1D1}"/>
                    </a:ext>
                  </a:extLst>
                </p:cNvPr>
                <p:cNvGrpSpPr/>
                <p:nvPr/>
              </p:nvGrpSpPr>
              <p:grpSpPr>
                <a:xfrm>
                  <a:off x="1951284" y="1702133"/>
                  <a:ext cx="1760976" cy="200517"/>
                  <a:chOff x="2731292" y="3253268"/>
                  <a:chExt cx="2704814" cy="291856"/>
                </a:xfrm>
                <a:solidFill>
                  <a:schemeClr val="bg1"/>
                </a:solidFill>
              </p:grpSpPr>
              <p:sp>
                <p:nvSpPr>
                  <p:cNvPr id="161" name="Freeform 247">
                    <a:extLst>
                      <a:ext uri="{FF2B5EF4-FFF2-40B4-BE49-F238E27FC236}">
                        <a16:creationId xmlns:a16="http://schemas.microsoft.com/office/drawing/2014/main" id="{C29EADA8-F33A-48D7-8432-5869CE7730DE}"/>
                      </a:ext>
                    </a:extLst>
                  </p:cNvPr>
                  <p:cNvSpPr/>
                  <p:nvPr/>
                </p:nvSpPr>
                <p:spPr>
                  <a:xfrm>
                    <a:off x="2839294" y="3326342"/>
                    <a:ext cx="45720"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2" name="Oval 161">
                    <a:extLst>
                      <a:ext uri="{FF2B5EF4-FFF2-40B4-BE49-F238E27FC236}">
                        <a16:creationId xmlns:a16="http://schemas.microsoft.com/office/drawing/2014/main" id="{A1DA5C54-5EF3-49BE-B6EA-81DC927209FB}"/>
                      </a:ext>
                    </a:extLst>
                  </p:cNvPr>
                  <p:cNvSpPr/>
                  <p:nvPr/>
                </p:nvSpPr>
                <p:spPr>
                  <a:xfrm>
                    <a:off x="2839294"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3" name="Freeform 249">
                    <a:extLst>
                      <a:ext uri="{FF2B5EF4-FFF2-40B4-BE49-F238E27FC236}">
                        <a16:creationId xmlns:a16="http://schemas.microsoft.com/office/drawing/2014/main" id="{96A53539-3015-4402-9899-BCA0E32E1A3B}"/>
                      </a:ext>
                    </a:extLst>
                  </p:cNvPr>
                  <p:cNvSpPr/>
                  <p:nvPr/>
                </p:nvSpPr>
                <p:spPr>
                  <a:xfrm>
                    <a:off x="2901036" y="3365286"/>
                    <a:ext cx="46259"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4" name="Oval 163">
                    <a:extLst>
                      <a:ext uri="{FF2B5EF4-FFF2-40B4-BE49-F238E27FC236}">
                        <a16:creationId xmlns:a16="http://schemas.microsoft.com/office/drawing/2014/main" id="{385B42CA-F707-492D-86E9-EFC6FE2D146B}"/>
                      </a:ext>
                    </a:extLst>
                  </p:cNvPr>
                  <p:cNvSpPr/>
                  <p:nvPr/>
                </p:nvSpPr>
                <p:spPr>
                  <a:xfrm>
                    <a:off x="2954600"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5" name="Oval 164">
                    <a:extLst>
                      <a:ext uri="{FF2B5EF4-FFF2-40B4-BE49-F238E27FC236}">
                        <a16:creationId xmlns:a16="http://schemas.microsoft.com/office/drawing/2014/main" id="{4AC3A2E6-3EF7-4C7B-87C2-DD9D5A013616}"/>
                      </a:ext>
                    </a:extLst>
                  </p:cNvPr>
                  <p:cNvSpPr/>
                  <p:nvPr/>
                </p:nvSpPr>
                <p:spPr>
                  <a:xfrm>
                    <a:off x="2731292"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6" name="Oval 165">
                    <a:extLst>
                      <a:ext uri="{FF2B5EF4-FFF2-40B4-BE49-F238E27FC236}">
                        <a16:creationId xmlns:a16="http://schemas.microsoft.com/office/drawing/2014/main" id="{107A636F-56D2-410C-9281-DE9543EC415A}"/>
                      </a:ext>
                    </a:extLst>
                  </p:cNvPr>
                  <p:cNvSpPr/>
                  <p:nvPr/>
                </p:nvSpPr>
                <p:spPr>
                  <a:xfrm>
                    <a:off x="3066743"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7" name="Oval 166">
                    <a:extLst>
                      <a:ext uri="{FF2B5EF4-FFF2-40B4-BE49-F238E27FC236}">
                        <a16:creationId xmlns:a16="http://schemas.microsoft.com/office/drawing/2014/main" id="{AA3869D7-B1AF-48AE-94C5-209E48C99A47}"/>
                      </a:ext>
                    </a:extLst>
                  </p:cNvPr>
                  <p:cNvSpPr/>
                  <p:nvPr/>
                </p:nvSpPr>
                <p:spPr>
                  <a:xfrm>
                    <a:off x="3182408"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8" name="Oval 167">
                    <a:extLst>
                      <a:ext uri="{FF2B5EF4-FFF2-40B4-BE49-F238E27FC236}">
                        <a16:creationId xmlns:a16="http://schemas.microsoft.com/office/drawing/2014/main" id="{525B811B-75F7-411E-8A5F-49099724E183}"/>
                      </a:ext>
                    </a:extLst>
                  </p:cNvPr>
                  <p:cNvSpPr/>
                  <p:nvPr/>
                </p:nvSpPr>
                <p:spPr>
                  <a:xfrm>
                    <a:off x="3290408"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9" name="Freeform 255">
                    <a:extLst>
                      <a:ext uri="{FF2B5EF4-FFF2-40B4-BE49-F238E27FC236}">
                        <a16:creationId xmlns:a16="http://schemas.microsoft.com/office/drawing/2014/main" id="{3449DFAA-B002-4CA4-A08F-D3B68544D7C6}"/>
                      </a:ext>
                    </a:extLst>
                  </p:cNvPr>
                  <p:cNvSpPr/>
                  <p:nvPr/>
                </p:nvSpPr>
                <p:spPr>
                  <a:xfrm>
                    <a:off x="2739571" y="3342341"/>
                    <a:ext cx="45720"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0" name="Freeform 256">
                    <a:extLst>
                      <a:ext uri="{FF2B5EF4-FFF2-40B4-BE49-F238E27FC236}">
                        <a16:creationId xmlns:a16="http://schemas.microsoft.com/office/drawing/2014/main" id="{5F271176-EB47-4AA3-8199-7D440D23CC9B}"/>
                      </a:ext>
                    </a:extLst>
                  </p:cNvPr>
                  <p:cNvSpPr/>
                  <p:nvPr/>
                </p:nvSpPr>
                <p:spPr>
                  <a:xfrm>
                    <a:off x="2798029"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1" name="Freeform 257">
                    <a:extLst>
                      <a:ext uri="{FF2B5EF4-FFF2-40B4-BE49-F238E27FC236}">
                        <a16:creationId xmlns:a16="http://schemas.microsoft.com/office/drawing/2014/main" id="{AFB5682E-A973-463D-8E23-C7434AACC9AB}"/>
                      </a:ext>
                    </a:extLst>
                  </p:cNvPr>
                  <p:cNvSpPr/>
                  <p:nvPr/>
                </p:nvSpPr>
                <p:spPr>
                  <a:xfrm>
                    <a:off x="2986743"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2" name="Freeform 258">
                    <a:extLst>
                      <a:ext uri="{FF2B5EF4-FFF2-40B4-BE49-F238E27FC236}">
                        <a16:creationId xmlns:a16="http://schemas.microsoft.com/office/drawing/2014/main" id="{B974F0E3-35CA-4F81-AE49-4E66D2B91055}"/>
                      </a:ext>
                    </a:extLst>
                  </p:cNvPr>
                  <p:cNvSpPr/>
                  <p:nvPr/>
                </p:nvSpPr>
                <p:spPr>
                  <a:xfrm>
                    <a:off x="3016883" y="3360336"/>
                    <a:ext cx="4572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3" name="Freeform 259">
                    <a:extLst>
                      <a:ext uri="{FF2B5EF4-FFF2-40B4-BE49-F238E27FC236}">
                        <a16:creationId xmlns:a16="http://schemas.microsoft.com/office/drawing/2014/main" id="{1CFAC5C4-C430-4689-AF59-5760A9F50CF6}"/>
                      </a:ext>
                    </a:extLst>
                  </p:cNvPr>
                  <p:cNvSpPr/>
                  <p:nvPr/>
                </p:nvSpPr>
                <p:spPr>
                  <a:xfrm>
                    <a:off x="3097738" y="3357001"/>
                    <a:ext cx="31772"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4" name="Freeform 260">
                    <a:extLst>
                      <a:ext uri="{FF2B5EF4-FFF2-40B4-BE49-F238E27FC236}">
                        <a16:creationId xmlns:a16="http://schemas.microsoft.com/office/drawing/2014/main" id="{F4C4A2C1-1255-4304-9CC6-4056869D509A}"/>
                      </a:ext>
                    </a:extLst>
                  </p:cNvPr>
                  <p:cNvSpPr/>
                  <p:nvPr/>
                </p:nvSpPr>
                <p:spPr>
                  <a:xfrm>
                    <a:off x="3131847" y="3357001"/>
                    <a:ext cx="40004" cy="18812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5" name="Freeform 261">
                    <a:extLst>
                      <a:ext uri="{FF2B5EF4-FFF2-40B4-BE49-F238E27FC236}">
                        <a16:creationId xmlns:a16="http://schemas.microsoft.com/office/drawing/2014/main" id="{BCEEB02A-0150-4159-AF83-A1FA0E64370B}"/>
                      </a:ext>
                    </a:extLst>
                  </p:cNvPr>
                  <p:cNvSpPr/>
                  <p:nvPr/>
                </p:nvSpPr>
                <p:spPr>
                  <a:xfrm>
                    <a:off x="3215364"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6" name="Freeform 262">
                    <a:extLst>
                      <a:ext uri="{FF2B5EF4-FFF2-40B4-BE49-F238E27FC236}">
                        <a16:creationId xmlns:a16="http://schemas.microsoft.com/office/drawing/2014/main" id="{9667EBAA-B45F-4CA3-8E03-90D51A27B78A}"/>
                      </a:ext>
                    </a:extLst>
                  </p:cNvPr>
                  <p:cNvSpPr/>
                  <p:nvPr/>
                </p:nvSpPr>
                <p:spPr>
                  <a:xfrm>
                    <a:off x="3249771" y="3360334"/>
                    <a:ext cx="3048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7" name="Freeform 263">
                    <a:extLst>
                      <a:ext uri="{FF2B5EF4-FFF2-40B4-BE49-F238E27FC236}">
                        <a16:creationId xmlns:a16="http://schemas.microsoft.com/office/drawing/2014/main" id="{C5C196AB-9476-49F6-9FB1-DBC028655CF5}"/>
                      </a:ext>
                    </a:extLst>
                  </p:cNvPr>
                  <p:cNvSpPr/>
                  <p:nvPr/>
                </p:nvSpPr>
                <p:spPr>
                  <a:xfrm>
                    <a:off x="3323779" y="3354224"/>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8" name="Freeform 264">
                    <a:extLst>
                      <a:ext uri="{FF2B5EF4-FFF2-40B4-BE49-F238E27FC236}">
                        <a16:creationId xmlns:a16="http://schemas.microsoft.com/office/drawing/2014/main" id="{0F0CBC1C-8ACB-44F2-B34B-B706F929F67C}"/>
                      </a:ext>
                    </a:extLst>
                  </p:cNvPr>
                  <p:cNvSpPr/>
                  <p:nvPr/>
                </p:nvSpPr>
                <p:spPr>
                  <a:xfrm>
                    <a:off x="3352692" y="3365286"/>
                    <a:ext cx="45720"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9" name="Freeform 265">
                    <a:extLst>
                      <a:ext uri="{FF2B5EF4-FFF2-40B4-BE49-F238E27FC236}">
                        <a16:creationId xmlns:a16="http://schemas.microsoft.com/office/drawing/2014/main" id="{408F4B46-EEC0-4B3B-A21B-56C474C67B15}"/>
                      </a:ext>
                    </a:extLst>
                  </p:cNvPr>
                  <p:cNvSpPr/>
                  <p:nvPr/>
                </p:nvSpPr>
                <p:spPr>
                  <a:xfrm>
                    <a:off x="3524356" y="3326342"/>
                    <a:ext cx="45720"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0" name="Oval 179">
                    <a:extLst>
                      <a:ext uri="{FF2B5EF4-FFF2-40B4-BE49-F238E27FC236}">
                        <a16:creationId xmlns:a16="http://schemas.microsoft.com/office/drawing/2014/main" id="{980BDFAE-6661-4877-AE08-7B70289009DF}"/>
                      </a:ext>
                    </a:extLst>
                  </p:cNvPr>
                  <p:cNvSpPr/>
                  <p:nvPr/>
                </p:nvSpPr>
                <p:spPr>
                  <a:xfrm>
                    <a:off x="3524356"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1" name="Freeform 267">
                    <a:extLst>
                      <a:ext uri="{FF2B5EF4-FFF2-40B4-BE49-F238E27FC236}">
                        <a16:creationId xmlns:a16="http://schemas.microsoft.com/office/drawing/2014/main" id="{AF80A3C0-948E-4A9B-9CD2-3366FE2141D1}"/>
                      </a:ext>
                    </a:extLst>
                  </p:cNvPr>
                  <p:cNvSpPr/>
                  <p:nvPr/>
                </p:nvSpPr>
                <p:spPr>
                  <a:xfrm>
                    <a:off x="3586096" y="3365286"/>
                    <a:ext cx="46259"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2" name="Oval 181">
                    <a:extLst>
                      <a:ext uri="{FF2B5EF4-FFF2-40B4-BE49-F238E27FC236}">
                        <a16:creationId xmlns:a16="http://schemas.microsoft.com/office/drawing/2014/main" id="{98D1E696-09D9-44B1-B888-DBD979663A09}"/>
                      </a:ext>
                    </a:extLst>
                  </p:cNvPr>
                  <p:cNvSpPr/>
                  <p:nvPr/>
                </p:nvSpPr>
                <p:spPr>
                  <a:xfrm>
                    <a:off x="3639661"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3" name="Oval 182">
                    <a:extLst>
                      <a:ext uri="{FF2B5EF4-FFF2-40B4-BE49-F238E27FC236}">
                        <a16:creationId xmlns:a16="http://schemas.microsoft.com/office/drawing/2014/main" id="{8BF7F5A8-C615-457D-9156-33DCBC274AA3}"/>
                      </a:ext>
                    </a:extLst>
                  </p:cNvPr>
                  <p:cNvSpPr/>
                  <p:nvPr/>
                </p:nvSpPr>
                <p:spPr>
                  <a:xfrm>
                    <a:off x="3416355"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4" name="Oval 183">
                    <a:extLst>
                      <a:ext uri="{FF2B5EF4-FFF2-40B4-BE49-F238E27FC236}">
                        <a16:creationId xmlns:a16="http://schemas.microsoft.com/office/drawing/2014/main" id="{7899A184-79F7-4809-BD90-9D0F7D5C7670}"/>
                      </a:ext>
                    </a:extLst>
                  </p:cNvPr>
                  <p:cNvSpPr/>
                  <p:nvPr/>
                </p:nvSpPr>
                <p:spPr>
                  <a:xfrm>
                    <a:off x="3751804"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5" name="Oval 184">
                    <a:extLst>
                      <a:ext uri="{FF2B5EF4-FFF2-40B4-BE49-F238E27FC236}">
                        <a16:creationId xmlns:a16="http://schemas.microsoft.com/office/drawing/2014/main" id="{98AB7950-65D6-4CE9-A319-5E074D850AFB}"/>
                      </a:ext>
                    </a:extLst>
                  </p:cNvPr>
                  <p:cNvSpPr/>
                  <p:nvPr/>
                </p:nvSpPr>
                <p:spPr>
                  <a:xfrm>
                    <a:off x="3867470"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6" name="Oval 185">
                    <a:extLst>
                      <a:ext uri="{FF2B5EF4-FFF2-40B4-BE49-F238E27FC236}">
                        <a16:creationId xmlns:a16="http://schemas.microsoft.com/office/drawing/2014/main" id="{F637608B-B26B-4645-B202-097226F751B1}"/>
                      </a:ext>
                    </a:extLst>
                  </p:cNvPr>
                  <p:cNvSpPr/>
                  <p:nvPr/>
                </p:nvSpPr>
                <p:spPr>
                  <a:xfrm>
                    <a:off x="3975471"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7" name="Freeform 273">
                    <a:extLst>
                      <a:ext uri="{FF2B5EF4-FFF2-40B4-BE49-F238E27FC236}">
                        <a16:creationId xmlns:a16="http://schemas.microsoft.com/office/drawing/2014/main" id="{0D2F9684-F86A-4CEA-9983-120A4E554376}"/>
                      </a:ext>
                    </a:extLst>
                  </p:cNvPr>
                  <p:cNvSpPr/>
                  <p:nvPr/>
                </p:nvSpPr>
                <p:spPr>
                  <a:xfrm>
                    <a:off x="3424635" y="3342341"/>
                    <a:ext cx="45720"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8" name="Freeform 274">
                    <a:extLst>
                      <a:ext uri="{FF2B5EF4-FFF2-40B4-BE49-F238E27FC236}">
                        <a16:creationId xmlns:a16="http://schemas.microsoft.com/office/drawing/2014/main" id="{E9CFFDB3-DED7-4877-B406-B43B0E696F60}"/>
                      </a:ext>
                    </a:extLst>
                  </p:cNvPr>
                  <p:cNvSpPr/>
                  <p:nvPr/>
                </p:nvSpPr>
                <p:spPr>
                  <a:xfrm>
                    <a:off x="3483091"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9" name="Freeform 275">
                    <a:extLst>
                      <a:ext uri="{FF2B5EF4-FFF2-40B4-BE49-F238E27FC236}">
                        <a16:creationId xmlns:a16="http://schemas.microsoft.com/office/drawing/2014/main" id="{09C1FA8E-9649-4084-A141-8618607B1DA1}"/>
                      </a:ext>
                    </a:extLst>
                  </p:cNvPr>
                  <p:cNvSpPr/>
                  <p:nvPr/>
                </p:nvSpPr>
                <p:spPr>
                  <a:xfrm>
                    <a:off x="3671802"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0" name="Freeform 276">
                    <a:extLst>
                      <a:ext uri="{FF2B5EF4-FFF2-40B4-BE49-F238E27FC236}">
                        <a16:creationId xmlns:a16="http://schemas.microsoft.com/office/drawing/2014/main" id="{62226C75-4173-46D2-9E32-9AA48D25C5CD}"/>
                      </a:ext>
                    </a:extLst>
                  </p:cNvPr>
                  <p:cNvSpPr/>
                  <p:nvPr/>
                </p:nvSpPr>
                <p:spPr>
                  <a:xfrm>
                    <a:off x="3701944" y="3360336"/>
                    <a:ext cx="4572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1" name="Freeform 277">
                    <a:extLst>
                      <a:ext uri="{FF2B5EF4-FFF2-40B4-BE49-F238E27FC236}">
                        <a16:creationId xmlns:a16="http://schemas.microsoft.com/office/drawing/2014/main" id="{C7751949-1DD5-45BB-9CD4-E6AE748C6849}"/>
                      </a:ext>
                    </a:extLst>
                  </p:cNvPr>
                  <p:cNvSpPr/>
                  <p:nvPr/>
                </p:nvSpPr>
                <p:spPr>
                  <a:xfrm>
                    <a:off x="3782799" y="3357001"/>
                    <a:ext cx="31772"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2" name="Freeform 278">
                    <a:extLst>
                      <a:ext uri="{FF2B5EF4-FFF2-40B4-BE49-F238E27FC236}">
                        <a16:creationId xmlns:a16="http://schemas.microsoft.com/office/drawing/2014/main" id="{F1E21490-8602-4BC7-8847-8DFC214A10C0}"/>
                      </a:ext>
                    </a:extLst>
                  </p:cNvPr>
                  <p:cNvSpPr/>
                  <p:nvPr/>
                </p:nvSpPr>
                <p:spPr>
                  <a:xfrm>
                    <a:off x="3816908" y="3357001"/>
                    <a:ext cx="40004" cy="18812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3" name="Freeform 279">
                    <a:extLst>
                      <a:ext uri="{FF2B5EF4-FFF2-40B4-BE49-F238E27FC236}">
                        <a16:creationId xmlns:a16="http://schemas.microsoft.com/office/drawing/2014/main" id="{1472641C-903C-4474-A01B-05B141142FE7}"/>
                      </a:ext>
                    </a:extLst>
                  </p:cNvPr>
                  <p:cNvSpPr/>
                  <p:nvPr/>
                </p:nvSpPr>
                <p:spPr>
                  <a:xfrm>
                    <a:off x="3900425"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4" name="Freeform 280">
                    <a:extLst>
                      <a:ext uri="{FF2B5EF4-FFF2-40B4-BE49-F238E27FC236}">
                        <a16:creationId xmlns:a16="http://schemas.microsoft.com/office/drawing/2014/main" id="{E7E7D765-2E6E-406F-9C92-EB7DB9662DE9}"/>
                      </a:ext>
                    </a:extLst>
                  </p:cNvPr>
                  <p:cNvSpPr/>
                  <p:nvPr/>
                </p:nvSpPr>
                <p:spPr>
                  <a:xfrm>
                    <a:off x="3934834" y="3360334"/>
                    <a:ext cx="3048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5" name="Freeform 281">
                    <a:extLst>
                      <a:ext uri="{FF2B5EF4-FFF2-40B4-BE49-F238E27FC236}">
                        <a16:creationId xmlns:a16="http://schemas.microsoft.com/office/drawing/2014/main" id="{B0580521-DA11-4C58-8C2A-E58E6CC7C4EA}"/>
                      </a:ext>
                    </a:extLst>
                  </p:cNvPr>
                  <p:cNvSpPr/>
                  <p:nvPr/>
                </p:nvSpPr>
                <p:spPr>
                  <a:xfrm>
                    <a:off x="4008842" y="3354224"/>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6" name="Freeform 282">
                    <a:extLst>
                      <a:ext uri="{FF2B5EF4-FFF2-40B4-BE49-F238E27FC236}">
                        <a16:creationId xmlns:a16="http://schemas.microsoft.com/office/drawing/2014/main" id="{62EC1F9D-48FA-4721-BB38-08EA13AFCC14}"/>
                      </a:ext>
                    </a:extLst>
                  </p:cNvPr>
                  <p:cNvSpPr/>
                  <p:nvPr/>
                </p:nvSpPr>
                <p:spPr>
                  <a:xfrm>
                    <a:off x="4037755" y="3365286"/>
                    <a:ext cx="45720"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7" name="Freeform 283">
                    <a:extLst>
                      <a:ext uri="{FF2B5EF4-FFF2-40B4-BE49-F238E27FC236}">
                        <a16:creationId xmlns:a16="http://schemas.microsoft.com/office/drawing/2014/main" id="{96397460-7F29-43AD-A3A7-EF147C6CB5B0}"/>
                      </a:ext>
                    </a:extLst>
                  </p:cNvPr>
                  <p:cNvSpPr/>
                  <p:nvPr/>
                </p:nvSpPr>
                <p:spPr>
                  <a:xfrm>
                    <a:off x="4194721" y="3326342"/>
                    <a:ext cx="45720"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8" name="Oval 197">
                    <a:extLst>
                      <a:ext uri="{FF2B5EF4-FFF2-40B4-BE49-F238E27FC236}">
                        <a16:creationId xmlns:a16="http://schemas.microsoft.com/office/drawing/2014/main" id="{FE529F51-9E33-45B8-B6DC-FFD3D3E7575C}"/>
                      </a:ext>
                    </a:extLst>
                  </p:cNvPr>
                  <p:cNvSpPr/>
                  <p:nvPr/>
                </p:nvSpPr>
                <p:spPr>
                  <a:xfrm>
                    <a:off x="4194721"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9" name="Freeform 285">
                    <a:extLst>
                      <a:ext uri="{FF2B5EF4-FFF2-40B4-BE49-F238E27FC236}">
                        <a16:creationId xmlns:a16="http://schemas.microsoft.com/office/drawing/2014/main" id="{1F986D16-496D-471F-9A9B-43B47D4896D4}"/>
                      </a:ext>
                    </a:extLst>
                  </p:cNvPr>
                  <p:cNvSpPr/>
                  <p:nvPr/>
                </p:nvSpPr>
                <p:spPr>
                  <a:xfrm>
                    <a:off x="4256462" y="3365286"/>
                    <a:ext cx="46259"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0" name="Oval 199">
                    <a:extLst>
                      <a:ext uri="{FF2B5EF4-FFF2-40B4-BE49-F238E27FC236}">
                        <a16:creationId xmlns:a16="http://schemas.microsoft.com/office/drawing/2014/main" id="{0FB931C6-1668-4816-9767-B137513F791D}"/>
                      </a:ext>
                    </a:extLst>
                  </p:cNvPr>
                  <p:cNvSpPr/>
                  <p:nvPr/>
                </p:nvSpPr>
                <p:spPr>
                  <a:xfrm>
                    <a:off x="4310028"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1" name="Oval 200">
                    <a:extLst>
                      <a:ext uri="{FF2B5EF4-FFF2-40B4-BE49-F238E27FC236}">
                        <a16:creationId xmlns:a16="http://schemas.microsoft.com/office/drawing/2014/main" id="{BA8D8F88-EB89-4883-BC18-62245599FA80}"/>
                      </a:ext>
                    </a:extLst>
                  </p:cNvPr>
                  <p:cNvSpPr/>
                  <p:nvPr/>
                </p:nvSpPr>
                <p:spPr>
                  <a:xfrm>
                    <a:off x="4086720"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2" name="Oval 201">
                    <a:extLst>
                      <a:ext uri="{FF2B5EF4-FFF2-40B4-BE49-F238E27FC236}">
                        <a16:creationId xmlns:a16="http://schemas.microsoft.com/office/drawing/2014/main" id="{0B092A6B-764B-4294-A319-A9784CF2AB07}"/>
                      </a:ext>
                    </a:extLst>
                  </p:cNvPr>
                  <p:cNvSpPr/>
                  <p:nvPr/>
                </p:nvSpPr>
                <p:spPr>
                  <a:xfrm>
                    <a:off x="4422171"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3" name="Oval 202">
                    <a:extLst>
                      <a:ext uri="{FF2B5EF4-FFF2-40B4-BE49-F238E27FC236}">
                        <a16:creationId xmlns:a16="http://schemas.microsoft.com/office/drawing/2014/main" id="{799DA1B2-D3AE-433A-A506-529EE17CF2E0}"/>
                      </a:ext>
                    </a:extLst>
                  </p:cNvPr>
                  <p:cNvSpPr/>
                  <p:nvPr/>
                </p:nvSpPr>
                <p:spPr>
                  <a:xfrm>
                    <a:off x="4537836"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4" name="Oval 203">
                    <a:extLst>
                      <a:ext uri="{FF2B5EF4-FFF2-40B4-BE49-F238E27FC236}">
                        <a16:creationId xmlns:a16="http://schemas.microsoft.com/office/drawing/2014/main" id="{295DD40A-E69C-405C-8FE3-FC02D3505494}"/>
                      </a:ext>
                    </a:extLst>
                  </p:cNvPr>
                  <p:cNvSpPr/>
                  <p:nvPr/>
                </p:nvSpPr>
                <p:spPr>
                  <a:xfrm>
                    <a:off x="4645835"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5" name="Freeform 291">
                    <a:extLst>
                      <a:ext uri="{FF2B5EF4-FFF2-40B4-BE49-F238E27FC236}">
                        <a16:creationId xmlns:a16="http://schemas.microsoft.com/office/drawing/2014/main" id="{5D25C799-7FAF-4672-A2D7-F6E6869ACAB6}"/>
                      </a:ext>
                    </a:extLst>
                  </p:cNvPr>
                  <p:cNvSpPr/>
                  <p:nvPr/>
                </p:nvSpPr>
                <p:spPr>
                  <a:xfrm>
                    <a:off x="4095002" y="3342341"/>
                    <a:ext cx="45720"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6" name="Freeform 292">
                    <a:extLst>
                      <a:ext uri="{FF2B5EF4-FFF2-40B4-BE49-F238E27FC236}">
                        <a16:creationId xmlns:a16="http://schemas.microsoft.com/office/drawing/2014/main" id="{EBA04657-FE84-4FA5-BFBE-548EF5329FBB}"/>
                      </a:ext>
                    </a:extLst>
                  </p:cNvPr>
                  <p:cNvSpPr/>
                  <p:nvPr/>
                </p:nvSpPr>
                <p:spPr>
                  <a:xfrm>
                    <a:off x="4153455"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7" name="Freeform 293">
                    <a:extLst>
                      <a:ext uri="{FF2B5EF4-FFF2-40B4-BE49-F238E27FC236}">
                        <a16:creationId xmlns:a16="http://schemas.microsoft.com/office/drawing/2014/main" id="{41FC80BF-B5A5-4579-917E-84C2CAA396C2}"/>
                      </a:ext>
                    </a:extLst>
                  </p:cNvPr>
                  <p:cNvSpPr/>
                  <p:nvPr/>
                </p:nvSpPr>
                <p:spPr>
                  <a:xfrm>
                    <a:off x="4342167"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8" name="Freeform 294">
                    <a:extLst>
                      <a:ext uri="{FF2B5EF4-FFF2-40B4-BE49-F238E27FC236}">
                        <a16:creationId xmlns:a16="http://schemas.microsoft.com/office/drawing/2014/main" id="{65B4C460-6E19-4557-A9E9-BA212376921E}"/>
                      </a:ext>
                    </a:extLst>
                  </p:cNvPr>
                  <p:cNvSpPr/>
                  <p:nvPr/>
                </p:nvSpPr>
                <p:spPr>
                  <a:xfrm>
                    <a:off x="4372306" y="3360336"/>
                    <a:ext cx="4572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9" name="Freeform 295">
                    <a:extLst>
                      <a:ext uri="{FF2B5EF4-FFF2-40B4-BE49-F238E27FC236}">
                        <a16:creationId xmlns:a16="http://schemas.microsoft.com/office/drawing/2014/main" id="{ABE358F9-B779-46A0-93F5-2F3060F1F8EA}"/>
                      </a:ext>
                    </a:extLst>
                  </p:cNvPr>
                  <p:cNvSpPr/>
                  <p:nvPr/>
                </p:nvSpPr>
                <p:spPr>
                  <a:xfrm>
                    <a:off x="4453158" y="3357001"/>
                    <a:ext cx="31772"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0" name="Freeform 296">
                    <a:extLst>
                      <a:ext uri="{FF2B5EF4-FFF2-40B4-BE49-F238E27FC236}">
                        <a16:creationId xmlns:a16="http://schemas.microsoft.com/office/drawing/2014/main" id="{937ABDB7-DE1A-4754-B953-6C1676A29E04}"/>
                      </a:ext>
                    </a:extLst>
                  </p:cNvPr>
                  <p:cNvSpPr/>
                  <p:nvPr/>
                </p:nvSpPr>
                <p:spPr>
                  <a:xfrm>
                    <a:off x="4487266" y="3357001"/>
                    <a:ext cx="40005" cy="18812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1" name="Freeform 297">
                    <a:extLst>
                      <a:ext uri="{FF2B5EF4-FFF2-40B4-BE49-F238E27FC236}">
                        <a16:creationId xmlns:a16="http://schemas.microsoft.com/office/drawing/2014/main" id="{2FBE412F-3DB8-4365-8336-E6044118D9E3}"/>
                      </a:ext>
                    </a:extLst>
                  </p:cNvPr>
                  <p:cNvSpPr/>
                  <p:nvPr/>
                </p:nvSpPr>
                <p:spPr>
                  <a:xfrm>
                    <a:off x="4570783"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2" name="Freeform 298">
                    <a:extLst>
                      <a:ext uri="{FF2B5EF4-FFF2-40B4-BE49-F238E27FC236}">
                        <a16:creationId xmlns:a16="http://schemas.microsoft.com/office/drawing/2014/main" id="{EB96B3A1-0B4A-4D7C-A6BC-D6993E1F9674}"/>
                      </a:ext>
                    </a:extLst>
                  </p:cNvPr>
                  <p:cNvSpPr/>
                  <p:nvPr/>
                </p:nvSpPr>
                <p:spPr>
                  <a:xfrm>
                    <a:off x="4605197" y="3360337"/>
                    <a:ext cx="3048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3" name="Freeform 299">
                    <a:extLst>
                      <a:ext uri="{FF2B5EF4-FFF2-40B4-BE49-F238E27FC236}">
                        <a16:creationId xmlns:a16="http://schemas.microsoft.com/office/drawing/2014/main" id="{B47D9A99-6246-406B-A2EC-2A6BBC4F169B}"/>
                      </a:ext>
                    </a:extLst>
                  </p:cNvPr>
                  <p:cNvSpPr/>
                  <p:nvPr/>
                </p:nvSpPr>
                <p:spPr>
                  <a:xfrm>
                    <a:off x="4679200" y="3354227"/>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4" name="Freeform 300">
                    <a:extLst>
                      <a:ext uri="{FF2B5EF4-FFF2-40B4-BE49-F238E27FC236}">
                        <a16:creationId xmlns:a16="http://schemas.microsoft.com/office/drawing/2014/main" id="{331AC2C4-466D-4BDB-BFE9-BF4A42D74E56}"/>
                      </a:ext>
                    </a:extLst>
                  </p:cNvPr>
                  <p:cNvSpPr/>
                  <p:nvPr/>
                </p:nvSpPr>
                <p:spPr>
                  <a:xfrm>
                    <a:off x="4708115" y="3365285"/>
                    <a:ext cx="45720"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5" name="Freeform 301">
                    <a:extLst>
                      <a:ext uri="{FF2B5EF4-FFF2-40B4-BE49-F238E27FC236}">
                        <a16:creationId xmlns:a16="http://schemas.microsoft.com/office/drawing/2014/main" id="{65F4AA6B-6242-46D0-BE10-8EC356458213}"/>
                      </a:ext>
                    </a:extLst>
                  </p:cNvPr>
                  <p:cNvSpPr/>
                  <p:nvPr/>
                </p:nvSpPr>
                <p:spPr>
                  <a:xfrm>
                    <a:off x="4876992" y="3326341"/>
                    <a:ext cx="45720"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6" name="Oval 215">
                    <a:extLst>
                      <a:ext uri="{FF2B5EF4-FFF2-40B4-BE49-F238E27FC236}">
                        <a16:creationId xmlns:a16="http://schemas.microsoft.com/office/drawing/2014/main" id="{5B8F626E-FF78-4C30-A26E-90D0A29B39DF}"/>
                      </a:ext>
                    </a:extLst>
                  </p:cNvPr>
                  <p:cNvSpPr/>
                  <p:nvPr/>
                </p:nvSpPr>
                <p:spPr>
                  <a:xfrm>
                    <a:off x="4876992" y="3253278"/>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7" name="Freeform 303">
                    <a:extLst>
                      <a:ext uri="{FF2B5EF4-FFF2-40B4-BE49-F238E27FC236}">
                        <a16:creationId xmlns:a16="http://schemas.microsoft.com/office/drawing/2014/main" id="{B2C0C786-C65D-46BC-942B-93E5829D4088}"/>
                      </a:ext>
                    </a:extLst>
                  </p:cNvPr>
                  <p:cNvSpPr/>
                  <p:nvPr/>
                </p:nvSpPr>
                <p:spPr>
                  <a:xfrm>
                    <a:off x="4938734" y="3365283"/>
                    <a:ext cx="46259"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8" name="Oval 217">
                    <a:extLst>
                      <a:ext uri="{FF2B5EF4-FFF2-40B4-BE49-F238E27FC236}">
                        <a16:creationId xmlns:a16="http://schemas.microsoft.com/office/drawing/2014/main" id="{9A84C42D-DD20-4E59-A53F-AE6FBB6CBCFF}"/>
                      </a:ext>
                    </a:extLst>
                  </p:cNvPr>
                  <p:cNvSpPr/>
                  <p:nvPr/>
                </p:nvSpPr>
                <p:spPr>
                  <a:xfrm>
                    <a:off x="4992299" y="3253277"/>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9" name="Oval 218">
                    <a:extLst>
                      <a:ext uri="{FF2B5EF4-FFF2-40B4-BE49-F238E27FC236}">
                        <a16:creationId xmlns:a16="http://schemas.microsoft.com/office/drawing/2014/main" id="{5B12BEAF-BA9B-4483-8537-2FF532C8E487}"/>
                      </a:ext>
                    </a:extLst>
                  </p:cNvPr>
                  <p:cNvSpPr/>
                  <p:nvPr/>
                </p:nvSpPr>
                <p:spPr>
                  <a:xfrm>
                    <a:off x="4768993" y="3253277"/>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0" name="Oval 219">
                    <a:extLst>
                      <a:ext uri="{FF2B5EF4-FFF2-40B4-BE49-F238E27FC236}">
                        <a16:creationId xmlns:a16="http://schemas.microsoft.com/office/drawing/2014/main" id="{AD856F02-D7FD-423E-9980-00B14165C58F}"/>
                      </a:ext>
                    </a:extLst>
                  </p:cNvPr>
                  <p:cNvSpPr/>
                  <p:nvPr/>
                </p:nvSpPr>
                <p:spPr>
                  <a:xfrm>
                    <a:off x="5104443" y="3253277"/>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1" name="Oval 220">
                    <a:extLst>
                      <a:ext uri="{FF2B5EF4-FFF2-40B4-BE49-F238E27FC236}">
                        <a16:creationId xmlns:a16="http://schemas.microsoft.com/office/drawing/2014/main" id="{1530F4A7-3D5C-4853-83DF-9CCAD8A7A28E}"/>
                      </a:ext>
                    </a:extLst>
                  </p:cNvPr>
                  <p:cNvSpPr/>
                  <p:nvPr/>
                </p:nvSpPr>
                <p:spPr>
                  <a:xfrm>
                    <a:off x="5220108" y="3253277"/>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2" name="Oval 221">
                    <a:extLst>
                      <a:ext uri="{FF2B5EF4-FFF2-40B4-BE49-F238E27FC236}">
                        <a16:creationId xmlns:a16="http://schemas.microsoft.com/office/drawing/2014/main" id="{1C2E942B-26EF-48E4-BC97-11AFB254DF57}"/>
                      </a:ext>
                    </a:extLst>
                  </p:cNvPr>
                  <p:cNvSpPr/>
                  <p:nvPr/>
                </p:nvSpPr>
                <p:spPr>
                  <a:xfrm>
                    <a:off x="5328105" y="3253268"/>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3" name="Freeform 309">
                    <a:extLst>
                      <a:ext uri="{FF2B5EF4-FFF2-40B4-BE49-F238E27FC236}">
                        <a16:creationId xmlns:a16="http://schemas.microsoft.com/office/drawing/2014/main" id="{9C140E17-5C31-4FEA-A07A-036EFE151645}"/>
                      </a:ext>
                    </a:extLst>
                  </p:cNvPr>
                  <p:cNvSpPr/>
                  <p:nvPr/>
                </p:nvSpPr>
                <p:spPr>
                  <a:xfrm>
                    <a:off x="4777272" y="3342314"/>
                    <a:ext cx="45720" cy="19999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4" name="Freeform 310">
                    <a:extLst>
                      <a:ext uri="{FF2B5EF4-FFF2-40B4-BE49-F238E27FC236}">
                        <a16:creationId xmlns:a16="http://schemas.microsoft.com/office/drawing/2014/main" id="{53AE1976-75B8-40EB-AE5E-7206C6A5B1CC}"/>
                      </a:ext>
                    </a:extLst>
                  </p:cNvPr>
                  <p:cNvSpPr/>
                  <p:nvPr/>
                </p:nvSpPr>
                <p:spPr>
                  <a:xfrm>
                    <a:off x="4835725" y="3356974"/>
                    <a:ext cx="20633" cy="188118"/>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5" name="Freeform 311">
                    <a:extLst>
                      <a:ext uri="{FF2B5EF4-FFF2-40B4-BE49-F238E27FC236}">
                        <a16:creationId xmlns:a16="http://schemas.microsoft.com/office/drawing/2014/main" id="{AD07BBBA-AB59-466B-B3A9-29A66026AEB6}"/>
                      </a:ext>
                    </a:extLst>
                  </p:cNvPr>
                  <p:cNvSpPr/>
                  <p:nvPr/>
                </p:nvSpPr>
                <p:spPr>
                  <a:xfrm>
                    <a:off x="5024435" y="3356974"/>
                    <a:ext cx="20633" cy="188118"/>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6" name="Freeform 312">
                    <a:extLst>
                      <a:ext uri="{FF2B5EF4-FFF2-40B4-BE49-F238E27FC236}">
                        <a16:creationId xmlns:a16="http://schemas.microsoft.com/office/drawing/2014/main" id="{82687303-3578-47DD-A2D9-EB515FB6D5E0}"/>
                      </a:ext>
                    </a:extLst>
                  </p:cNvPr>
                  <p:cNvSpPr/>
                  <p:nvPr/>
                </p:nvSpPr>
                <p:spPr>
                  <a:xfrm>
                    <a:off x="5054568" y="3360309"/>
                    <a:ext cx="4572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7" name="Freeform 313">
                    <a:extLst>
                      <a:ext uri="{FF2B5EF4-FFF2-40B4-BE49-F238E27FC236}">
                        <a16:creationId xmlns:a16="http://schemas.microsoft.com/office/drawing/2014/main" id="{B917F011-AEB9-42B3-BE93-D970DD1161BF}"/>
                      </a:ext>
                    </a:extLst>
                  </p:cNvPr>
                  <p:cNvSpPr/>
                  <p:nvPr/>
                </p:nvSpPr>
                <p:spPr>
                  <a:xfrm>
                    <a:off x="5135428" y="3356974"/>
                    <a:ext cx="31772" cy="179833"/>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8" name="Freeform 314">
                    <a:extLst>
                      <a:ext uri="{FF2B5EF4-FFF2-40B4-BE49-F238E27FC236}">
                        <a16:creationId xmlns:a16="http://schemas.microsoft.com/office/drawing/2014/main" id="{75572FB8-D026-4253-B3AD-32F4633F6C2E}"/>
                      </a:ext>
                    </a:extLst>
                  </p:cNvPr>
                  <p:cNvSpPr/>
                  <p:nvPr/>
                </p:nvSpPr>
                <p:spPr>
                  <a:xfrm>
                    <a:off x="5169537" y="3356974"/>
                    <a:ext cx="40005" cy="188118"/>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9" name="Freeform 315">
                    <a:extLst>
                      <a:ext uri="{FF2B5EF4-FFF2-40B4-BE49-F238E27FC236}">
                        <a16:creationId xmlns:a16="http://schemas.microsoft.com/office/drawing/2014/main" id="{BC95724F-3980-470E-9B31-D6CD5CC32330}"/>
                      </a:ext>
                    </a:extLst>
                  </p:cNvPr>
                  <p:cNvSpPr/>
                  <p:nvPr/>
                </p:nvSpPr>
                <p:spPr>
                  <a:xfrm>
                    <a:off x="5253060" y="3356974"/>
                    <a:ext cx="20633" cy="188118"/>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0" name="Freeform 316">
                    <a:extLst>
                      <a:ext uri="{FF2B5EF4-FFF2-40B4-BE49-F238E27FC236}">
                        <a16:creationId xmlns:a16="http://schemas.microsoft.com/office/drawing/2014/main" id="{4AB771DD-E334-4C12-B3CE-FD024D3A9656}"/>
                      </a:ext>
                    </a:extLst>
                  </p:cNvPr>
                  <p:cNvSpPr/>
                  <p:nvPr/>
                </p:nvSpPr>
                <p:spPr>
                  <a:xfrm>
                    <a:off x="5287452" y="3360308"/>
                    <a:ext cx="3048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1" name="Freeform 317">
                    <a:extLst>
                      <a:ext uri="{FF2B5EF4-FFF2-40B4-BE49-F238E27FC236}">
                        <a16:creationId xmlns:a16="http://schemas.microsoft.com/office/drawing/2014/main" id="{9CFB3A6C-67DD-425E-97AA-63E0302770A5}"/>
                      </a:ext>
                    </a:extLst>
                  </p:cNvPr>
                  <p:cNvSpPr/>
                  <p:nvPr/>
                </p:nvSpPr>
                <p:spPr>
                  <a:xfrm>
                    <a:off x="5361471" y="3354206"/>
                    <a:ext cx="20633" cy="188118"/>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2" name="Freeform 318">
                    <a:extLst>
                      <a:ext uri="{FF2B5EF4-FFF2-40B4-BE49-F238E27FC236}">
                        <a16:creationId xmlns:a16="http://schemas.microsoft.com/office/drawing/2014/main" id="{9861E9DA-DFF5-4AD5-9915-F397FE946097}"/>
                      </a:ext>
                    </a:extLst>
                  </p:cNvPr>
                  <p:cNvSpPr/>
                  <p:nvPr/>
                </p:nvSpPr>
                <p:spPr>
                  <a:xfrm>
                    <a:off x="5390301" y="3365265"/>
                    <a:ext cx="45720"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grpSp>
            <p:grpSp>
              <p:nvGrpSpPr>
                <p:cNvPr id="88" name="Group 87">
                  <a:extLst>
                    <a:ext uri="{FF2B5EF4-FFF2-40B4-BE49-F238E27FC236}">
                      <a16:creationId xmlns:a16="http://schemas.microsoft.com/office/drawing/2014/main" id="{22F5FB0C-A8B1-4F47-A33D-6D6EC69AD9B8}"/>
                    </a:ext>
                  </a:extLst>
                </p:cNvPr>
                <p:cNvGrpSpPr/>
                <p:nvPr/>
              </p:nvGrpSpPr>
              <p:grpSpPr>
                <a:xfrm flipV="1">
                  <a:off x="1951312" y="1919222"/>
                  <a:ext cx="1761002" cy="200507"/>
                  <a:chOff x="2846596" y="3861048"/>
                  <a:chExt cx="2704806" cy="291842"/>
                </a:xfrm>
                <a:solidFill>
                  <a:schemeClr val="bg1"/>
                </a:solidFill>
              </p:grpSpPr>
              <p:sp>
                <p:nvSpPr>
                  <p:cNvPr id="89" name="Freeform 175">
                    <a:extLst>
                      <a:ext uri="{FF2B5EF4-FFF2-40B4-BE49-F238E27FC236}">
                        <a16:creationId xmlns:a16="http://schemas.microsoft.com/office/drawing/2014/main" id="{4D506F89-EEB8-449C-8094-5BEF4B8E3548}"/>
                      </a:ext>
                    </a:extLst>
                  </p:cNvPr>
                  <p:cNvSpPr/>
                  <p:nvPr/>
                </p:nvSpPr>
                <p:spPr>
                  <a:xfrm>
                    <a:off x="2954596" y="3934111"/>
                    <a:ext cx="45719"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0" name="Oval 89">
                    <a:extLst>
                      <a:ext uri="{FF2B5EF4-FFF2-40B4-BE49-F238E27FC236}">
                        <a16:creationId xmlns:a16="http://schemas.microsoft.com/office/drawing/2014/main" id="{5C6B98D1-76F5-4238-B474-ECC481B9F3DE}"/>
                      </a:ext>
                    </a:extLst>
                  </p:cNvPr>
                  <p:cNvSpPr/>
                  <p:nvPr/>
                </p:nvSpPr>
                <p:spPr>
                  <a:xfrm>
                    <a:off x="2954596"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1" name="Freeform 177">
                    <a:extLst>
                      <a:ext uri="{FF2B5EF4-FFF2-40B4-BE49-F238E27FC236}">
                        <a16:creationId xmlns:a16="http://schemas.microsoft.com/office/drawing/2014/main" id="{4ACCCA6D-AA07-4D7E-9588-C5247948D295}"/>
                      </a:ext>
                    </a:extLst>
                  </p:cNvPr>
                  <p:cNvSpPr/>
                  <p:nvPr/>
                </p:nvSpPr>
                <p:spPr>
                  <a:xfrm>
                    <a:off x="3016337" y="3973054"/>
                    <a:ext cx="46259"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2" name="Oval 91">
                    <a:extLst>
                      <a:ext uri="{FF2B5EF4-FFF2-40B4-BE49-F238E27FC236}">
                        <a16:creationId xmlns:a16="http://schemas.microsoft.com/office/drawing/2014/main" id="{5053AB05-CCAB-4FFD-932F-99B1E6607149}"/>
                      </a:ext>
                    </a:extLst>
                  </p:cNvPr>
                  <p:cNvSpPr/>
                  <p:nvPr/>
                </p:nvSpPr>
                <p:spPr>
                  <a:xfrm>
                    <a:off x="3069902"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3" name="Oval 92">
                    <a:extLst>
                      <a:ext uri="{FF2B5EF4-FFF2-40B4-BE49-F238E27FC236}">
                        <a16:creationId xmlns:a16="http://schemas.microsoft.com/office/drawing/2014/main" id="{0857C886-8C33-4D91-9053-05C5E53843CF}"/>
                      </a:ext>
                    </a:extLst>
                  </p:cNvPr>
                  <p:cNvSpPr/>
                  <p:nvPr/>
                </p:nvSpPr>
                <p:spPr>
                  <a:xfrm>
                    <a:off x="2846596"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4" name="Oval 93">
                    <a:extLst>
                      <a:ext uri="{FF2B5EF4-FFF2-40B4-BE49-F238E27FC236}">
                        <a16:creationId xmlns:a16="http://schemas.microsoft.com/office/drawing/2014/main" id="{98AC5405-81BF-4BF2-8BF3-0796753176CA}"/>
                      </a:ext>
                    </a:extLst>
                  </p:cNvPr>
                  <p:cNvSpPr/>
                  <p:nvPr/>
                </p:nvSpPr>
                <p:spPr>
                  <a:xfrm>
                    <a:off x="3182045"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5" name="Oval 94">
                    <a:extLst>
                      <a:ext uri="{FF2B5EF4-FFF2-40B4-BE49-F238E27FC236}">
                        <a16:creationId xmlns:a16="http://schemas.microsoft.com/office/drawing/2014/main" id="{9F05E288-3614-42DE-9201-A151AFAA6C6C}"/>
                      </a:ext>
                    </a:extLst>
                  </p:cNvPr>
                  <p:cNvSpPr/>
                  <p:nvPr/>
                </p:nvSpPr>
                <p:spPr>
                  <a:xfrm>
                    <a:off x="3297710"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6" name="Oval 95">
                    <a:extLst>
                      <a:ext uri="{FF2B5EF4-FFF2-40B4-BE49-F238E27FC236}">
                        <a16:creationId xmlns:a16="http://schemas.microsoft.com/office/drawing/2014/main" id="{8BA81DD7-040A-4FB3-B9CD-8F9755A8A121}"/>
                      </a:ext>
                    </a:extLst>
                  </p:cNvPr>
                  <p:cNvSpPr/>
                  <p:nvPr/>
                </p:nvSpPr>
                <p:spPr>
                  <a:xfrm>
                    <a:off x="3405710"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7" name="Freeform 183">
                    <a:extLst>
                      <a:ext uri="{FF2B5EF4-FFF2-40B4-BE49-F238E27FC236}">
                        <a16:creationId xmlns:a16="http://schemas.microsoft.com/office/drawing/2014/main" id="{7FF5A5B2-1E6E-4F18-A8E5-902ED380FBF3}"/>
                      </a:ext>
                    </a:extLst>
                  </p:cNvPr>
                  <p:cNvSpPr/>
                  <p:nvPr/>
                </p:nvSpPr>
                <p:spPr>
                  <a:xfrm>
                    <a:off x="2854877" y="3950109"/>
                    <a:ext cx="45719"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8" name="Freeform 184">
                    <a:extLst>
                      <a:ext uri="{FF2B5EF4-FFF2-40B4-BE49-F238E27FC236}">
                        <a16:creationId xmlns:a16="http://schemas.microsoft.com/office/drawing/2014/main" id="{43B56065-E784-4C58-B144-0084E72E2C5F}"/>
                      </a:ext>
                    </a:extLst>
                  </p:cNvPr>
                  <p:cNvSpPr/>
                  <p:nvPr/>
                </p:nvSpPr>
                <p:spPr>
                  <a:xfrm>
                    <a:off x="2913332"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9" name="Freeform 185">
                    <a:extLst>
                      <a:ext uri="{FF2B5EF4-FFF2-40B4-BE49-F238E27FC236}">
                        <a16:creationId xmlns:a16="http://schemas.microsoft.com/office/drawing/2014/main" id="{A21AECD3-B274-42AF-A0C2-D5B0011E8554}"/>
                      </a:ext>
                    </a:extLst>
                  </p:cNvPr>
                  <p:cNvSpPr/>
                  <p:nvPr/>
                </p:nvSpPr>
                <p:spPr>
                  <a:xfrm>
                    <a:off x="3102044"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0" name="Freeform 186">
                    <a:extLst>
                      <a:ext uri="{FF2B5EF4-FFF2-40B4-BE49-F238E27FC236}">
                        <a16:creationId xmlns:a16="http://schemas.microsoft.com/office/drawing/2014/main" id="{0A285A40-AD58-4263-A649-6118C8960DD5}"/>
                      </a:ext>
                    </a:extLst>
                  </p:cNvPr>
                  <p:cNvSpPr/>
                  <p:nvPr/>
                </p:nvSpPr>
                <p:spPr>
                  <a:xfrm>
                    <a:off x="3132183" y="3968104"/>
                    <a:ext cx="45719"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1" name="Freeform 187">
                    <a:extLst>
                      <a:ext uri="{FF2B5EF4-FFF2-40B4-BE49-F238E27FC236}">
                        <a16:creationId xmlns:a16="http://schemas.microsoft.com/office/drawing/2014/main" id="{B85C12AC-E735-4F61-AA0F-D834EEAF83F7}"/>
                      </a:ext>
                    </a:extLst>
                  </p:cNvPr>
                  <p:cNvSpPr/>
                  <p:nvPr/>
                </p:nvSpPr>
                <p:spPr>
                  <a:xfrm>
                    <a:off x="3213037" y="3964769"/>
                    <a:ext cx="31771"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2" name="Freeform 188">
                    <a:extLst>
                      <a:ext uri="{FF2B5EF4-FFF2-40B4-BE49-F238E27FC236}">
                        <a16:creationId xmlns:a16="http://schemas.microsoft.com/office/drawing/2014/main" id="{9DCE10DC-33A1-4B38-A3CD-2BFB158998D3}"/>
                      </a:ext>
                    </a:extLst>
                  </p:cNvPr>
                  <p:cNvSpPr/>
                  <p:nvPr/>
                </p:nvSpPr>
                <p:spPr>
                  <a:xfrm>
                    <a:off x="3247146" y="3964769"/>
                    <a:ext cx="40005" cy="188119"/>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3" name="Freeform 189">
                    <a:extLst>
                      <a:ext uri="{FF2B5EF4-FFF2-40B4-BE49-F238E27FC236}">
                        <a16:creationId xmlns:a16="http://schemas.microsoft.com/office/drawing/2014/main" id="{DFC83D99-A02A-42E8-8C0F-C0092F4FC795}"/>
                      </a:ext>
                    </a:extLst>
                  </p:cNvPr>
                  <p:cNvSpPr/>
                  <p:nvPr/>
                </p:nvSpPr>
                <p:spPr>
                  <a:xfrm>
                    <a:off x="3330663"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4" name="Freeform 190">
                    <a:extLst>
                      <a:ext uri="{FF2B5EF4-FFF2-40B4-BE49-F238E27FC236}">
                        <a16:creationId xmlns:a16="http://schemas.microsoft.com/office/drawing/2014/main" id="{2484D1F5-27CA-421E-A0E7-D0D216DEEAD8}"/>
                      </a:ext>
                    </a:extLst>
                  </p:cNvPr>
                  <p:cNvSpPr/>
                  <p:nvPr/>
                </p:nvSpPr>
                <p:spPr>
                  <a:xfrm>
                    <a:off x="3365072" y="3968103"/>
                    <a:ext cx="3048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5" name="Freeform 191">
                    <a:extLst>
                      <a:ext uri="{FF2B5EF4-FFF2-40B4-BE49-F238E27FC236}">
                        <a16:creationId xmlns:a16="http://schemas.microsoft.com/office/drawing/2014/main" id="{1864D6CE-C0EA-4021-AD13-9042303BD614}"/>
                      </a:ext>
                    </a:extLst>
                  </p:cNvPr>
                  <p:cNvSpPr/>
                  <p:nvPr/>
                </p:nvSpPr>
                <p:spPr>
                  <a:xfrm>
                    <a:off x="3439078" y="3961992"/>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6" name="Freeform 192">
                    <a:extLst>
                      <a:ext uri="{FF2B5EF4-FFF2-40B4-BE49-F238E27FC236}">
                        <a16:creationId xmlns:a16="http://schemas.microsoft.com/office/drawing/2014/main" id="{AF6765BF-05BD-47B2-8662-64E84F8F77D0}"/>
                      </a:ext>
                    </a:extLst>
                  </p:cNvPr>
                  <p:cNvSpPr/>
                  <p:nvPr/>
                </p:nvSpPr>
                <p:spPr>
                  <a:xfrm>
                    <a:off x="3467991" y="3973054"/>
                    <a:ext cx="45719"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7" name="Freeform 193">
                    <a:extLst>
                      <a:ext uri="{FF2B5EF4-FFF2-40B4-BE49-F238E27FC236}">
                        <a16:creationId xmlns:a16="http://schemas.microsoft.com/office/drawing/2014/main" id="{82736E6B-CA13-4F8A-B677-12823E3F357A}"/>
                      </a:ext>
                    </a:extLst>
                  </p:cNvPr>
                  <p:cNvSpPr/>
                  <p:nvPr/>
                </p:nvSpPr>
                <p:spPr>
                  <a:xfrm>
                    <a:off x="3639653" y="3934111"/>
                    <a:ext cx="45719"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8" name="Oval 107">
                    <a:extLst>
                      <a:ext uri="{FF2B5EF4-FFF2-40B4-BE49-F238E27FC236}">
                        <a16:creationId xmlns:a16="http://schemas.microsoft.com/office/drawing/2014/main" id="{B59262D1-EEA9-4102-9CEC-6DFC21F84B36}"/>
                      </a:ext>
                    </a:extLst>
                  </p:cNvPr>
                  <p:cNvSpPr/>
                  <p:nvPr/>
                </p:nvSpPr>
                <p:spPr>
                  <a:xfrm>
                    <a:off x="3639653"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9" name="Freeform 195">
                    <a:extLst>
                      <a:ext uri="{FF2B5EF4-FFF2-40B4-BE49-F238E27FC236}">
                        <a16:creationId xmlns:a16="http://schemas.microsoft.com/office/drawing/2014/main" id="{697358EF-6B72-4D54-83E6-F961A1860DDA}"/>
                      </a:ext>
                    </a:extLst>
                  </p:cNvPr>
                  <p:cNvSpPr/>
                  <p:nvPr/>
                </p:nvSpPr>
                <p:spPr>
                  <a:xfrm>
                    <a:off x="3701394" y="3973054"/>
                    <a:ext cx="46259"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0" name="Oval 109">
                    <a:extLst>
                      <a:ext uri="{FF2B5EF4-FFF2-40B4-BE49-F238E27FC236}">
                        <a16:creationId xmlns:a16="http://schemas.microsoft.com/office/drawing/2014/main" id="{25B50DBB-497D-4888-BE50-55653BF9B57B}"/>
                      </a:ext>
                    </a:extLst>
                  </p:cNvPr>
                  <p:cNvSpPr/>
                  <p:nvPr/>
                </p:nvSpPr>
                <p:spPr>
                  <a:xfrm>
                    <a:off x="3754959"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1" name="Oval 110">
                    <a:extLst>
                      <a:ext uri="{FF2B5EF4-FFF2-40B4-BE49-F238E27FC236}">
                        <a16:creationId xmlns:a16="http://schemas.microsoft.com/office/drawing/2014/main" id="{1310A635-5FD0-432D-94FE-56495799AC98}"/>
                      </a:ext>
                    </a:extLst>
                  </p:cNvPr>
                  <p:cNvSpPr/>
                  <p:nvPr/>
                </p:nvSpPr>
                <p:spPr>
                  <a:xfrm>
                    <a:off x="3531653"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2" name="Oval 111">
                    <a:extLst>
                      <a:ext uri="{FF2B5EF4-FFF2-40B4-BE49-F238E27FC236}">
                        <a16:creationId xmlns:a16="http://schemas.microsoft.com/office/drawing/2014/main" id="{CFB11946-7C78-46B3-97B1-EE45380F973D}"/>
                      </a:ext>
                    </a:extLst>
                  </p:cNvPr>
                  <p:cNvSpPr/>
                  <p:nvPr/>
                </p:nvSpPr>
                <p:spPr>
                  <a:xfrm>
                    <a:off x="3867102"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3" name="Oval 112">
                    <a:extLst>
                      <a:ext uri="{FF2B5EF4-FFF2-40B4-BE49-F238E27FC236}">
                        <a16:creationId xmlns:a16="http://schemas.microsoft.com/office/drawing/2014/main" id="{F76BF7D3-FFF1-4315-975A-26B6F6534EBC}"/>
                      </a:ext>
                    </a:extLst>
                  </p:cNvPr>
                  <p:cNvSpPr/>
                  <p:nvPr/>
                </p:nvSpPr>
                <p:spPr>
                  <a:xfrm>
                    <a:off x="3982767"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4" name="Oval 113">
                    <a:extLst>
                      <a:ext uri="{FF2B5EF4-FFF2-40B4-BE49-F238E27FC236}">
                        <a16:creationId xmlns:a16="http://schemas.microsoft.com/office/drawing/2014/main" id="{21DB4832-198A-4AB9-837E-2C8AF781E200}"/>
                      </a:ext>
                    </a:extLst>
                  </p:cNvPr>
                  <p:cNvSpPr/>
                  <p:nvPr/>
                </p:nvSpPr>
                <p:spPr>
                  <a:xfrm>
                    <a:off x="4090767"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5" name="Freeform 201">
                    <a:extLst>
                      <a:ext uri="{FF2B5EF4-FFF2-40B4-BE49-F238E27FC236}">
                        <a16:creationId xmlns:a16="http://schemas.microsoft.com/office/drawing/2014/main" id="{D3DB1346-C847-428F-AAFB-9E24C5E75B5E}"/>
                      </a:ext>
                    </a:extLst>
                  </p:cNvPr>
                  <p:cNvSpPr/>
                  <p:nvPr/>
                </p:nvSpPr>
                <p:spPr>
                  <a:xfrm>
                    <a:off x="3539934" y="3950109"/>
                    <a:ext cx="45719"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6" name="Freeform 202">
                    <a:extLst>
                      <a:ext uri="{FF2B5EF4-FFF2-40B4-BE49-F238E27FC236}">
                        <a16:creationId xmlns:a16="http://schemas.microsoft.com/office/drawing/2014/main" id="{3A74C157-B7DB-41B2-802E-5AB565C49592}"/>
                      </a:ext>
                    </a:extLst>
                  </p:cNvPr>
                  <p:cNvSpPr/>
                  <p:nvPr/>
                </p:nvSpPr>
                <p:spPr>
                  <a:xfrm>
                    <a:off x="3598389"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7" name="Freeform 203">
                    <a:extLst>
                      <a:ext uri="{FF2B5EF4-FFF2-40B4-BE49-F238E27FC236}">
                        <a16:creationId xmlns:a16="http://schemas.microsoft.com/office/drawing/2014/main" id="{5B55509B-5FDA-4552-BB59-1C798B6B461B}"/>
                      </a:ext>
                    </a:extLst>
                  </p:cNvPr>
                  <p:cNvSpPr/>
                  <p:nvPr/>
                </p:nvSpPr>
                <p:spPr>
                  <a:xfrm>
                    <a:off x="3787101"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8" name="Freeform 204">
                    <a:extLst>
                      <a:ext uri="{FF2B5EF4-FFF2-40B4-BE49-F238E27FC236}">
                        <a16:creationId xmlns:a16="http://schemas.microsoft.com/office/drawing/2014/main" id="{1CDE88BA-33F7-46EC-93DC-3B3605773151}"/>
                      </a:ext>
                    </a:extLst>
                  </p:cNvPr>
                  <p:cNvSpPr/>
                  <p:nvPr/>
                </p:nvSpPr>
                <p:spPr>
                  <a:xfrm>
                    <a:off x="3817240" y="3968104"/>
                    <a:ext cx="45719"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9" name="Freeform 205">
                    <a:extLst>
                      <a:ext uri="{FF2B5EF4-FFF2-40B4-BE49-F238E27FC236}">
                        <a16:creationId xmlns:a16="http://schemas.microsoft.com/office/drawing/2014/main" id="{E12BC4F1-1BBD-4393-8242-5206BFB066F2}"/>
                      </a:ext>
                    </a:extLst>
                  </p:cNvPr>
                  <p:cNvSpPr/>
                  <p:nvPr/>
                </p:nvSpPr>
                <p:spPr>
                  <a:xfrm>
                    <a:off x="3898094" y="3964769"/>
                    <a:ext cx="31771"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0" name="Freeform 206">
                    <a:extLst>
                      <a:ext uri="{FF2B5EF4-FFF2-40B4-BE49-F238E27FC236}">
                        <a16:creationId xmlns:a16="http://schemas.microsoft.com/office/drawing/2014/main" id="{29DAC935-2BE9-4B60-A0F9-C8DA528169A9}"/>
                      </a:ext>
                    </a:extLst>
                  </p:cNvPr>
                  <p:cNvSpPr/>
                  <p:nvPr/>
                </p:nvSpPr>
                <p:spPr>
                  <a:xfrm>
                    <a:off x="3932203" y="3964769"/>
                    <a:ext cx="40005" cy="188119"/>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1" name="Freeform 207">
                    <a:extLst>
                      <a:ext uri="{FF2B5EF4-FFF2-40B4-BE49-F238E27FC236}">
                        <a16:creationId xmlns:a16="http://schemas.microsoft.com/office/drawing/2014/main" id="{0E10316C-2ACC-41CD-A364-3C0F5B3F7708}"/>
                      </a:ext>
                    </a:extLst>
                  </p:cNvPr>
                  <p:cNvSpPr/>
                  <p:nvPr/>
                </p:nvSpPr>
                <p:spPr>
                  <a:xfrm>
                    <a:off x="4015720"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2" name="Freeform 208">
                    <a:extLst>
                      <a:ext uri="{FF2B5EF4-FFF2-40B4-BE49-F238E27FC236}">
                        <a16:creationId xmlns:a16="http://schemas.microsoft.com/office/drawing/2014/main" id="{E4B42C9B-C18C-4BD7-B8CE-0F2B3850A0A3}"/>
                      </a:ext>
                    </a:extLst>
                  </p:cNvPr>
                  <p:cNvSpPr/>
                  <p:nvPr/>
                </p:nvSpPr>
                <p:spPr>
                  <a:xfrm>
                    <a:off x="4050129" y="3968103"/>
                    <a:ext cx="3048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3" name="Freeform 209">
                    <a:extLst>
                      <a:ext uri="{FF2B5EF4-FFF2-40B4-BE49-F238E27FC236}">
                        <a16:creationId xmlns:a16="http://schemas.microsoft.com/office/drawing/2014/main" id="{2320EAEF-EEF0-4B30-B9C4-BF9972615090}"/>
                      </a:ext>
                    </a:extLst>
                  </p:cNvPr>
                  <p:cNvSpPr/>
                  <p:nvPr/>
                </p:nvSpPr>
                <p:spPr>
                  <a:xfrm>
                    <a:off x="4124135" y="3961992"/>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4" name="Freeform 210">
                    <a:extLst>
                      <a:ext uri="{FF2B5EF4-FFF2-40B4-BE49-F238E27FC236}">
                        <a16:creationId xmlns:a16="http://schemas.microsoft.com/office/drawing/2014/main" id="{54AA243B-99FC-4616-A43F-7FDA566B756B}"/>
                      </a:ext>
                    </a:extLst>
                  </p:cNvPr>
                  <p:cNvSpPr/>
                  <p:nvPr/>
                </p:nvSpPr>
                <p:spPr>
                  <a:xfrm>
                    <a:off x="4153048" y="3973054"/>
                    <a:ext cx="45719"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5" name="Freeform 211">
                    <a:extLst>
                      <a:ext uri="{FF2B5EF4-FFF2-40B4-BE49-F238E27FC236}">
                        <a16:creationId xmlns:a16="http://schemas.microsoft.com/office/drawing/2014/main" id="{135E0986-2835-4FF6-8555-6EA64B0C8DBE}"/>
                      </a:ext>
                    </a:extLst>
                  </p:cNvPr>
                  <p:cNvSpPr/>
                  <p:nvPr/>
                </p:nvSpPr>
                <p:spPr>
                  <a:xfrm>
                    <a:off x="4310014" y="3934111"/>
                    <a:ext cx="45719"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6" name="Oval 125">
                    <a:extLst>
                      <a:ext uri="{FF2B5EF4-FFF2-40B4-BE49-F238E27FC236}">
                        <a16:creationId xmlns:a16="http://schemas.microsoft.com/office/drawing/2014/main" id="{2FF0999F-0190-4657-8AF8-2E1048A1A413}"/>
                      </a:ext>
                    </a:extLst>
                  </p:cNvPr>
                  <p:cNvSpPr/>
                  <p:nvPr/>
                </p:nvSpPr>
                <p:spPr>
                  <a:xfrm>
                    <a:off x="4310014"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7" name="Freeform 213">
                    <a:extLst>
                      <a:ext uri="{FF2B5EF4-FFF2-40B4-BE49-F238E27FC236}">
                        <a16:creationId xmlns:a16="http://schemas.microsoft.com/office/drawing/2014/main" id="{6E8CC960-A538-4306-BA0D-64F4AB1A35F4}"/>
                      </a:ext>
                    </a:extLst>
                  </p:cNvPr>
                  <p:cNvSpPr/>
                  <p:nvPr/>
                </p:nvSpPr>
                <p:spPr>
                  <a:xfrm>
                    <a:off x="4371755" y="3973054"/>
                    <a:ext cx="46259"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8" name="Oval 127">
                    <a:extLst>
                      <a:ext uri="{FF2B5EF4-FFF2-40B4-BE49-F238E27FC236}">
                        <a16:creationId xmlns:a16="http://schemas.microsoft.com/office/drawing/2014/main" id="{2A4DBB05-BB43-415B-AFA9-FE27113F1B1C}"/>
                      </a:ext>
                    </a:extLst>
                  </p:cNvPr>
                  <p:cNvSpPr/>
                  <p:nvPr/>
                </p:nvSpPr>
                <p:spPr>
                  <a:xfrm>
                    <a:off x="4425320"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9" name="Oval 128">
                    <a:extLst>
                      <a:ext uri="{FF2B5EF4-FFF2-40B4-BE49-F238E27FC236}">
                        <a16:creationId xmlns:a16="http://schemas.microsoft.com/office/drawing/2014/main" id="{66DF8902-180F-47A7-B443-F9DE8724C265}"/>
                      </a:ext>
                    </a:extLst>
                  </p:cNvPr>
                  <p:cNvSpPr/>
                  <p:nvPr/>
                </p:nvSpPr>
                <p:spPr>
                  <a:xfrm>
                    <a:off x="4202014"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0" name="Oval 129">
                    <a:extLst>
                      <a:ext uri="{FF2B5EF4-FFF2-40B4-BE49-F238E27FC236}">
                        <a16:creationId xmlns:a16="http://schemas.microsoft.com/office/drawing/2014/main" id="{8D5D1762-75D5-4534-90DA-B3951542A67E}"/>
                      </a:ext>
                    </a:extLst>
                  </p:cNvPr>
                  <p:cNvSpPr/>
                  <p:nvPr/>
                </p:nvSpPr>
                <p:spPr>
                  <a:xfrm>
                    <a:off x="4537463"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1" name="Oval 130">
                    <a:extLst>
                      <a:ext uri="{FF2B5EF4-FFF2-40B4-BE49-F238E27FC236}">
                        <a16:creationId xmlns:a16="http://schemas.microsoft.com/office/drawing/2014/main" id="{4F0BDF10-2DFB-4E7D-AB32-B7788999DBF4}"/>
                      </a:ext>
                    </a:extLst>
                  </p:cNvPr>
                  <p:cNvSpPr/>
                  <p:nvPr/>
                </p:nvSpPr>
                <p:spPr>
                  <a:xfrm>
                    <a:off x="4653128"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2" name="Oval 131">
                    <a:extLst>
                      <a:ext uri="{FF2B5EF4-FFF2-40B4-BE49-F238E27FC236}">
                        <a16:creationId xmlns:a16="http://schemas.microsoft.com/office/drawing/2014/main" id="{6E724847-00A3-4C18-8BC9-C38ECACE0442}"/>
                      </a:ext>
                    </a:extLst>
                  </p:cNvPr>
                  <p:cNvSpPr/>
                  <p:nvPr/>
                </p:nvSpPr>
                <p:spPr>
                  <a:xfrm>
                    <a:off x="4761128"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3" name="Freeform 219">
                    <a:extLst>
                      <a:ext uri="{FF2B5EF4-FFF2-40B4-BE49-F238E27FC236}">
                        <a16:creationId xmlns:a16="http://schemas.microsoft.com/office/drawing/2014/main" id="{1DC8897D-9543-49C5-9A0A-A9F9855F427B}"/>
                      </a:ext>
                    </a:extLst>
                  </p:cNvPr>
                  <p:cNvSpPr/>
                  <p:nvPr/>
                </p:nvSpPr>
                <p:spPr>
                  <a:xfrm>
                    <a:off x="4210295" y="3950109"/>
                    <a:ext cx="45719"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4" name="Freeform 220">
                    <a:extLst>
                      <a:ext uri="{FF2B5EF4-FFF2-40B4-BE49-F238E27FC236}">
                        <a16:creationId xmlns:a16="http://schemas.microsoft.com/office/drawing/2014/main" id="{7C693316-DBA5-4035-B4C6-DA0904129EE5}"/>
                      </a:ext>
                    </a:extLst>
                  </p:cNvPr>
                  <p:cNvSpPr/>
                  <p:nvPr/>
                </p:nvSpPr>
                <p:spPr>
                  <a:xfrm>
                    <a:off x="4268750"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5" name="Freeform 221">
                    <a:extLst>
                      <a:ext uri="{FF2B5EF4-FFF2-40B4-BE49-F238E27FC236}">
                        <a16:creationId xmlns:a16="http://schemas.microsoft.com/office/drawing/2014/main" id="{127B2C37-8A5A-4E4C-9348-FE11D2F92950}"/>
                      </a:ext>
                    </a:extLst>
                  </p:cNvPr>
                  <p:cNvSpPr/>
                  <p:nvPr/>
                </p:nvSpPr>
                <p:spPr>
                  <a:xfrm>
                    <a:off x="4457462"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6" name="Freeform 222">
                    <a:extLst>
                      <a:ext uri="{FF2B5EF4-FFF2-40B4-BE49-F238E27FC236}">
                        <a16:creationId xmlns:a16="http://schemas.microsoft.com/office/drawing/2014/main" id="{351045EC-45BB-43E9-A32B-8B21E7DF20CE}"/>
                      </a:ext>
                    </a:extLst>
                  </p:cNvPr>
                  <p:cNvSpPr/>
                  <p:nvPr/>
                </p:nvSpPr>
                <p:spPr>
                  <a:xfrm>
                    <a:off x="4487601" y="3968104"/>
                    <a:ext cx="45719"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7" name="Freeform 223">
                    <a:extLst>
                      <a:ext uri="{FF2B5EF4-FFF2-40B4-BE49-F238E27FC236}">
                        <a16:creationId xmlns:a16="http://schemas.microsoft.com/office/drawing/2014/main" id="{97C2596A-B3AB-45DA-AEAC-A779A1B6226E}"/>
                      </a:ext>
                    </a:extLst>
                  </p:cNvPr>
                  <p:cNvSpPr/>
                  <p:nvPr/>
                </p:nvSpPr>
                <p:spPr>
                  <a:xfrm>
                    <a:off x="4568455" y="3964769"/>
                    <a:ext cx="31771"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8" name="Freeform 224">
                    <a:extLst>
                      <a:ext uri="{FF2B5EF4-FFF2-40B4-BE49-F238E27FC236}">
                        <a16:creationId xmlns:a16="http://schemas.microsoft.com/office/drawing/2014/main" id="{7B985FC8-EF5D-43A0-B0F0-09020895F253}"/>
                      </a:ext>
                    </a:extLst>
                  </p:cNvPr>
                  <p:cNvSpPr/>
                  <p:nvPr/>
                </p:nvSpPr>
                <p:spPr>
                  <a:xfrm>
                    <a:off x="4602564" y="3964769"/>
                    <a:ext cx="40005" cy="188119"/>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9" name="Freeform 225">
                    <a:extLst>
                      <a:ext uri="{FF2B5EF4-FFF2-40B4-BE49-F238E27FC236}">
                        <a16:creationId xmlns:a16="http://schemas.microsoft.com/office/drawing/2014/main" id="{603D720C-371F-49BC-8BB2-52691850C271}"/>
                      </a:ext>
                    </a:extLst>
                  </p:cNvPr>
                  <p:cNvSpPr/>
                  <p:nvPr/>
                </p:nvSpPr>
                <p:spPr>
                  <a:xfrm>
                    <a:off x="4686081"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0" name="Freeform 226">
                    <a:extLst>
                      <a:ext uri="{FF2B5EF4-FFF2-40B4-BE49-F238E27FC236}">
                        <a16:creationId xmlns:a16="http://schemas.microsoft.com/office/drawing/2014/main" id="{71237FB3-37E2-4B2B-BAEF-30E07763A37B}"/>
                      </a:ext>
                    </a:extLst>
                  </p:cNvPr>
                  <p:cNvSpPr/>
                  <p:nvPr/>
                </p:nvSpPr>
                <p:spPr>
                  <a:xfrm>
                    <a:off x="4720490" y="3968103"/>
                    <a:ext cx="3048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1" name="Freeform 227">
                    <a:extLst>
                      <a:ext uri="{FF2B5EF4-FFF2-40B4-BE49-F238E27FC236}">
                        <a16:creationId xmlns:a16="http://schemas.microsoft.com/office/drawing/2014/main" id="{59EC51D2-629B-422C-B72E-45BFB68882B1}"/>
                      </a:ext>
                    </a:extLst>
                  </p:cNvPr>
                  <p:cNvSpPr/>
                  <p:nvPr/>
                </p:nvSpPr>
                <p:spPr>
                  <a:xfrm>
                    <a:off x="4794496" y="3961992"/>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2" name="Freeform 228">
                    <a:extLst>
                      <a:ext uri="{FF2B5EF4-FFF2-40B4-BE49-F238E27FC236}">
                        <a16:creationId xmlns:a16="http://schemas.microsoft.com/office/drawing/2014/main" id="{F1EBA498-DFC8-4003-8ED5-AAF9CB8CAB19}"/>
                      </a:ext>
                    </a:extLst>
                  </p:cNvPr>
                  <p:cNvSpPr/>
                  <p:nvPr/>
                </p:nvSpPr>
                <p:spPr>
                  <a:xfrm>
                    <a:off x="4823409" y="3973054"/>
                    <a:ext cx="45719"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3" name="Freeform 229">
                    <a:extLst>
                      <a:ext uri="{FF2B5EF4-FFF2-40B4-BE49-F238E27FC236}">
                        <a16:creationId xmlns:a16="http://schemas.microsoft.com/office/drawing/2014/main" id="{5FBA7659-0059-4450-A23E-5BD1D7A3E60C}"/>
                      </a:ext>
                    </a:extLst>
                  </p:cNvPr>
                  <p:cNvSpPr/>
                  <p:nvPr/>
                </p:nvSpPr>
                <p:spPr>
                  <a:xfrm>
                    <a:off x="4992288" y="3934111"/>
                    <a:ext cx="45719"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4" name="Oval 143">
                    <a:extLst>
                      <a:ext uri="{FF2B5EF4-FFF2-40B4-BE49-F238E27FC236}">
                        <a16:creationId xmlns:a16="http://schemas.microsoft.com/office/drawing/2014/main" id="{1365C90E-85E1-4727-97CA-7EF047674D1B}"/>
                      </a:ext>
                    </a:extLst>
                  </p:cNvPr>
                  <p:cNvSpPr/>
                  <p:nvPr/>
                </p:nvSpPr>
                <p:spPr>
                  <a:xfrm>
                    <a:off x="4992288"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5" name="Freeform 231">
                    <a:extLst>
                      <a:ext uri="{FF2B5EF4-FFF2-40B4-BE49-F238E27FC236}">
                        <a16:creationId xmlns:a16="http://schemas.microsoft.com/office/drawing/2014/main" id="{E6D7757F-F06C-47EA-A54E-7709D6F44C0F}"/>
                      </a:ext>
                    </a:extLst>
                  </p:cNvPr>
                  <p:cNvSpPr/>
                  <p:nvPr/>
                </p:nvSpPr>
                <p:spPr>
                  <a:xfrm>
                    <a:off x="5054029" y="3973054"/>
                    <a:ext cx="46259"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6" name="Oval 145">
                    <a:extLst>
                      <a:ext uri="{FF2B5EF4-FFF2-40B4-BE49-F238E27FC236}">
                        <a16:creationId xmlns:a16="http://schemas.microsoft.com/office/drawing/2014/main" id="{6A675063-EBD0-41B0-B8E6-9F9A6BB2590A}"/>
                      </a:ext>
                    </a:extLst>
                  </p:cNvPr>
                  <p:cNvSpPr/>
                  <p:nvPr/>
                </p:nvSpPr>
                <p:spPr>
                  <a:xfrm>
                    <a:off x="5107594"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7" name="Oval 146">
                    <a:extLst>
                      <a:ext uri="{FF2B5EF4-FFF2-40B4-BE49-F238E27FC236}">
                        <a16:creationId xmlns:a16="http://schemas.microsoft.com/office/drawing/2014/main" id="{AC5ABF85-DB7B-4733-B674-ADD8AE521FD5}"/>
                      </a:ext>
                    </a:extLst>
                  </p:cNvPr>
                  <p:cNvSpPr/>
                  <p:nvPr/>
                </p:nvSpPr>
                <p:spPr>
                  <a:xfrm>
                    <a:off x="4884288"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8" name="Oval 147">
                    <a:extLst>
                      <a:ext uri="{FF2B5EF4-FFF2-40B4-BE49-F238E27FC236}">
                        <a16:creationId xmlns:a16="http://schemas.microsoft.com/office/drawing/2014/main" id="{4E4F0682-B73F-4F6B-8BF2-97B8DD0D4C60}"/>
                      </a:ext>
                    </a:extLst>
                  </p:cNvPr>
                  <p:cNvSpPr/>
                  <p:nvPr/>
                </p:nvSpPr>
                <p:spPr>
                  <a:xfrm>
                    <a:off x="5219737"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9" name="Oval 148">
                    <a:extLst>
                      <a:ext uri="{FF2B5EF4-FFF2-40B4-BE49-F238E27FC236}">
                        <a16:creationId xmlns:a16="http://schemas.microsoft.com/office/drawing/2014/main" id="{2BA659DB-116A-417D-A573-5E43B5053A67}"/>
                      </a:ext>
                    </a:extLst>
                  </p:cNvPr>
                  <p:cNvSpPr/>
                  <p:nvPr/>
                </p:nvSpPr>
                <p:spPr>
                  <a:xfrm>
                    <a:off x="5335402"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0" name="Oval 149">
                    <a:extLst>
                      <a:ext uri="{FF2B5EF4-FFF2-40B4-BE49-F238E27FC236}">
                        <a16:creationId xmlns:a16="http://schemas.microsoft.com/office/drawing/2014/main" id="{9B9240A8-D25A-4F1C-96CC-F0715F9BE337}"/>
                      </a:ext>
                    </a:extLst>
                  </p:cNvPr>
                  <p:cNvSpPr/>
                  <p:nvPr/>
                </p:nvSpPr>
                <p:spPr>
                  <a:xfrm>
                    <a:off x="5443402"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1" name="Freeform 237">
                    <a:extLst>
                      <a:ext uri="{FF2B5EF4-FFF2-40B4-BE49-F238E27FC236}">
                        <a16:creationId xmlns:a16="http://schemas.microsoft.com/office/drawing/2014/main" id="{9518A3F5-7A03-4D3A-8198-09E97D0B7043}"/>
                      </a:ext>
                    </a:extLst>
                  </p:cNvPr>
                  <p:cNvSpPr/>
                  <p:nvPr/>
                </p:nvSpPr>
                <p:spPr>
                  <a:xfrm>
                    <a:off x="4892569" y="3950109"/>
                    <a:ext cx="45719"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2" name="Freeform 238">
                    <a:extLst>
                      <a:ext uri="{FF2B5EF4-FFF2-40B4-BE49-F238E27FC236}">
                        <a16:creationId xmlns:a16="http://schemas.microsoft.com/office/drawing/2014/main" id="{191D2812-805D-4C71-B916-352CDBAB91B9}"/>
                      </a:ext>
                    </a:extLst>
                  </p:cNvPr>
                  <p:cNvSpPr/>
                  <p:nvPr/>
                </p:nvSpPr>
                <p:spPr>
                  <a:xfrm>
                    <a:off x="4951024"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3" name="Freeform 239">
                    <a:extLst>
                      <a:ext uri="{FF2B5EF4-FFF2-40B4-BE49-F238E27FC236}">
                        <a16:creationId xmlns:a16="http://schemas.microsoft.com/office/drawing/2014/main" id="{18D46A3A-CD5D-4F6C-8FF8-5B5672ABA071}"/>
                      </a:ext>
                    </a:extLst>
                  </p:cNvPr>
                  <p:cNvSpPr/>
                  <p:nvPr/>
                </p:nvSpPr>
                <p:spPr>
                  <a:xfrm>
                    <a:off x="5139736"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4" name="Freeform 240">
                    <a:extLst>
                      <a:ext uri="{FF2B5EF4-FFF2-40B4-BE49-F238E27FC236}">
                        <a16:creationId xmlns:a16="http://schemas.microsoft.com/office/drawing/2014/main" id="{B7A2A5E7-ABD9-4958-ABDE-6F8C9E4827CF}"/>
                      </a:ext>
                    </a:extLst>
                  </p:cNvPr>
                  <p:cNvSpPr/>
                  <p:nvPr/>
                </p:nvSpPr>
                <p:spPr>
                  <a:xfrm>
                    <a:off x="5169875" y="3968104"/>
                    <a:ext cx="45719"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5" name="Freeform 241">
                    <a:extLst>
                      <a:ext uri="{FF2B5EF4-FFF2-40B4-BE49-F238E27FC236}">
                        <a16:creationId xmlns:a16="http://schemas.microsoft.com/office/drawing/2014/main" id="{A4ECF0DA-BADF-4DA5-A69C-9580CD6E169F}"/>
                      </a:ext>
                    </a:extLst>
                  </p:cNvPr>
                  <p:cNvSpPr/>
                  <p:nvPr/>
                </p:nvSpPr>
                <p:spPr>
                  <a:xfrm>
                    <a:off x="5250729" y="3964769"/>
                    <a:ext cx="31771"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6" name="Freeform 242">
                    <a:extLst>
                      <a:ext uri="{FF2B5EF4-FFF2-40B4-BE49-F238E27FC236}">
                        <a16:creationId xmlns:a16="http://schemas.microsoft.com/office/drawing/2014/main" id="{E688F439-E47A-4E6D-B8CB-26668E6733A9}"/>
                      </a:ext>
                    </a:extLst>
                  </p:cNvPr>
                  <p:cNvSpPr/>
                  <p:nvPr/>
                </p:nvSpPr>
                <p:spPr>
                  <a:xfrm>
                    <a:off x="5284838" y="3964769"/>
                    <a:ext cx="40005" cy="188119"/>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7" name="Freeform 243">
                    <a:extLst>
                      <a:ext uri="{FF2B5EF4-FFF2-40B4-BE49-F238E27FC236}">
                        <a16:creationId xmlns:a16="http://schemas.microsoft.com/office/drawing/2014/main" id="{188F5D33-D396-4C1C-902A-7151930C7682}"/>
                      </a:ext>
                    </a:extLst>
                  </p:cNvPr>
                  <p:cNvSpPr/>
                  <p:nvPr/>
                </p:nvSpPr>
                <p:spPr>
                  <a:xfrm>
                    <a:off x="5368355"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8" name="Freeform 244">
                    <a:extLst>
                      <a:ext uri="{FF2B5EF4-FFF2-40B4-BE49-F238E27FC236}">
                        <a16:creationId xmlns:a16="http://schemas.microsoft.com/office/drawing/2014/main" id="{A7D61967-51C1-4489-AE13-406F7877BEF3}"/>
                      </a:ext>
                    </a:extLst>
                  </p:cNvPr>
                  <p:cNvSpPr/>
                  <p:nvPr/>
                </p:nvSpPr>
                <p:spPr>
                  <a:xfrm>
                    <a:off x="5402764" y="3968103"/>
                    <a:ext cx="3048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9" name="Freeform 245">
                    <a:extLst>
                      <a:ext uri="{FF2B5EF4-FFF2-40B4-BE49-F238E27FC236}">
                        <a16:creationId xmlns:a16="http://schemas.microsoft.com/office/drawing/2014/main" id="{0EFDB182-1D8E-4A11-BB6D-8F86F4C58C02}"/>
                      </a:ext>
                    </a:extLst>
                  </p:cNvPr>
                  <p:cNvSpPr/>
                  <p:nvPr/>
                </p:nvSpPr>
                <p:spPr>
                  <a:xfrm>
                    <a:off x="5476770" y="3961992"/>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0" name="Freeform 246">
                    <a:extLst>
                      <a:ext uri="{FF2B5EF4-FFF2-40B4-BE49-F238E27FC236}">
                        <a16:creationId xmlns:a16="http://schemas.microsoft.com/office/drawing/2014/main" id="{3757BE52-D7F9-404D-AB07-F530C13C06E0}"/>
                      </a:ext>
                    </a:extLst>
                  </p:cNvPr>
                  <p:cNvSpPr/>
                  <p:nvPr/>
                </p:nvSpPr>
                <p:spPr>
                  <a:xfrm>
                    <a:off x="5505683" y="3973054"/>
                    <a:ext cx="45719"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grpSp>
          </p:grpSp>
          <p:sp>
            <p:nvSpPr>
              <p:cNvPr id="9" name="Freeform 95">
                <a:extLst>
                  <a:ext uri="{FF2B5EF4-FFF2-40B4-BE49-F238E27FC236}">
                    <a16:creationId xmlns:a16="http://schemas.microsoft.com/office/drawing/2014/main" id="{307652AC-2C29-41F6-BA19-F446B865F56A}"/>
                  </a:ext>
                </a:extLst>
              </p:cNvPr>
              <p:cNvSpPr/>
              <p:nvPr/>
            </p:nvSpPr>
            <p:spPr>
              <a:xfrm>
                <a:off x="1907303" y="1614093"/>
                <a:ext cx="29766" cy="148401"/>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 name="Oval 9">
                <a:extLst>
                  <a:ext uri="{FF2B5EF4-FFF2-40B4-BE49-F238E27FC236}">
                    <a16:creationId xmlns:a16="http://schemas.microsoft.com/office/drawing/2014/main" id="{F354BB51-CE7D-4C97-A2A3-56117668FA1B}"/>
                  </a:ext>
                </a:extLst>
              </p:cNvPr>
              <p:cNvSpPr/>
              <p:nvPr/>
            </p:nvSpPr>
            <p:spPr>
              <a:xfrm>
                <a:off x="1907303"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 name="Freeform 97">
                <a:extLst>
                  <a:ext uri="{FF2B5EF4-FFF2-40B4-BE49-F238E27FC236}">
                    <a16:creationId xmlns:a16="http://schemas.microsoft.com/office/drawing/2014/main" id="{F767FA5B-B4A1-4C97-A2D4-FB2096DFF1FA}"/>
                  </a:ext>
                </a:extLst>
              </p:cNvPr>
              <p:cNvSpPr/>
              <p:nvPr/>
            </p:nvSpPr>
            <p:spPr>
              <a:xfrm>
                <a:off x="1947500" y="1640849"/>
                <a:ext cx="30117" cy="12355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 name="Oval 11">
                <a:extLst>
                  <a:ext uri="{FF2B5EF4-FFF2-40B4-BE49-F238E27FC236}">
                    <a16:creationId xmlns:a16="http://schemas.microsoft.com/office/drawing/2014/main" id="{FC232A54-FFB3-4325-A8B2-6B9905D6E4D4}"/>
                  </a:ext>
                </a:extLst>
              </p:cNvPr>
              <p:cNvSpPr/>
              <p:nvPr/>
            </p:nvSpPr>
            <p:spPr>
              <a:xfrm>
                <a:off x="1982373"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 name="Oval 12">
                <a:extLst>
                  <a:ext uri="{FF2B5EF4-FFF2-40B4-BE49-F238E27FC236}">
                    <a16:creationId xmlns:a16="http://schemas.microsoft.com/office/drawing/2014/main" id="{34CAEECF-464B-483A-8AC1-BA88CBB80E1A}"/>
                  </a:ext>
                </a:extLst>
              </p:cNvPr>
              <p:cNvSpPr/>
              <p:nvPr/>
            </p:nvSpPr>
            <p:spPr>
              <a:xfrm>
                <a:off x="1836988"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 name="Oval 13">
                <a:extLst>
                  <a:ext uri="{FF2B5EF4-FFF2-40B4-BE49-F238E27FC236}">
                    <a16:creationId xmlns:a16="http://schemas.microsoft.com/office/drawing/2014/main" id="{71C9FA25-333C-4931-A8A1-20A98C78FE9F}"/>
                  </a:ext>
                </a:extLst>
              </p:cNvPr>
              <p:cNvSpPr/>
              <p:nvPr/>
            </p:nvSpPr>
            <p:spPr>
              <a:xfrm>
                <a:off x="2055384"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 name="Oval 14">
                <a:extLst>
                  <a:ext uri="{FF2B5EF4-FFF2-40B4-BE49-F238E27FC236}">
                    <a16:creationId xmlns:a16="http://schemas.microsoft.com/office/drawing/2014/main" id="{0DA56C24-339B-4FB1-96B9-EC0B69A3742C}"/>
                  </a:ext>
                </a:extLst>
              </p:cNvPr>
              <p:cNvSpPr/>
              <p:nvPr/>
            </p:nvSpPr>
            <p:spPr>
              <a:xfrm>
                <a:off x="2130688"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 name="Oval 15">
                <a:extLst>
                  <a:ext uri="{FF2B5EF4-FFF2-40B4-BE49-F238E27FC236}">
                    <a16:creationId xmlns:a16="http://schemas.microsoft.com/office/drawing/2014/main" id="{FFC1AF0A-46FB-490A-914C-D375BFF49931}"/>
                  </a:ext>
                </a:extLst>
              </p:cNvPr>
              <p:cNvSpPr/>
              <p:nvPr/>
            </p:nvSpPr>
            <p:spPr>
              <a:xfrm>
                <a:off x="2201002"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 name="Freeform 103">
                <a:extLst>
                  <a:ext uri="{FF2B5EF4-FFF2-40B4-BE49-F238E27FC236}">
                    <a16:creationId xmlns:a16="http://schemas.microsoft.com/office/drawing/2014/main" id="{6799682E-CACD-4294-B979-24153DCB8FA9}"/>
                  </a:ext>
                </a:extLst>
              </p:cNvPr>
              <p:cNvSpPr/>
              <p:nvPr/>
            </p:nvSpPr>
            <p:spPr>
              <a:xfrm>
                <a:off x="1842378" y="1625085"/>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 name="Freeform 104">
                <a:extLst>
                  <a:ext uri="{FF2B5EF4-FFF2-40B4-BE49-F238E27FC236}">
                    <a16:creationId xmlns:a16="http://schemas.microsoft.com/office/drawing/2014/main" id="{3F0DBE07-55A8-4D3E-9526-8E88894F2D90}"/>
                  </a:ext>
                </a:extLst>
              </p:cNvPr>
              <p:cNvSpPr/>
              <p:nvPr/>
            </p:nvSpPr>
            <p:spPr>
              <a:xfrm>
                <a:off x="1880437"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 name="Freeform 105">
                <a:extLst>
                  <a:ext uri="{FF2B5EF4-FFF2-40B4-BE49-F238E27FC236}">
                    <a16:creationId xmlns:a16="http://schemas.microsoft.com/office/drawing/2014/main" id="{EF97D7F2-647D-4426-ADA7-4D4E6A382134}"/>
                  </a:ext>
                </a:extLst>
              </p:cNvPr>
              <p:cNvSpPr/>
              <p:nvPr/>
            </p:nvSpPr>
            <p:spPr>
              <a:xfrm>
                <a:off x="2003300"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 name="Freeform 106">
                <a:extLst>
                  <a:ext uri="{FF2B5EF4-FFF2-40B4-BE49-F238E27FC236}">
                    <a16:creationId xmlns:a16="http://schemas.microsoft.com/office/drawing/2014/main" id="{C7F5AFD9-A3A0-4608-8777-016214378180}"/>
                  </a:ext>
                </a:extLst>
              </p:cNvPr>
              <p:cNvSpPr/>
              <p:nvPr/>
            </p:nvSpPr>
            <p:spPr>
              <a:xfrm>
                <a:off x="2022923" y="1637448"/>
                <a:ext cx="29766" cy="12695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 name="Freeform 107">
                <a:extLst>
                  <a:ext uri="{FF2B5EF4-FFF2-40B4-BE49-F238E27FC236}">
                    <a16:creationId xmlns:a16="http://schemas.microsoft.com/office/drawing/2014/main" id="{9016EA27-BB5E-49EF-A854-1A1C1DC43FFD}"/>
                  </a:ext>
                </a:extLst>
              </p:cNvPr>
              <p:cNvSpPr/>
              <p:nvPr/>
            </p:nvSpPr>
            <p:spPr>
              <a:xfrm>
                <a:off x="2075564" y="1635157"/>
                <a:ext cx="20685" cy="12355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 name="Freeform 108">
                <a:extLst>
                  <a:ext uri="{FF2B5EF4-FFF2-40B4-BE49-F238E27FC236}">
                    <a16:creationId xmlns:a16="http://schemas.microsoft.com/office/drawing/2014/main" id="{4FF267D2-59A1-4A77-AADF-1D4A7244ACB0}"/>
                  </a:ext>
                </a:extLst>
              </p:cNvPr>
              <p:cNvSpPr/>
              <p:nvPr/>
            </p:nvSpPr>
            <p:spPr>
              <a:xfrm>
                <a:off x="2097770" y="1635157"/>
                <a:ext cx="26045" cy="129246"/>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 name="Freeform 109">
                <a:extLst>
                  <a:ext uri="{FF2B5EF4-FFF2-40B4-BE49-F238E27FC236}">
                    <a16:creationId xmlns:a16="http://schemas.microsoft.com/office/drawing/2014/main" id="{A39FB0B1-CCD9-4A2F-9351-C608EC26866D}"/>
                  </a:ext>
                </a:extLst>
              </p:cNvPr>
              <p:cNvSpPr/>
              <p:nvPr/>
            </p:nvSpPr>
            <p:spPr>
              <a:xfrm>
                <a:off x="2152144"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4" name="Freeform 110">
                <a:extLst>
                  <a:ext uri="{FF2B5EF4-FFF2-40B4-BE49-F238E27FC236}">
                    <a16:creationId xmlns:a16="http://schemas.microsoft.com/office/drawing/2014/main" id="{091BC88F-2730-40BD-9D67-2BCDB8AB9346}"/>
                  </a:ext>
                </a:extLst>
              </p:cNvPr>
              <p:cNvSpPr/>
              <p:nvPr/>
            </p:nvSpPr>
            <p:spPr>
              <a:xfrm>
                <a:off x="2174545" y="1637447"/>
                <a:ext cx="19844" cy="12695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5" name="Freeform 111">
                <a:extLst>
                  <a:ext uri="{FF2B5EF4-FFF2-40B4-BE49-F238E27FC236}">
                    <a16:creationId xmlns:a16="http://schemas.microsoft.com/office/drawing/2014/main" id="{8F2430A4-848F-4675-8797-0E592223F16A}"/>
                  </a:ext>
                </a:extLst>
              </p:cNvPr>
              <p:cNvSpPr/>
              <p:nvPr/>
            </p:nvSpPr>
            <p:spPr>
              <a:xfrm>
                <a:off x="2222728" y="1633249"/>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6" name="Freeform 112">
                <a:extLst>
                  <a:ext uri="{FF2B5EF4-FFF2-40B4-BE49-F238E27FC236}">
                    <a16:creationId xmlns:a16="http://schemas.microsoft.com/office/drawing/2014/main" id="{55AE1E8E-945D-4A82-A8D5-B6184E6AE451}"/>
                  </a:ext>
                </a:extLst>
              </p:cNvPr>
              <p:cNvSpPr/>
              <p:nvPr/>
            </p:nvSpPr>
            <p:spPr>
              <a:xfrm>
                <a:off x="2241552" y="1640849"/>
                <a:ext cx="29766" cy="1235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7" name="Freeform 113">
                <a:extLst>
                  <a:ext uri="{FF2B5EF4-FFF2-40B4-BE49-F238E27FC236}">
                    <a16:creationId xmlns:a16="http://schemas.microsoft.com/office/drawing/2014/main" id="{C4B0158C-2A1F-40D1-BEA4-1431831F6531}"/>
                  </a:ext>
                </a:extLst>
              </p:cNvPr>
              <p:cNvSpPr/>
              <p:nvPr/>
            </p:nvSpPr>
            <p:spPr>
              <a:xfrm>
                <a:off x="2353314" y="1614093"/>
                <a:ext cx="29766" cy="148401"/>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8" name="Oval 27">
                <a:extLst>
                  <a:ext uri="{FF2B5EF4-FFF2-40B4-BE49-F238E27FC236}">
                    <a16:creationId xmlns:a16="http://schemas.microsoft.com/office/drawing/2014/main" id="{A52AC03E-6E44-47C8-A021-00A5D2E529FA}"/>
                  </a:ext>
                </a:extLst>
              </p:cNvPr>
              <p:cNvSpPr/>
              <p:nvPr/>
            </p:nvSpPr>
            <p:spPr>
              <a:xfrm>
                <a:off x="2353314"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9" name="Freeform 115">
                <a:extLst>
                  <a:ext uri="{FF2B5EF4-FFF2-40B4-BE49-F238E27FC236}">
                    <a16:creationId xmlns:a16="http://schemas.microsoft.com/office/drawing/2014/main" id="{4088A44F-D401-4660-90B9-231990DFC9CD}"/>
                  </a:ext>
                </a:extLst>
              </p:cNvPr>
              <p:cNvSpPr/>
              <p:nvPr/>
            </p:nvSpPr>
            <p:spPr>
              <a:xfrm>
                <a:off x="2393510" y="1640849"/>
                <a:ext cx="30117" cy="12355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30" name="Oval 29">
                <a:extLst>
                  <a:ext uri="{FF2B5EF4-FFF2-40B4-BE49-F238E27FC236}">
                    <a16:creationId xmlns:a16="http://schemas.microsoft.com/office/drawing/2014/main" id="{5C2F4CB4-29BD-454B-AE23-5BC036B34FE7}"/>
                  </a:ext>
                </a:extLst>
              </p:cNvPr>
              <p:cNvSpPr/>
              <p:nvPr/>
            </p:nvSpPr>
            <p:spPr>
              <a:xfrm>
                <a:off x="2428384"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31" name="Oval 30">
                <a:extLst>
                  <a:ext uri="{FF2B5EF4-FFF2-40B4-BE49-F238E27FC236}">
                    <a16:creationId xmlns:a16="http://schemas.microsoft.com/office/drawing/2014/main" id="{A9746FFF-D02E-420B-84FC-7F192DC3D381}"/>
                  </a:ext>
                </a:extLst>
              </p:cNvPr>
              <p:cNvSpPr/>
              <p:nvPr/>
            </p:nvSpPr>
            <p:spPr>
              <a:xfrm>
                <a:off x="2283000"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32" name="Oval 31">
                <a:extLst>
                  <a:ext uri="{FF2B5EF4-FFF2-40B4-BE49-F238E27FC236}">
                    <a16:creationId xmlns:a16="http://schemas.microsoft.com/office/drawing/2014/main" id="{E1FF6039-EEF4-4EDD-A9DB-55BD2B9FB0B0}"/>
                  </a:ext>
                </a:extLst>
              </p:cNvPr>
              <p:cNvSpPr/>
              <p:nvPr/>
            </p:nvSpPr>
            <p:spPr>
              <a:xfrm>
                <a:off x="2501395"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33" name="Oval 32">
                <a:extLst>
                  <a:ext uri="{FF2B5EF4-FFF2-40B4-BE49-F238E27FC236}">
                    <a16:creationId xmlns:a16="http://schemas.microsoft.com/office/drawing/2014/main" id="{3E4FFB7A-F7D4-485C-B829-6C4BC2BFD68B}"/>
                  </a:ext>
                </a:extLst>
              </p:cNvPr>
              <p:cNvSpPr/>
              <p:nvPr/>
            </p:nvSpPr>
            <p:spPr>
              <a:xfrm>
                <a:off x="2576700"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34" name="Oval 33">
                <a:extLst>
                  <a:ext uri="{FF2B5EF4-FFF2-40B4-BE49-F238E27FC236}">
                    <a16:creationId xmlns:a16="http://schemas.microsoft.com/office/drawing/2014/main" id="{0C619633-22CB-4A65-B5C8-80458558377F}"/>
                  </a:ext>
                </a:extLst>
              </p:cNvPr>
              <p:cNvSpPr/>
              <p:nvPr/>
            </p:nvSpPr>
            <p:spPr>
              <a:xfrm>
                <a:off x="2647014"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35" name="Freeform 121">
                <a:extLst>
                  <a:ext uri="{FF2B5EF4-FFF2-40B4-BE49-F238E27FC236}">
                    <a16:creationId xmlns:a16="http://schemas.microsoft.com/office/drawing/2014/main" id="{3F44CFCE-FCE8-4DE5-99DA-00536532E32B}"/>
                  </a:ext>
                </a:extLst>
              </p:cNvPr>
              <p:cNvSpPr/>
              <p:nvPr/>
            </p:nvSpPr>
            <p:spPr>
              <a:xfrm>
                <a:off x="2288391" y="1625085"/>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36" name="Freeform 122">
                <a:extLst>
                  <a:ext uri="{FF2B5EF4-FFF2-40B4-BE49-F238E27FC236}">
                    <a16:creationId xmlns:a16="http://schemas.microsoft.com/office/drawing/2014/main" id="{923A4A05-8787-45C6-951A-E1EA48BC55C3}"/>
                  </a:ext>
                </a:extLst>
              </p:cNvPr>
              <p:cNvSpPr/>
              <p:nvPr/>
            </p:nvSpPr>
            <p:spPr>
              <a:xfrm>
                <a:off x="2326449"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37" name="Freeform 123">
                <a:extLst>
                  <a:ext uri="{FF2B5EF4-FFF2-40B4-BE49-F238E27FC236}">
                    <a16:creationId xmlns:a16="http://schemas.microsoft.com/office/drawing/2014/main" id="{00C692EC-DC4A-4DBC-91FA-C52BE8A18BB3}"/>
                  </a:ext>
                </a:extLst>
              </p:cNvPr>
              <p:cNvSpPr/>
              <p:nvPr/>
            </p:nvSpPr>
            <p:spPr>
              <a:xfrm>
                <a:off x="2449309"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38" name="Freeform 124">
                <a:extLst>
                  <a:ext uri="{FF2B5EF4-FFF2-40B4-BE49-F238E27FC236}">
                    <a16:creationId xmlns:a16="http://schemas.microsoft.com/office/drawing/2014/main" id="{9305D65E-C964-44FB-A9E6-6E2723DEE578}"/>
                  </a:ext>
                </a:extLst>
              </p:cNvPr>
              <p:cNvSpPr/>
              <p:nvPr/>
            </p:nvSpPr>
            <p:spPr>
              <a:xfrm>
                <a:off x="2468933" y="1637448"/>
                <a:ext cx="29766" cy="12695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39" name="Freeform 125">
                <a:extLst>
                  <a:ext uri="{FF2B5EF4-FFF2-40B4-BE49-F238E27FC236}">
                    <a16:creationId xmlns:a16="http://schemas.microsoft.com/office/drawing/2014/main" id="{2AD8EA0A-C818-4783-91AA-88371692108E}"/>
                  </a:ext>
                </a:extLst>
              </p:cNvPr>
              <p:cNvSpPr/>
              <p:nvPr/>
            </p:nvSpPr>
            <p:spPr>
              <a:xfrm>
                <a:off x="2521574" y="1635157"/>
                <a:ext cx="20685" cy="12355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40" name="Freeform 126">
                <a:extLst>
                  <a:ext uri="{FF2B5EF4-FFF2-40B4-BE49-F238E27FC236}">
                    <a16:creationId xmlns:a16="http://schemas.microsoft.com/office/drawing/2014/main" id="{85796C10-87D0-48E5-A785-A262544B778A}"/>
                  </a:ext>
                </a:extLst>
              </p:cNvPr>
              <p:cNvSpPr/>
              <p:nvPr/>
            </p:nvSpPr>
            <p:spPr>
              <a:xfrm>
                <a:off x="2543781" y="1635157"/>
                <a:ext cx="26045" cy="129246"/>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41" name="Freeform 127">
                <a:extLst>
                  <a:ext uri="{FF2B5EF4-FFF2-40B4-BE49-F238E27FC236}">
                    <a16:creationId xmlns:a16="http://schemas.microsoft.com/office/drawing/2014/main" id="{CF6274B5-79D8-486E-B057-CFE281D49EFF}"/>
                  </a:ext>
                </a:extLst>
              </p:cNvPr>
              <p:cNvSpPr/>
              <p:nvPr/>
            </p:nvSpPr>
            <p:spPr>
              <a:xfrm>
                <a:off x="2598155"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42" name="Freeform 128">
                <a:extLst>
                  <a:ext uri="{FF2B5EF4-FFF2-40B4-BE49-F238E27FC236}">
                    <a16:creationId xmlns:a16="http://schemas.microsoft.com/office/drawing/2014/main" id="{C23C7FC3-B9D6-4774-801C-946083CEB898}"/>
                  </a:ext>
                </a:extLst>
              </p:cNvPr>
              <p:cNvSpPr/>
              <p:nvPr/>
            </p:nvSpPr>
            <p:spPr>
              <a:xfrm>
                <a:off x="2620557" y="1637447"/>
                <a:ext cx="19844" cy="12695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43" name="Freeform 129">
                <a:extLst>
                  <a:ext uri="{FF2B5EF4-FFF2-40B4-BE49-F238E27FC236}">
                    <a16:creationId xmlns:a16="http://schemas.microsoft.com/office/drawing/2014/main" id="{1F673B61-0819-4715-A2CD-89A2CDC17D5C}"/>
                  </a:ext>
                </a:extLst>
              </p:cNvPr>
              <p:cNvSpPr/>
              <p:nvPr/>
            </p:nvSpPr>
            <p:spPr>
              <a:xfrm>
                <a:off x="2668740" y="1633249"/>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44" name="Freeform 130">
                <a:extLst>
                  <a:ext uri="{FF2B5EF4-FFF2-40B4-BE49-F238E27FC236}">
                    <a16:creationId xmlns:a16="http://schemas.microsoft.com/office/drawing/2014/main" id="{BE369DDA-206B-4CCB-A9C2-71CDE1D1D627}"/>
                  </a:ext>
                </a:extLst>
              </p:cNvPr>
              <p:cNvSpPr/>
              <p:nvPr/>
            </p:nvSpPr>
            <p:spPr>
              <a:xfrm>
                <a:off x="2687564" y="1640849"/>
                <a:ext cx="29766" cy="1235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45" name="Oval 44">
                <a:extLst>
                  <a:ext uri="{FF2B5EF4-FFF2-40B4-BE49-F238E27FC236}">
                    <a16:creationId xmlns:a16="http://schemas.microsoft.com/office/drawing/2014/main" id="{836E992C-C776-4AAD-BBAE-54FA460AE8A3}"/>
                  </a:ext>
                </a:extLst>
              </p:cNvPr>
              <p:cNvSpPr/>
              <p:nvPr/>
            </p:nvSpPr>
            <p:spPr>
              <a:xfrm>
                <a:off x="2719443"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46" name="Freeform 132">
                <a:extLst>
                  <a:ext uri="{FF2B5EF4-FFF2-40B4-BE49-F238E27FC236}">
                    <a16:creationId xmlns:a16="http://schemas.microsoft.com/office/drawing/2014/main" id="{4CFB2B79-7A0C-4435-B155-21321FAD0B57}"/>
                  </a:ext>
                </a:extLst>
              </p:cNvPr>
              <p:cNvSpPr/>
              <p:nvPr/>
            </p:nvSpPr>
            <p:spPr>
              <a:xfrm>
                <a:off x="2724835" y="1625085"/>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47" name="Freeform 133">
                <a:extLst>
                  <a:ext uri="{FF2B5EF4-FFF2-40B4-BE49-F238E27FC236}">
                    <a16:creationId xmlns:a16="http://schemas.microsoft.com/office/drawing/2014/main" id="{C5F93292-52CA-4E9A-B783-B053214EB820}"/>
                  </a:ext>
                </a:extLst>
              </p:cNvPr>
              <p:cNvSpPr/>
              <p:nvPr/>
            </p:nvSpPr>
            <p:spPr>
              <a:xfrm>
                <a:off x="2762891"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48" name="Freeform 134">
                <a:extLst>
                  <a:ext uri="{FF2B5EF4-FFF2-40B4-BE49-F238E27FC236}">
                    <a16:creationId xmlns:a16="http://schemas.microsoft.com/office/drawing/2014/main" id="{12AFA089-8E11-4C44-8D07-6BF3F2BAB0A7}"/>
                  </a:ext>
                </a:extLst>
              </p:cNvPr>
              <p:cNvSpPr/>
              <p:nvPr/>
            </p:nvSpPr>
            <p:spPr>
              <a:xfrm flipV="1">
                <a:off x="1907331" y="1782882"/>
                <a:ext cx="29766" cy="148401"/>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49" name="Oval 48">
                <a:extLst>
                  <a:ext uri="{FF2B5EF4-FFF2-40B4-BE49-F238E27FC236}">
                    <a16:creationId xmlns:a16="http://schemas.microsoft.com/office/drawing/2014/main" id="{488C4C8C-4851-4B59-8E7C-AA22B5E535EE}"/>
                  </a:ext>
                </a:extLst>
              </p:cNvPr>
              <p:cNvSpPr/>
              <p:nvPr/>
            </p:nvSpPr>
            <p:spPr>
              <a:xfrm flipV="1">
                <a:off x="1907331"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50" name="Freeform 136">
                <a:extLst>
                  <a:ext uri="{FF2B5EF4-FFF2-40B4-BE49-F238E27FC236}">
                    <a16:creationId xmlns:a16="http://schemas.microsoft.com/office/drawing/2014/main" id="{2FE4928F-72E7-49CA-8F24-513F0256ADAB}"/>
                  </a:ext>
                </a:extLst>
              </p:cNvPr>
              <p:cNvSpPr/>
              <p:nvPr/>
            </p:nvSpPr>
            <p:spPr>
              <a:xfrm flipV="1">
                <a:off x="1947528" y="1780974"/>
                <a:ext cx="30118" cy="123553"/>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51" name="Oval 50">
                <a:extLst>
                  <a:ext uri="{FF2B5EF4-FFF2-40B4-BE49-F238E27FC236}">
                    <a16:creationId xmlns:a16="http://schemas.microsoft.com/office/drawing/2014/main" id="{207AE81C-D254-48EA-BD2E-3D2B6D6FE6C8}"/>
                  </a:ext>
                </a:extLst>
              </p:cNvPr>
              <p:cNvSpPr/>
              <p:nvPr/>
            </p:nvSpPr>
            <p:spPr>
              <a:xfrm flipV="1">
                <a:off x="1982403"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52" name="Oval 51">
                <a:extLst>
                  <a:ext uri="{FF2B5EF4-FFF2-40B4-BE49-F238E27FC236}">
                    <a16:creationId xmlns:a16="http://schemas.microsoft.com/office/drawing/2014/main" id="{9E716E9C-F7BA-467D-A725-942290E4AD10}"/>
                  </a:ext>
                </a:extLst>
              </p:cNvPr>
              <p:cNvSpPr/>
              <p:nvPr/>
            </p:nvSpPr>
            <p:spPr>
              <a:xfrm flipV="1">
                <a:off x="1837016"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53" name="Oval 52">
                <a:extLst>
                  <a:ext uri="{FF2B5EF4-FFF2-40B4-BE49-F238E27FC236}">
                    <a16:creationId xmlns:a16="http://schemas.microsoft.com/office/drawing/2014/main" id="{5A45BA20-E9DF-4F26-8BD8-BE5E0C862135}"/>
                  </a:ext>
                </a:extLst>
              </p:cNvPr>
              <p:cNvSpPr/>
              <p:nvPr/>
            </p:nvSpPr>
            <p:spPr>
              <a:xfrm flipV="1">
                <a:off x="2055415"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54" name="Oval 53">
                <a:extLst>
                  <a:ext uri="{FF2B5EF4-FFF2-40B4-BE49-F238E27FC236}">
                    <a16:creationId xmlns:a16="http://schemas.microsoft.com/office/drawing/2014/main" id="{157120DE-4709-4972-AB7F-8BD5DC743879}"/>
                  </a:ext>
                </a:extLst>
              </p:cNvPr>
              <p:cNvSpPr/>
              <p:nvPr/>
            </p:nvSpPr>
            <p:spPr>
              <a:xfrm flipV="1">
                <a:off x="2130720"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55" name="Oval 54">
                <a:extLst>
                  <a:ext uri="{FF2B5EF4-FFF2-40B4-BE49-F238E27FC236}">
                    <a16:creationId xmlns:a16="http://schemas.microsoft.com/office/drawing/2014/main" id="{473D0075-0F25-459E-B218-2A9A2CFDFA58}"/>
                  </a:ext>
                </a:extLst>
              </p:cNvPr>
              <p:cNvSpPr/>
              <p:nvPr/>
            </p:nvSpPr>
            <p:spPr>
              <a:xfrm flipV="1">
                <a:off x="2201035"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56" name="Freeform 142">
                <a:extLst>
                  <a:ext uri="{FF2B5EF4-FFF2-40B4-BE49-F238E27FC236}">
                    <a16:creationId xmlns:a16="http://schemas.microsoft.com/office/drawing/2014/main" id="{723F883A-19A2-48E5-8403-32C6D91E9195}"/>
                  </a:ext>
                </a:extLst>
              </p:cNvPr>
              <p:cNvSpPr/>
              <p:nvPr/>
            </p:nvSpPr>
            <p:spPr>
              <a:xfrm flipV="1">
                <a:off x="1842407" y="1782883"/>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57" name="Freeform 143">
                <a:extLst>
                  <a:ext uri="{FF2B5EF4-FFF2-40B4-BE49-F238E27FC236}">
                    <a16:creationId xmlns:a16="http://schemas.microsoft.com/office/drawing/2014/main" id="{79E6425D-2E1A-460F-953A-90DB643D7CD3}"/>
                  </a:ext>
                </a:extLst>
              </p:cNvPr>
              <p:cNvSpPr/>
              <p:nvPr/>
            </p:nvSpPr>
            <p:spPr>
              <a:xfrm flipV="1">
                <a:off x="1880465"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58" name="Freeform 144">
                <a:extLst>
                  <a:ext uri="{FF2B5EF4-FFF2-40B4-BE49-F238E27FC236}">
                    <a16:creationId xmlns:a16="http://schemas.microsoft.com/office/drawing/2014/main" id="{F240E6D9-9FDE-4F24-B72E-B690D631BF14}"/>
                  </a:ext>
                </a:extLst>
              </p:cNvPr>
              <p:cNvSpPr/>
              <p:nvPr/>
            </p:nvSpPr>
            <p:spPr>
              <a:xfrm flipV="1">
                <a:off x="2003329"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59" name="Freeform 145">
                <a:extLst>
                  <a:ext uri="{FF2B5EF4-FFF2-40B4-BE49-F238E27FC236}">
                    <a16:creationId xmlns:a16="http://schemas.microsoft.com/office/drawing/2014/main" id="{2150885F-A2E3-4BAA-875C-E3E8B6CECBBD}"/>
                  </a:ext>
                </a:extLst>
              </p:cNvPr>
              <p:cNvSpPr/>
              <p:nvPr/>
            </p:nvSpPr>
            <p:spPr>
              <a:xfrm flipV="1">
                <a:off x="2022951" y="1780973"/>
                <a:ext cx="29766" cy="1269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60" name="Freeform 146">
                <a:extLst>
                  <a:ext uri="{FF2B5EF4-FFF2-40B4-BE49-F238E27FC236}">
                    <a16:creationId xmlns:a16="http://schemas.microsoft.com/office/drawing/2014/main" id="{C32AB8C5-3F20-4DEA-AA02-1DAE275F2EC2}"/>
                  </a:ext>
                </a:extLst>
              </p:cNvPr>
              <p:cNvSpPr/>
              <p:nvPr/>
            </p:nvSpPr>
            <p:spPr>
              <a:xfrm flipV="1">
                <a:off x="2075593" y="1786666"/>
                <a:ext cx="20685" cy="123553"/>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61" name="Freeform 147">
                <a:extLst>
                  <a:ext uri="{FF2B5EF4-FFF2-40B4-BE49-F238E27FC236}">
                    <a16:creationId xmlns:a16="http://schemas.microsoft.com/office/drawing/2014/main" id="{795ACBE2-BD2F-43E8-B28B-6989D8F027A0}"/>
                  </a:ext>
                </a:extLst>
              </p:cNvPr>
              <p:cNvSpPr/>
              <p:nvPr/>
            </p:nvSpPr>
            <p:spPr>
              <a:xfrm flipV="1">
                <a:off x="2097800" y="1780974"/>
                <a:ext cx="26046" cy="129245"/>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62" name="Freeform 148">
                <a:extLst>
                  <a:ext uri="{FF2B5EF4-FFF2-40B4-BE49-F238E27FC236}">
                    <a16:creationId xmlns:a16="http://schemas.microsoft.com/office/drawing/2014/main" id="{212CD02A-3230-4AB5-8601-935D6ED2C916}"/>
                  </a:ext>
                </a:extLst>
              </p:cNvPr>
              <p:cNvSpPr/>
              <p:nvPr/>
            </p:nvSpPr>
            <p:spPr>
              <a:xfrm flipV="1">
                <a:off x="2152175"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63" name="Freeform 149">
                <a:extLst>
                  <a:ext uri="{FF2B5EF4-FFF2-40B4-BE49-F238E27FC236}">
                    <a16:creationId xmlns:a16="http://schemas.microsoft.com/office/drawing/2014/main" id="{F181FD5C-3F2E-4A4A-9909-1662E21F0979}"/>
                  </a:ext>
                </a:extLst>
              </p:cNvPr>
              <p:cNvSpPr/>
              <p:nvPr/>
            </p:nvSpPr>
            <p:spPr>
              <a:xfrm flipV="1">
                <a:off x="2174577" y="1780974"/>
                <a:ext cx="19844" cy="1269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64" name="Freeform 150">
                <a:extLst>
                  <a:ext uri="{FF2B5EF4-FFF2-40B4-BE49-F238E27FC236}">
                    <a16:creationId xmlns:a16="http://schemas.microsoft.com/office/drawing/2014/main" id="{7AEF923B-26C5-4274-B1BE-E120DCC98342}"/>
                  </a:ext>
                </a:extLst>
              </p:cNvPr>
              <p:cNvSpPr/>
              <p:nvPr/>
            </p:nvSpPr>
            <p:spPr>
              <a:xfrm flipV="1">
                <a:off x="2222760" y="1782882"/>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65" name="Freeform 151">
                <a:extLst>
                  <a:ext uri="{FF2B5EF4-FFF2-40B4-BE49-F238E27FC236}">
                    <a16:creationId xmlns:a16="http://schemas.microsoft.com/office/drawing/2014/main" id="{548EF1BA-7BCE-4340-BD5F-244463695881}"/>
                  </a:ext>
                </a:extLst>
              </p:cNvPr>
              <p:cNvSpPr/>
              <p:nvPr/>
            </p:nvSpPr>
            <p:spPr>
              <a:xfrm flipV="1">
                <a:off x="2241584" y="1780973"/>
                <a:ext cx="29766" cy="123554"/>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66" name="Freeform 152">
                <a:extLst>
                  <a:ext uri="{FF2B5EF4-FFF2-40B4-BE49-F238E27FC236}">
                    <a16:creationId xmlns:a16="http://schemas.microsoft.com/office/drawing/2014/main" id="{2A96FBDA-E2A1-40FC-9844-4335DBB5F6E5}"/>
                  </a:ext>
                </a:extLst>
              </p:cNvPr>
              <p:cNvSpPr/>
              <p:nvPr/>
            </p:nvSpPr>
            <p:spPr>
              <a:xfrm flipV="1">
                <a:off x="2353347" y="1782882"/>
                <a:ext cx="29766" cy="148401"/>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67" name="Oval 66">
                <a:extLst>
                  <a:ext uri="{FF2B5EF4-FFF2-40B4-BE49-F238E27FC236}">
                    <a16:creationId xmlns:a16="http://schemas.microsoft.com/office/drawing/2014/main" id="{8BCB73EC-F715-4BC9-9343-7388ECAF9899}"/>
                  </a:ext>
                </a:extLst>
              </p:cNvPr>
              <p:cNvSpPr/>
              <p:nvPr/>
            </p:nvSpPr>
            <p:spPr>
              <a:xfrm flipV="1">
                <a:off x="2353347"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68" name="Freeform 154">
                <a:extLst>
                  <a:ext uri="{FF2B5EF4-FFF2-40B4-BE49-F238E27FC236}">
                    <a16:creationId xmlns:a16="http://schemas.microsoft.com/office/drawing/2014/main" id="{C9C95A02-C516-43A0-B026-4689B11F00E0}"/>
                  </a:ext>
                </a:extLst>
              </p:cNvPr>
              <p:cNvSpPr/>
              <p:nvPr/>
            </p:nvSpPr>
            <p:spPr>
              <a:xfrm flipV="1">
                <a:off x="2393544" y="1780974"/>
                <a:ext cx="30118" cy="123553"/>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69" name="Oval 68">
                <a:extLst>
                  <a:ext uri="{FF2B5EF4-FFF2-40B4-BE49-F238E27FC236}">
                    <a16:creationId xmlns:a16="http://schemas.microsoft.com/office/drawing/2014/main" id="{9F902E15-86CF-4524-A634-AD62674E323C}"/>
                  </a:ext>
                </a:extLst>
              </p:cNvPr>
              <p:cNvSpPr/>
              <p:nvPr/>
            </p:nvSpPr>
            <p:spPr>
              <a:xfrm flipV="1">
                <a:off x="2428419"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0" name="Oval 69">
                <a:extLst>
                  <a:ext uri="{FF2B5EF4-FFF2-40B4-BE49-F238E27FC236}">
                    <a16:creationId xmlns:a16="http://schemas.microsoft.com/office/drawing/2014/main" id="{362A9448-FD9A-48BA-88A0-FB76EABC0115}"/>
                  </a:ext>
                </a:extLst>
              </p:cNvPr>
              <p:cNvSpPr/>
              <p:nvPr/>
            </p:nvSpPr>
            <p:spPr>
              <a:xfrm flipV="1">
                <a:off x="2283032"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1" name="Oval 70">
                <a:extLst>
                  <a:ext uri="{FF2B5EF4-FFF2-40B4-BE49-F238E27FC236}">
                    <a16:creationId xmlns:a16="http://schemas.microsoft.com/office/drawing/2014/main" id="{0623D1C5-4843-415D-AA74-0A667C1CFFEF}"/>
                  </a:ext>
                </a:extLst>
              </p:cNvPr>
              <p:cNvSpPr/>
              <p:nvPr/>
            </p:nvSpPr>
            <p:spPr>
              <a:xfrm flipV="1">
                <a:off x="2501431"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2" name="Oval 71">
                <a:extLst>
                  <a:ext uri="{FF2B5EF4-FFF2-40B4-BE49-F238E27FC236}">
                    <a16:creationId xmlns:a16="http://schemas.microsoft.com/office/drawing/2014/main" id="{D7BF941B-5A02-4CB6-8156-AB2BB80A77E6}"/>
                  </a:ext>
                </a:extLst>
              </p:cNvPr>
              <p:cNvSpPr/>
              <p:nvPr/>
            </p:nvSpPr>
            <p:spPr>
              <a:xfrm flipV="1">
                <a:off x="2576736"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3" name="Oval 72">
                <a:extLst>
                  <a:ext uri="{FF2B5EF4-FFF2-40B4-BE49-F238E27FC236}">
                    <a16:creationId xmlns:a16="http://schemas.microsoft.com/office/drawing/2014/main" id="{CA079F11-531F-4C3E-86F3-D7193F546ED9}"/>
                  </a:ext>
                </a:extLst>
              </p:cNvPr>
              <p:cNvSpPr/>
              <p:nvPr/>
            </p:nvSpPr>
            <p:spPr>
              <a:xfrm flipV="1">
                <a:off x="2647051"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4" name="Freeform 160">
                <a:extLst>
                  <a:ext uri="{FF2B5EF4-FFF2-40B4-BE49-F238E27FC236}">
                    <a16:creationId xmlns:a16="http://schemas.microsoft.com/office/drawing/2014/main" id="{857DF011-0907-4BF9-9A90-9690F25EDE1E}"/>
                  </a:ext>
                </a:extLst>
              </p:cNvPr>
              <p:cNvSpPr/>
              <p:nvPr/>
            </p:nvSpPr>
            <p:spPr>
              <a:xfrm flipV="1">
                <a:off x="2288423" y="1782883"/>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5" name="Freeform 161">
                <a:extLst>
                  <a:ext uri="{FF2B5EF4-FFF2-40B4-BE49-F238E27FC236}">
                    <a16:creationId xmlns:a16="http://schemas.microsoft.com/office/drawing/2014/main" id="{A06C6C02-D350-44D4-94D8-93FEC2418548}"/>
                  </a:ext>
                </a:extLst>
              </p:cNvPr>
              <p:cNvSpPr/>
              <p:nvPr/>
            </p:nvSpPr>
            <p:spPr>
              <a:xfrm flipV="1">
                <a:off x="2326481"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6" name="Freeform 162">
                <a:extLst>
                  <a:ext uri="{FF2B5EF4-FFF2-40B4-BE49-F238E27FC236}">
                    <a16:creationId xmlns:a16="http://schemas.microsoft.com/office/drawing/2014/main" id="{26064D4C-CB8C-4E02-84FF-FA7D63DD6A20}"/>
                  </a:ext>
                </a:extLst>
              </p:cNvPr>
              <p:cNvSpPr/>
              <p:nvPr/>
            </p:nvSpPr>
            <p:spPr>
              <a:xfrm flipV="1">
                <a:off x="2449345"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7" name="Freeform 163">
                <a:extLst>
                  <a:ext uri="{FF2B5EF4-FFF2-40B4-BE49-F238E27FC236}">
                    <a16:creationId xmlns:a16="http://schemas.microsoft.com/office/drawing/2014/main" id="{6C35EE7B-B57A-4811-9F89-2568D6DBEE5B}"/>
                  </a:ext>
                </a:extLst>
              </p:cNvPr>
              <p:cNvSpPr/>
              <p:nvPr/>
            </p:nvSpPr>
            <p:spPr>
              <a:xfrm flipV="1">
                <a:off x="2468967" y="1780973"/>
                <a:ext cx="29766" cy="1269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8" name="Freeform 164">
                <a:extLst>
                  <a:ext uri="{FF2B5EF4-FFF2-40B4-BE49-F238E27FC236}">
                    <a16:creationId xmlns:a16="http://schemas.microsoft.com/office/drawing/2014/main" id="{20A3ADC9-5B30-4BDB-B3A9-A52788915B78}"/>
                  </a:ext>
                </a:extLst>
              </p:cNvPr>
              <p:cNvSpPr/>
              <p:nvPr/>
            </p:nvSpPr>
            <p:spPr>
              <a:xfrm flipV="1">
                <a:off x="2521609" y="1786666"/>
                <a:ext cx="20685" cy="123553"/>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9" name="Freeform 165">
                <a:extLst>
                  <a:ext uri="{FF2B5EF4-FFF2-40B4-BE49-F238E27FC236}">
                    <a16:creationId xmlns:a16="http://schemas.microsoft.com/office/drawing/2014/main" id="{BB87E1AC-6759-4DBB-99DE-AC404DA6BE91}"/>
                  </a:ext>
                </a:extLst>
              </p:cNvPr>
              <p:cNvSpPr/>
              <p:nvPr/>
            </p:nvSpPr>
            <p:spPr>
              <a:xfrm flipV="1">
                <a:off x="2543816" y="1780974"/>
                <a:ext cx="26046" cy="129245"/>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0" name="Freeform 166">
                <a:extLst>
                  <a:ext uri="{FF2B5EF4-FFF2-40B4-BE49-F238E27FC236}">
                    <a16:creationId xmlns:a16="http://schemas.microsoft.com/office/drawing/2014/main" id="{CB41DFCC-35A1-4A2F-AB78-AB2BEBA1A158}"/>
                  </a:ext>
                </a:extLst>
              </p:cNvPr>
              <p:cNvSpPr/>
              <p:nvPr/>
            </p:nvSpPr>
            <p:spPr>
              <a:xfrm flipV="1">
                <a:off x="2598191"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1" name="Freeform 167">
                <a:extLst>
                  <a:ext uri="{FF2B5EF4-FFF2-40B4-BE49-F238E27FC236}">
                    <a16:creationId xmlns:a16="http://schemas.microsoft.com/office/drawing/2014/main" id="{C7BA0964-8963-4616-8C37-2CBC205295BF}"/>
                  </a:ext>
                </a:extLst>
              </p:cNvPr>
              <p:cNvSpPr/>
              <p:nvPr/>
            </p:nvSpPr>
            <p:spPr>
              <a:xfrm flipV="1">
                <a:off x="2620593" y="1780974"/>
                <a:ext cx="19844" cy="1269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2" name="Freeform 168">
                <a:extLst>
                  <a:ext uri="{FF2B5EF4-FFF2-40B4-BE49-F238E27FC236}">
                    <a16:creationId xmlns:a16="http://schemas.microsoft.com/office/drawing/2014/main" id="{CE9B0960-B1E1-454B-8B16-EBC6AC9C5712}"/>
                  </a:ext>
                </a:extLst>
              </p:cNvPr>
              <p:cNvSpPr/>
              <p:nvPr/>
            </p:nvSpPr>
            <p:spPr>
              <a:xfrm flipV="1">
                <a:off x="2668776" y="1782882"/>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3" name="Freeform 169">
                <a:extLst>
                  <a:ext uri="{FF2B5EF4-FFF2-40B4-BE49-F238E27FC236}">
                    <a16:creationId xmlns:a16="http://schemas.microsoft.com/office/drawing/2014/main" id="{FD03A1C9-435C-4EC2-973E-59F7D3A9A59E}"/>
                  </a:ext>
                </a:extLst>
              </p:cNvPr>
              <p:cNvSpPr/>
              <p:nvPr/>
            </p:nvSpPr>
            <p:spPr>
              <a:xfrm flipV="1">
                <a:off x="2687600" y="1780973"/>
                <a:ext cx="29766" cy="123554"/>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4" name="Oval 83">
                <a:extLst>
                  <a:ext uri="{FF2B5EF4-FFF2-40B4-BE49-F238E27FC236}">
                    <a16:creationId xmlns:a16="http://schemas.microsoft.com/office/drawing/2014/main" id="{3165505B-D547-4D29-8622-BB0F2BE858A2}"/>
                  </a:ext>
                </a:extLst>
              </p:cNvPr>
              <p:cNvSpPr/>
              <p:nvPr/>
            </p:nvSpPr>
            <p:spPr>
              <a:xfrm flipV="1">
                <a:off x="2719480"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5" name="Freeform 171">
                <a:extLst>
                  <a:ext uri="{FF2B5EF4-FFF2-40B4-BE49-F238E27FC236}">
                    <a16:creationId xmlns:a16="http://schemas.microsoft.com/office/drawing/2014/main" id="{E51B6340-ADD9-4F79-AFE2-4253DD2B9340}"/>
                  </a:ext>
                </a:extLst>
              </p:cNvPr>
              <p:cNvSpPr/>
              <p:nvPr/>
            </p:nvSpPr>
            <p:spPr>
              <a:xfrm flipV="1">
                <a:off x="2724871" y="1782883"/>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6" name="Freeform 172">
                <a:extLst>
                  <a:ext uri="{FF2B5EF4-FFF2-40B4-BE49-F238E27FC236}">
                    <a16:creationId xmlns:a16="http://schemas.microsoft.com/office/drawing/2014/main" id="{69456A18-54C8-4B0B-B0B2-2AAA9C1F776C}"/>
                  </a:ext>
                </a:extLst>
              </p:cNvPr>
              <p:cNvSpPr/>
              <p:nvPr/>
            </p:nvSpPr>
            <p:spPr>
              <a:xfrm flipV="1">
                <a:off x="2762929"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grpSp>
        <p:cxnSp>
          <p:nvCxnSpPr>
            <p:cNvPr id="233" name="Straight Arrow Connector 232">
              <a:extLst>
                <a:ext uri="{FF2B5EF4-FFF2-40B4-BE49-F238E27FC236}">
                  <a16:creationId xmlns:a16="http://schemas.microsoft.com/office/drawing/2014/main" id="{4A7C6D94-F268-40FF-BF99-F7281A744A39}"/>
                </a:ext>
              </a:extLst>
            </p:cNvPr>
            <p:cNvCxnSpPr/>
            <p:nvPr/>
          </p:nvCxnSpPr>
          <p:spPr>
            <a:xfrm>
              <a:off x="8050321" y="3914359"/>
              <a:ext cx="0" cy="377867"/>
            </a:xfrm>
            <a:prstGeom prst="straightConnector1">
              <a:avLst/>
            </a:prstGeom>
            <a:ln w="41275" cap="rnd">
              <a:solidFill>
                <a:schemeClr val="bg2">
                  <a:lumMod val="1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34" name="TextBox 233">
              <a:extLst>
                <a:ext uri="{FF2B5EF4-FFF2-40B4-BE49-F238E27FC236}">
                  <a16:creationId xmlns:a16="http://schemas.microsoft.com/office/drawing/2014/main" id="{D5DEB0F6-262E-4D47-BEEE-91D7D558E7E6}"/>
                </a:ext>
              </a:extLst>
            </p:cNvPr>
            <p:cNvSpPr txBox="1"/>
            <p:nvPr/>
          </p:nvSpPr>
          <p:spPr>
            <a:xfrm>
              <a:off x="7744195" y="2683720"/>
              <a:ext cx="63710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2F2F2">
                      <a:lumMod val="10000"/>
                    </a:srgbClr>
                  </a:solidFill>
                  <a:effectLst/>
                  <a:uLnTx/>
                  <a:uFillTx/>
                  <a:latin typeface="Verdana" panose="020B0604030504040204" pitchFamily="34" charset="0"/>
                  <a:ea typeface="Verdana" panose="020B0604030504040204" pitchFamily="34" charset="0"/>
                  <a:cs typeface="Arial" pitchFamily="34" charset="0"/>
                </a:rPr>
                <a:t>BMPs</a:t>
              </a:r>
            </a:p>
          </p:txBody>
        </p:sp>
        <p:sp>
          <p:nvSpPr>
            <p:cNvPr id="235" name="Rectangle 234">
              <a:extLst>
                <a:ext uri="{FF2B5EF4-FFF2-40B4-BE49-F238E27FC236}">
                  <a16:creationId xmlns:a16="http://schemas.microsoft.com/office/drawing/2014/main" id="{2D0B9DBC-0A8C-4D0D-8BF5-134913C7B49F}"/>
                </a:ext>
              </a:extLst>
            </p:cNvPr>
            <p:cNvSpPr/>
            <p:nvPr/>
          </p:nvSpPr>
          <p:spPr>
            <a:xfrm>
              <a:off x="6843468" y="1818615"/>
              <a:ext cx="4308938" cy="269485"/>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B21E6C"/>
                  </a:solidFill>
                  <a:effectLst/>
                  <a:uLnTx/>
                  <a:uFillTx/>
                  <a:latin typeface="Verdana" panose="020B0604030504040204" pitchFamily="34" charset="0"/>
                  <a:ea typeface="Verdana" panose="020B0604030504040204" pitchFamily="34" charset="0"/>
                  <a:cs typeface="+mn-cs"/>
                </a:rPr>
                <a:t>TGF-</a:t>
              </a:r>
              <a:r>
                <a:rPr kumimoji="0" lang="el-GR" sz="1400" b="1" i="0" u="none" strike="noStrike" kern="1200" cap="none" spc="0" normalizeH="0" baseline="0" noProof="0" dirty="0">
                  <a:ln>
                    <a:noFill/>
                  </a:ln>
                  <a:solidFill>
                    <a:srgbClr val="B21E6C"/>
                  </a:solidFill>
                  <a:effectLst/>
                  <a:uLnTx/>
                  <a:uFillTx/>
                  <a:latin typeface="Verdana" panose="020B0604030504040204" pitchFamily="34" charset="0"/>
                  <a:ea typeface="Verdana" panose="020B0604030504040204" pitchFamily="34" charset="0"/>
                  <a:cs typeface="+mn-cs"/>
                </a:rPr>
                <a:t>β</a:t>
              </a:r>
              <a:r>
                <a:rPr kumimoji="0" lang="en-GB" sz="1400" b="1" i="0" u="none" strike="noStrike" kern="1200" cap="none" spc="0" normalizeH="0" baseline="0" noProof="0" dirty="0">
                  <a:ln>
                    <a:noFill/>
                  </a:ln>
                  <a:solidFill>
                    <a:srgbClr val="B21E6C"/>
                  </a:solidFill>
                  <a:effectLst/>
                  <a:uLnTx/>
                  <a:uFillTx/>
                  <a:latin typeface="Verdana" panose="020B0604030504040204" pitchFamily="34" charset="0"/>
                  <a:ea typeface="Verdana" panose="020B0604030504040204" pitchFamily="34" charset="0"/>
                  <a:cs typeface="+mn-cs"/>
                </a:rPr>
                <a:t> Receptor Superfamily Imbalance</a:t>
              </a:r>
              <a:r>
                <a:rPr kumimoji="0" lang="en-GB" sz="1400" b="1" i="0" u="none" strike="noStrike" kern="1200" cap="none" spc="0" normalizeH="0" baseline="30000" noProof="0" dirty="0">
                  <a:ln>
                    <a:noFill/>
                  </a:ln>
                  <a:solidFill>
                    <a:srgbClr val="B21E6C"/>
                  </a:solidFill>
                  <a:effectLst/>
                  <a:uLnTx/>
                  <a:uFillTx/>
                  <a:latin typeface="Verdana" panose="020B0604030504040204" pitchFamily="34" charset="0"/>
                  <a:ea typeface="Verdana" panose="020B0604030504040204" pitchFamily="34" charset="0"/>
                  <a:cs typeface="+mn-cs"/>
                </a:rPr>
                <a:t> </a:t>
              </a:r>
              <a:r>
                <a:rPr kumimoji="0" lang="en-GB" sz="1400" b="1" i="0" u="none" strike="noStrike" kern="1200" cap="none" spc="0" normalizeH="0" baseline="0" noProof="0" dirty="0">
                  <a:ln>
                    <a:noFill/>
                  </a:ln>
                  <a:solidFill>
                    <a:srgbClr val="B21E6C"/>
                  </a:solidFill>
                  <a:effectLst/>
                  <a:uLnTx/>
                  <a:uFillTx/>
                  <a:latin typeface="Verdana" panose="020B0604030504040204" pitchFamily="34" charset="0"/>
                  <a:ea typeface="Verdana" panose="020B0604030504040204" pitchFamily="34" charset="0"/>
                  <a:cs typeface="+mn-cs"/>
                </a:rPr>
                <a:t>in PAH</a:t>
              </a:r>
              <a:r>
                <a:rPr kumimoji="0" lang="en-GB" sz="1400" b="1" i="0" u="none" strike="noStrike" kern="1200" cap="none" spc="0" normalizeH="0" baseline="30000" noProof="0" dirty="0">
                  <a:ln>
                    <a:noFill/>
                  </a:ln>
                  <a:solidFill>
                    <a:srgbClr val="B21E6C"/>
                  </a:solidFill>
                  <a:effectLst/>
                  <a:uLnTx/>
                  <a:uFillTx/>
                  <a:latin typeface="Verdana" panose="020B0604030504040204" pitchFamily="34" charset="0"/>
                  <a:ea typeface="Verdana" panose="020B0604030504040204" pitchFamily="34" charset="0"/>
                  <a:cs typeface="+mn-cs"/>
                </a:rPr>
                <a:t>1</a:t>
              </a:r>
            </a:p>
          </p:txBody>
        </p:sp>
        <p:grpSp>
          <p:nvGrpSpPr>
            <p:cNvPr id="236" name="Group 235">
              <a:extLst>
                <a:ext uri="{FF2B5EF4-FFF2-40B4-BE49-F238E27FC236}">
                  <a16:creationId xmlns:a16="http://schemas.microsoft.com/office/drawing/2014/main" id="{9ECDCD66-AD76-49F8-A399-8DAA026D4710}"/>
                </a:ext>
              </a:extLst>
            </p:cNvPr>
            <p:cNvGrpSpPr/>
            <p:nvPr/>
          </p:nvGrpSpPr>
          <p:grpSpPr>
            <a:xfrm>
              <a:off x="7776679" y="3118250"/>
              <a:ext cx="224518" cy="712181"/>
              <a:chOff x="7177855" y="2702477"/>
              <a:chExt cx="192512" cy="610656"/>
            </a:xfrm>
            <a:solidFill>
              <a:srgbClr val="0070C0"/>
            </a:solidFill>
          </p:grpSpPr>
          <p:sp>
            <p:nvSpPr>
              <p:cNvPr id="237" name="Can 583">
                <a:extLst>
                  <a:ext uri="{FF2B5EF4-FFF2-40B4-BE49-F238E27FC236}">
                    <a16:creationId xmlns:a16="http://schemas.microsoft.com/office/drawing/2014/main" id="{98937984-4246-46CA-BDD9-59B703E29A8E}"/>
                  </a:ext>
                </a:extLst>
              </p:cNvPr>
              <p:cNvSpPr/>
              <p:nvPr/>
            </p:nvSpPr>
            <p:spPr>
              <a:xfrm>
                <a:off x="7295740" y="2931487"/>
                <a:ext cx="74627" cy="381520"/>
              </a:xfrm>
              <a:prstGeom prst="can">
                <a:avLst/>
              </a:prstGeom>
              <a:grpFill/>
              <a:ln>
                <a:solidFill>
                  <a:srgbClr val="0034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38" name="Can 584">
                <a:extLst>
                  <a:ext uri="{FF2B5EF4-FFF2-40B4-BE49-F238E27FC236}">
                    <a16:creationId xmlns:a16="http://schemas.microsoft.com/office/drawing/2014/main" id="{DACA6AD9-0228-4136-B2C1-2A121F50D563}"/>
                  </a:ext>
                </a:extLst>
              </p:cNvPr>
              <p:cNvSpPr/>
              <p:nvPr/>
            </p:nvSpPr>
            <p:spPr>
              <a:xfrm>
                <a:off x="7295740" y="2931488"/>
                <a:ext cx="74627" cy="230591"/>
              </a:xfrm>
              <a:prstGeom prst="can">
                <a:avLst/>
              </a:prstGeom>
              <a:grpFill/>
              <a:ln>
                <a:solidFill>
                  <a:srgbClr val="0034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39" name="Can 587">
                <a:extLst>
                  <a:ext uri="{FF2B5EF4-FFF2-40B4-BE49-F238E27FC236}">
                    <a16:creationId xmlns:a16="http://schemas.microsoft.com/office/drawing/2014/main" id="{89818F9D-8AEA-4ABA-B371-02A5DB6731E3}"/>
                  </a:ext>
                </a:extLst>
              </p:cNvPr>
              <p:cNvSpPr/>
              <p:nvPr/>
            </p:nvSpPr>
            <p:spPr>
              <a:xfrm>
                <a:off x="7177855" y="2718086"/>
                <a:ext cx="74627" cy="595047"/>
              </a:xfrm>
              <a:prstGeom prst="can">
                <a:avLst/>
              </a:prstGeom>
              <a:grpFill/>
              <a:ln>
                <a:solidFill>
                  <a:srgbClr val="0034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40" name="Can 588">
                <a:extLst>
                  <a:ext uri="{FF2B5EF4-FFF2-40B4-BE49-F238E27FC236}">
                    <a16:creationId xmlns:a16="http://schemas.microsoft.com/office/drawing/2014/main" id="{F72AAD39-B623-4F84-B9E4-758A4D96C822}"/>
                  </a:ext>
                </a:extLst>
              </p:cNvPr>
              <p:cNvSpPr/>
              <p:nvPr/>
            </p:nvSpPr>
            <p:spPr>
              <a:xfrm>
                <a:off x="7177855" y="2705740"/>
                <a:ext cx="74627" cy="482889"/>
              </a:xfrm>
              <a:prstGeom prst="can">
                <a:avLst/>
              </a:prstGeom>
              <a:grpFill/>
              <a:ln>
                <a:solidFill>
                  <a:srgbClr val="0034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41" name="Can 589">
                <a:extLst>
                  <a:ext uri="{FF2B5EF4-FFF2-40B4-BE49-F238E27FC236}">
                    <a16:creationId xmlns:a16="http://schemas.microsoft.com/office/drawing/2014/main" id="{77B733C2-81A9-45B5-9733-54038D814D91}"/>
                  </a:ext>
                </a:extLst>
              </p:cNvPr>
              <p:cNvSpPr/>
              <p:nvPr/>
            </p:nvSpPr>
            <p:spPr>
              <a:xfrm>
                <a:off x="7177855" y="2702477"/>
                <a:ext cx="74627" cy="351033"/>
              </a:xfrm>
              <a:prstGeom prst="can">
                <a:avLst/>
              </a:prstGeom>
              <a:grpFill/>
              <a:ln>
                <a:solidFill>
                  <a:srgbClr val="0034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42" name="Can 590">
                <a:extLst>
                  <a:ext uri="{FF2B5EF4-FFF2-40B4-BE49-F238E27FC236}">
                    <a16:creationId xmlns:a16="http://schemas.microsoft.com/office/drawing/2014/main" id="{84A1A49E-E996-4B3A-B908-922304606C0A}"/>
                  </a:ext>
                </a:extLst>
              </p:cNvPr>
              <p:cNvSpPr/>
              <p:nvPr/>
            </p:nvSpPr>
            <p:spPr>
              <a:xfrm>
                <a:off x="7177855" y="2711386"/>
                <a:ext cx="74627" cy="206444"/>
              </a:xfrm>
              <a:prstGeom prst="can">
                <a:avLst/>
              </a:prstGeom>
              <a:grpFill/>
              <a:ln>
                <a:solidFill>
                  <a:srgbClr val="0034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grpSp>
          <p:nvGrpSpPr>
            <p:cNvPr id="243" name="Group 242">
              <a:extLst>
                <a:ext uri="{FF2B5EF4-FFF2-40B4-BE49-F238E27FC236}">
                  <a16:creationId xmlns:a16="http://schemas.microsoft.com/office/drawing/2014/main" id="{61962D07-B9AA-42D0-8C00-0500ED91B4DA}"/>
                </a:ext>
              </a:extLst>
            </p:cNvPr>
            <p:cNvGrpSpPr/>
            <p:nvPr/>
          </p:nvGrpSpPr>
          <p:grpSpPr>
            <a:xfrm flipH="1">
              <a:off x="8108963" y="3118250"/>
              <a:ext cx="224518" cy="712181"/>
              <a:chOff x="7177855" y="2702477"/>
              <a:chExt cx="192512" cy="610656"/>
            </a:xfrm>
            <a:solidFill>
              <a:schemeClr val="tx1">
                <a:lumMod val="50000"/>
                <a:lumOff val="50000"/>
              </a:schemeClr>
            </a:solidFill>
          </p:grpSpPr>
          <p:sp>
            <p:nvSpPr>
              <p:cNvPr id="244" name="Can 583">
                <a:extLst>
                  <a:ext uri="{FF2B5EF4-FFF2-40B4-BE49-F238E27FC236}">
                    <a16:creationId xmlns:a16="http://schemas.microsoft.com/office/drawing/2014/main" id="{DBF8B350-73A9-4ABE-A3FB-5AC311C05909}"/>
                  </a:ext>
                </a:extLst>
              </p:cNvPr>
              <p:cNvSpPr/>
              <p:nvPr/>
            </p:nvSpPr>
            <p:spPr>
              <a:xfrm>
                <a:off x="7295740" y="2931487"/>
                <a:ext cx="74627" cy="381520"/>
              </a:xfrm>
              <a:prstGeom prst="can">
                <a:avLst/>
              </a:prstGeom>
              <a:grp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45" name="Can 584">
                <a:extLst>
                  <a:ext uri="{FF2B5EF4-FFF2-40B4-BE49-F238E27FC236}">
                    <a16:creationId xmlns:a16="http://schemas.microsoft.com/office/drawing/2014/main" id="{D5877DD1-FCF1-4296-9DAD-45543666605F}"/>
                  </a:ext>
                </a:extLst>
              </p:cNvPr>
              <p:cNvSpPr/>
              <p:nvPr/>
            </p:nvSpPr>
            <p:spPr>
              <a:xfrm>
                <a:off x="7295740" y="2931488"/>
                <a:ext cx="74627" cy="230591"/>
              </a:xfrm>
              <a:prstGeom prst="can">
                <a:avLst/>
              </a:prstGeom>
              <a:grp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46" name="Can 587">
                <a:extLst>
                  <a:ext uri="{FF2B5EF4-FFF2-40B4-BE49-F238E27FC236}">
                    <a16:creationId xmlns:a16="http://schemas.microsoft.com/office/drawing/2014/main" id="{4B55B6E6-5F20-4533-970E-61DB3A0B129B}"/>
                  </a:ext>
                </a:extLst>
              </p:cNvPr>
              <p:cNvSpPr/>
              <p:nvPr/>
            </p:nvSpPr>
            <p:spPr>
              <a:xfrm>
                <a:off x="7177855" y="2718086"/>
                <a:ext cx="74627" cy="595047"/>
              </a:xfrm>
              <a:prstGeom prst="can">
                <a:avLst/>
              </a:prstGeom>
              <a:grp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47" name="Can 588">
                <a:extLst>
                  <a:ext uri="{FF2B5EF4-FFF2-40B4-BE49-F238E27FC236}">
                    <a16:creationId xmlns:a16="http://schemas.microsoft.com/office/drawing/2014/main" id="{1FC19DF5-CC9C-4A40-8732-60AE465CAFF0}"/>
                  </a:ext>
                </a:extLst>
              </p:cNvPr>
              <p:cNvSpPr/>
              <p:nvPr/>
            </p:nvSpPr>
            <p:spPr>
              <a:xfrm>
                <a:off x="7177855" y="2705740"/>
                <a:ext cx="74627" cy="482889"/>
              </a:xfrm>
              <a:prstGeom prst="can">
                <a:avLst/>
              </a:prstGeom>
              <a:grp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48" name="Can 589">
                <a:extLst>
                  <a:ext uri="{FF2B5EF4-FFF2-40B4-BE49-F238E27FC236}">
                    <a16:creationId xmlns:a16="http://schemas.microsoft.com/office/drawing/2014/main" id="{2B3E762C-652D-4AF3-BD0D-18DE78B7D02A}"/>
                  </a:ext>
                </a:extLst>
              </p:cNvPr>
              <p:cNvSpPr/>
              <p:nvPr/>
            </p:nvSpPr>
            <p:spPr>
              <a:xfrm>
                <a:off x="7177855" y="2702477"/>
                <a:ext cx="74627" cy="351033"/>
              </a:xfrm>
              <a:prstGeom prst="can">
                <a:avLst/>
              </a:prstGeom>
              <a:grp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49" name="Can 590">
                <a:extLst>
                  <a:ext uri="{FF2B5EF4-FFF2-40B4-BE49-F238E27FC236}">
                    <a16:creationId xmlns:a16="http://schemas.microsoft.com/office/drawing/2014/main" id="{2730AF0C-54B4-4C01-A0B9-13FAFFD059DC}"/>
                  </a:ext>
                </a:extLst>
              </p:cNvPr>
              <p:cNvSpPr/>
              <p:nvPr/>
            </p:nvSpPr>
            <p:spPr>
              <a:xfrm>
                <a:off x="7177855" y="2711386"/>
                <a:ext cx="74627" cy="206444"/>
              </a:xfrm>
              <a:prstGeom prst="can">
                <a:avLst/>
              </a:prstGeom>
              <a:grp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sp>
          <p:nvSpPr>
            <p:cNvPr id="250" name="TextBox 249">
              <a:extLst>
                <a:ext uri="{FF2B5EF4-FFF2-40B4-BE49-F238E27FC236}">
                  <a16:creationId xmlns:a16="http://schemas.microsoft.com/office/drawing/2014/main" id="{B70EE35B-DAC8-4A1A-9D29-792C73EE4B3B}"/>
                </a:ext>
              </a:extLst>
            </p:cNvPr>
            <p:cNvSpPr txBox="1"/>
            <p:nvPr/>
          </p:nvSpPr>
          <p:spPr>
            <a:xfrm>
              <a:off x="8294644" y="3296810"/>
              <a:ext cx="82191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Arial" pitchFamily="34" charset="0"/>
                </a:rPr>
                <a:t>BMPR-II</a:t>
              </a:r>
            </a:p>
          </p:txBody>
        </p:sp>
        <p:sp>
          <p:nvSpPr>
            <p:cNvPr id="251" name="TextBox 250">
              <a:extLst>
                <a:ext uri="{FF2B5EF4-FFF2-40B4-BE49-F238E27FC236}">
                  <a16:creationId xmlns:a16="http://schemas.microsoft.com/office/drawing/2014/main" id="{03768FF5-8654-4B8C-92B0-8A9260E9D156}"/>
                </a:ext>
              </a:extLst>
            </p:cNvPr>
            <p:cNvSpPr txBox="1"/>
            <p:nvPr/>
          </p:nvSpPr>
          <p:spPr>
            <a:xfrm>
              <a:off x="6994211" y="3142921"/>
              <a:ext cx="89181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2F2F2">
                      <a:lumMod val="10000"/>
                    </a:srgbClr>
                  </a:solidFill>
                  <a:effectLst/>
                  <a:uLnTx/>
                  <a:uFillTx/>
                  <a:latin typeface="Verdana" panose="020B0604030504040204" pitchFamily="34" charset="0"/>
                  <a:ea typeface="Verdana" panose="020B0604030504040204" pitchFamily="34" charset="0"/>
                  <a:cs typeface="Arial" pitchFamily="34" charset="0"/>
                </a:rPr>
                <a:t>ALK</a:t>
              </a:r>
              <a:br>
                <a:rPr kumimoji="0" lang="en-GB" sz="1000" b="1" i="0" u="none" strike="noStrike" kern="1200" cap="none" spc="0" normalizeH="0" baseline="0" noProof="0">
                  <a:ln>
                    <a:noFill/>
                  </a:ln>
                  <a:solidFill>
                    <a:srgbClr val="F2F2F2">
                      <a:lumMod val="10000"/>
                    </a:srgbClr>
                  </a:solidFill>
                  <a:effectLst/>
                  <a:uLnTx/>
                  <a:uFillTx/>
                  <a:latin typeface="Verdana" panose="020B0604030504040204" pitchFamily="34" charset="0"/>
                  <a:ea typeface="Verdana" panose="020B0604030504040204" pitchFamily="34" charset="0"/>
                  <a:cs typeface="Arial" pitchFamily="34" charset="0"/>
                </a:rPr>
              </a:br>
              <a:r>
                <a:rPr kumimoji="0" lang="en-GB" sz="1000" b="1" i="0" u="none" strike="noStrike" kern="1200" cap="none" spc="0" normalizeH="0" baseline="0" noProof="0">
                  <a:ln>
                    <a:noFill/>
                  </a:ln>
                  <a:solidFill>
                    <a:srgbClr val="F2F2F2">
                      <a:lumMod val="10000"/>
                    </a:srgbClr>
                  </a:solidFill>
                  <a:effectLst/>
                  <a:uLnTx/>
                  <a:uFillTx/>
                  <a:latin typeface="Verdana" panose="020B0604030504040204" pitchFamily="34" charset="0"/>
                  <a:ea typeface="Verdana" panose="020B0604030504040204" pitchFamily="34" charset="0"/>
                  <a:cs typeface="Arial" pitchFamily="34" charset="0"/>
                </a:rPr>
                <a:t>1/2/3/6</a:t>
              </a:r>
            </a:p>
          </p:txBody>
        </p:sp>
        <p:sp>
          <p:nvSpPr>
            <p:cNvPr id="252" name="TextBox 251">
              <a:extLst>
                <a:ext uri="{FF2B5EF4-FFF2-40B4-BE49-F238E27FC236}">
                  <a16:creationId xmlns:a16="http://schemas.microsoft.com/office/drawing/2014/main" id="{484D72A5-66F3-4B3A-8980-68D0B74C02D5}"/>
                </a:ext>
              </a:extLst>
            </p:cNvPr>
            <p:cNvSpPr txBox="1"/>
            <p:nvPr/>
          </p:nvSpPr>
          <p:spPr>
            <a:xfrm>
              <a:off x="9199795" y="3142921"/>
              <a:ext cx="77321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2F2F2">
                      <a:lumMod val="10000"/>
                    </a:srgbClr>
                  </a:solidFill>
                  <a:effectLst/>
                  <a:uLnTx/>
                  <a:uFillTx/>
                  <a:latin typeface="Verdana" panose="020B0604030504040204" pitchFamily="34" charset="0"/>
                  <a:ea typeface="Verdana" panose="020B0604030504040204" pitchFamily="34" charset="0"/>
                  <a:cs typeface="Arial" pitchFamily="34" charset="0"/>
                </a:rPr>
                <a:t>ALK</a:t>
              </a:r>
              <a:br>
                <a:rPr kumimoji="0" lang="en-GB" sz="1000" b="1" i="0" u="none" strike="noStrike" kern="1200" cap="none" spc="0" normalizeH="0" baseline="0" noProof="0">
                  <a:ln>
                    <a:noFill/>
                  </a:ln>
                  <a:solidFill>
                    <a:srgbClr val="F2F2F2">
                      <a:lumMod val="10000"/>
                    </a:srgbClr>
                  </a:solidFill>
                  <a:effectLst/>
                  <a:uLnTx/>
                  <a:uFillTx/>
                  <a:latin typeface="Verdana" panose="020B0604030504040204" pitchFamily="34" charset="0"/>
                  <a:ea typeface="Verdana" panose="020B0604030504040204" pitchFamily="34" charset="0"/>
                  <a:cs typeface="Arial" pitchFamily="34" charset="0"/>
                </a:rPr>
              </a:br>
              <a:r>
                <a:rPr kumimoji="0" lang="en-GB" sz="1000" b="1" i="0" u="none" strike="noStrike" kern="1200" cap="none" spc="0" normalizeH="0" baseline="0" noProof="0">
                  <a:ln>
                    <a:noFill/>
                  </a:ln>
                  <a:solidFill>
                    <a:srgbClr val="F2F2F2">
                      <a:lumMod val="10000"/>
                    </a:srgbClr>
                  </a:solidFill>
                  <a:effectLst/>
                  <a:uLnTx/>
                  <a:uFillTx/>
                  <a:latin typeface="Verdana" panose="020B0604030504040204" pitchFamily="34" charset="0"/>
                  <a:ea typeface="Verdana" panose="020B0604030504040204" pitchFamily="34" charset="0"/>
                  <a:cs typeface="Arial" pitchFamily="34" charset="0"/>
                </a:rPr>
                <a:t>4/5/7</a:t>
              </a:r>
            </a:p>
          </p:txBody>
        </p:sp>
        <p:grpSp>
          <p:nvGrpSpPr>
            <p:cNvPr id="253" name="Group 252">
              <a:extLst>
                <a:ext uri="{FF2B5EF4-FFF2-40B4-BE49-F238E27FC236}">
                  <a16:creationId xmlns:a16="http://schemas.microsoft.com/office/drawing/2014/main" id="{EDC61B93-17D0-42DC-8029-607441B977F6}"/>
                </a:ext>
              </a:extLst>
            </p:cNvPr>
            <p:cNvGrpSpPr/>
            <p:nvPr/>
          </p:nvGrpSpPr>
          <p:grpSpPr>
            <a:xfrm>
              <a:off x="9871617" y="3118250"/>
              <a:ext cx="224518" cy="712181"/>
              <a:chOff x="7177855" y="2702477"/>
              <a:chExt cx="192512" cy="610656"/>
            </a:xfrm>
            <a:solidFill>
              <a:schemeClr val="accent3"/>
            </a:solidFill>
          </p:grpSpPr>
          <p:sp>
            <p:nvSpPr>
              <p:cNvPr id="254" name="Can 583">
                <a:extLst>
                  <a:ext uri="{FF2B5EF4-FFF2-40B4-BE49-F238E27FC236}">
                    <a16:creationId xmlns:a16="http://schemas.microsoft.com/office/drawing/2014/main" id="{569BB772-5FBE-49EE-8C6C-D5DC0E034E59}"/>
                  </a:ext>
                </a:extLst>
              </p:cNvPr>
              <p:cNvSpPr/>
              <p:nvPr/>
            </p:nvSpPr>
            <p:spPr>
              <a:xfrm>
                <a:off x="7295740" y="2931487"/>
                <a:ext cx="74627" cy="381520"/>
              </a:xfrm>
              <a:prstGeom prst="can">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55" name="Can 584">
                <a:extLst>
                  <a:ext uri="{FF2B5EF4-FFF2-40B4-BE49-F238E27FC236}">
                    <a16:creationId xmlns:a16="http://schemas.microsoft.com/office/drawing/2014/main" id="{E695DFC6-8F3A-49B9-9340-732038072796}"/>
                  </a:ext>
                </a:extLst>
              </p:cNvPr>
              <p:cNvSpPr/>
              <p:nvPr/>
            </p:nvSpPr>
            <p:spPr>
              <a:xfrm>
                <a:off x="7295740" y="2931488"/>
                <a:ext cx="74627" cy="230591"/>
              </a:xfrm>
              <a:prstGeom prst="can">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56" name="Can 587">
                <a:extLst>
                  <a:ext uri="{FF2B5EF4-FFF2-40B4-BE49-F238E27FC236}">
                    <a16:creationId xmlns:a16="http://schemas.microsoft.com/office/drawing/2014/main" id="{0DED6ED7-81E7-4961-AF46-F26E322A42C4}"/>
                  </a:ext>
                </a:extLst>
              </p:cNvPr>
              <p:cNvSpPr/>
              <p:nvPr/>
            </p:nvSpPr>
            <p:spPr>
              <a:xfrm>
                <a:off x="7177855" y="2718086"/>
                <a:ext cx="74627" cy="595047"/>
              </a:xfrm>
              <a:prstGeom prst="can">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57" name="Can 588">
                <a:extLst>
                  <a:ext uri="{FF2B5EF4-FFF2-40B4-BE49-F238E27FC236}">
                    <a16:creationId xmlns:a16="http://schemas.microsoft.com/office/drawing/2014/main" id="{5FC5C8CB-A482-42F3-A2D8-F1938B6BE707}"/>
                  </a:ext>
                </a:extLst>
              </p:cNvPr>
              <p:cNvSpPr/>
              <p:nvPr/>
            </p:nvSpPr>
            <p:spPr>
              <a:xfrm>
                <a:off x="7177855" y="2705740"/>
                <a:ext cx="74627" cy="482889"/>
              </a:xfrm>
              <a:prstGeom prst="can">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58" name="Can 589">
                <a:extLst>
                  <a:ext uri="{FF2B5EF4-FFF2-40B4-BE49-F238E27FC236}">
                    <a16:creationId xmlns:a16="http://schemas.microsoft.com/office/drawing/2014/main" id="{FD7FC5A3-BEF3-44E3-9CBE-F7510F2F5A17}"/>
                  </a:ext>
                </a:extLst>
              </p:cNvPr>
              <p:cNvSpPr/>
              <p:nvPr/>
            </p:nvSpPr>
            <p:spPr>
              <a:xfrm>
                <a:off x="7177855" y="2702477"/>
                <a:ext cx="74627" cy="351033"/>
              </a:xfrm>
              <a:prstGeom prst="can">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59" name="Can 590">
                <a:extLst>
                  <a:ext uri="{FF2B5EF4-FFF2-40B4-BE49-F238E27FC236}">
                    <a16:creationId xmlns:a16="http://schemas.microsoft.com/office/drawing/2014/main" id="{AF36A75E-E99F-4EF8-A8A9-A7C86579D807}"/>
                  </a:ext>
                </a:extLst>
              </p:cNvPr>
              <p:cNvSpPr/>
              <p:nvPr/>
            </p:nvSpPr>
            <p:spPr>
              <a:xfrm>
                <a:off x="7177855" y="2711386"/>
                <a:ext cx="74627" cy="206444"/>
              </a:xfrm>
              <a:prstGeom prst="can">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grpSp>
          <p:nvGrpSpPr>
            <p:cNvPr id="260" name="Group 259">
              <a:extLst>
                <a:ext uri="{FF2B5EF4-FFF2-40B4-BE49-F238E27FC236}">
                  <a16:creationId xmlns:a16="http://schemas.microsoft.com/office/drawing/2014/main" id="{5B0791D6-EF57-4FFD-8222-9D454E25AF39}"/>
                </a:ext>
              </a:extLst>
            </p:cNvPr>
            <p:cNvGrpSpPr/>
            <p:nvPr/>
          </p:nvGrpSpPr>
          <p:grpSpPr>
            <a:xfrm flipH="1">
              <a:off x="10203901" y="3118250"/>
              <a:ext cx="224518" cy="712181"/>
              <a:chOff x="7177855" y="2702477"/>
              <a:chExt cx="192512" cy="610656"/>
            </a:xfrm>
            <a:solidFill>
              <a:schemeClr val="accent6"/>
            </a:solidFill>
          </p:grpSpPr>
          <p:sp>
            <p:nvSpPr>
              <p:cNvPr id="261" name="Can 583">
                <a:extLst>
                  <a:ext uri="{FF2B5EF4-FFF2-40B4-BE49-F238E27FC236}">
                    <a16:creationId xmlns:a16="http://schemas.microsoft.com/office/drawing/2014/main" id="{4A6B6258-ACC9-4A5B-B63F-42DF2CD2C90B}"/>
                  </a:ext>
                </a:extLst>
              </p:cNvPr>
              <p:cNvSpPr/>
              <p:nvPr/>
            </p:nvSpPr>
            <p:spPr>
              <a:xfrm>
                <a:off x="7295740" y="2931487"/>
                <a:ext cx="74627" cy="381520"/>
              </a:xfrm>
              <a:prstGeom prst="can">
                <a:avLst/>
              </a:prstGeom>
              <a:grp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62" name="Can 584">
                <a:extLst>
                  <a:ext uri="{FF2B5EF4-FFF2-40B4-BE49-F238E27FC236}">
                    <a16:creationId xmlns:a16="http://schemas.microsoft.com/office/drawing/2014/main" id="{9EEBE214-ED1E-4AA9-AF04-F7E80A364AB8}"/>
                  </a:ext>
                </a:extLst>
              </p:cNvPr>
              <p:cNvSpPr/>
              <p:nvPr/>
            </p:nvSpPr>
            <p:spPr>
              <a:xfrm>
                <a:off x="7295740" y="2931488"/>
                <a:ext cx="74627" cy="230591"/>
              </a:xfrm>
              <a:prstGeom prst="can">
                <a:avLst/>
              </a:prstGeom>
              <a:grp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63" name="Can 587">
                <a:extLst>
                  <a:ext uri="{FF2B5EF4-FFF2-40B4-BE49-F238E27FC236}">
                    <a16:creationId xmlns:a16="http://schemas.microsoft.com/office/drawing/2014/main" id="{C629C32A-A7E9-4478-BCDB-5859C406B3A9}"/>
                  </a:ext>
                </a:extLst>
              </p:cNvPr>
              <p:cNvSpPr/>
              <p:nvPr/>
            </p:nvSpPr>
            <p:spPr>
              <a:xfrm>
                <a:off x="7177855" y="2718086"/>
                <a:ext cx="74627" cy="595047"/>
              </a:xfrm>
              <a:prstGeom prst="can">
                <a:avLst/>
              </a:prstGeom>
              <a:grp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64" name="Can 588">
                <a:extLst>
                  <a:ext uri="{FF2B5EF4-FFF2-40B4-BE49-F238E27FC236}">
                    <a16:creationId xmlns:a16="http://schemas.microsoft.com/office/drawing/2014/main" id="{A4DAD57F-FA3C-4C2B-9DE5-A11AAF9F8DA2}"/>
                  </a:ext>
                </a:extLst>
              </p:cNvPr>
              <p:cNvSpPr/>
              <p:nvPr/>
            </p:nvSpPr>
            <p:spPr>
              <a:xfrm>
                <a:off x="7177855" y="2705740"/>
                <a:ext cx="74627" cy="482889"/>
              </a:xfrm>
              <a:prstGeom prst="can">
                <a:avLst/>
              </a:prstGeom>
              <a:grp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65" name="Can 589">
                <a:extLst>
                  <a:ext uri="{FF2B5EF4-FFF2-40B4-BE49-F238E27FC236}">
                    <a16:creationId xmlns:a16="http://schemas.microsoft.com/office/drawing/2014/main" id="{0B84F3A8-CB3D-41F2-8B62-55BB891A5F5E}"/>
                  </a:ext>
                </a:extLst>
              </p:cNvPr>
              <p:cNvSpPr/>
              <p:nvPr/>
            </p:nvSpPr>
            <p:spPr>
              <a:xfrm>
                <a:off x="7177855" y="2702477"/>
                <a:ext cx="74627" cy="351033"/>
              </a:xfrm>
              <a:prstGeom prst="can">
                <a:avLst/>
              </a:prstGeom>
              <a:grp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66" name="Can 590">
                <a:extLst>
                  <a:ext uri="{FF2B5EF4-FFF2-40B4-BE49-F238E27FC236}">
                    <a16:creationId xmlns:a16="http://schemas.microsoft.com/office/drawing/2014/main" id="{33D0439F-4DD9-4304-BDD7-9411B8BC0E0D}"/>
                  </a:ext>
                </a:extLst>
              </p:cNvPr>
              <p:cNvSpPr/>
              <p:nvPr/>
            </p:nvSpPr>
            <p:spPr>
              <a:xfrm>
                <a:off x="7177855" y="2711386"/>
                <a:ext cx="74627" cy="206444"/>
              </a:xfrm>
              <a:prstGeom prst="can">
                <a:avLst/>
              </a:prstGeom>
              <a:grp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sp>
          <p:nvSpPr>
            <p:cNvPr id="267" name="Rectangle: Rounded Corners 266">
              <a:extLst>
                <a:ext uri="{FF2B5EF4-FFF2-40B4-BE49-F238E27FC236}">
                  <a16:creationId xmlns:a16="http://schemas.microsoft.com/office/drawing/2014/main" id="{70DCB880-557D-41C8-8CC6-941A15F4F135}"/>
                </a:ext>
              </a:extLst>
            </p:cNvPr>
            <p:cNvSpPr/>
            <p:nvPr/>
          </p:nvSpPr>
          <p:spPr bwMode="auto">
            <a:xfrm>
              <a:off x="7504072" y="4351657"/>
              <a:ext cx="1114201" cy="347477"/>
            </a:xfrm>
            <a:prstGeom prst="roundRect">
              <a:avLst>
                <a:gd name="adj" fmla="val 50000"/>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rPr>
                <a:t>pSMAD1/5/8</a:t>
              </a:r>
            </a:p>
          </p:txBody>
        </p:sp>
        <p:sp>
          <p:nvSpPr>
            <p:cNvPr id="268" name="Rectangle: Rounded Corners 267">
              <a:extLst>
                <a:ext uri="{FF2B5EF4-FFF2-40B4-BE49-F238E27FC236}">
                  <a16:creationId xmlns:a16="http://schemas.microsoft.com/office/drawing/2014/main" id="{9CF2A8F2-B6EE-4742-9DEA-5033A66C2962}"/>
                </a:ext>
              </a:extLst>
            </p:cNvPr>
            <p:cNvSpPr/>
            <p:nvPr/>
          </p:nvSpPr>
          <p:spPr bwMode="auto">
            <a:xfrm>
              <a:off x="9599931" y="4351657"/>
              <a:ext cx="1114201" cy="347477"/>
            </a:xfrm>
            <a:prstGeom prst="roundRect">
              <a:avLst>
                <a:gd name="adj" fmla="val 50000"/>
              </a:avLst>
            </a:prstGeom>
            <a:solidFill>
              <a:srgbClr val="C00000"/>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rPr>
                <a:t>pSMAD2/3</a:t>
              </a:r>
            </a:p>
          </p:txBody>
        </p:sp>
        <p:sp>
          <p:nvSpPr>
            <p:cNvPr id="269" name="Rectangle: Rounded Corners 268">
              <a:extLst>
                <a:ext uri="{FF2B5EF4-FFF2-40B4-BE49-F238E27FC236}">
                  <a16:creationId xmlns:a16="http://schemas.microsoft.com/office/drawing/2014/main" id="{90DE5B2F-41B9-40BA-BB80-C653CE3C050E}"/>
                </a:ext>
              </a:extLst>
            </p:cNvPr>
            <p:cNvSpPr/>
            <p:nvPr/>
          </p:nvSpPr>
          <p:spPr bwMode="auto">
            <a:xfrm>
              <a:off x="8661381" y="4351657"/>
              <a:ext cx="911046" cy="347477"/>
            </a:xfrm>
            <a:prstGeom prst="roundRect">
              <a:avLst>
                <a:gd name="adj" fmla="val 50000"/>
              </a:avLst>
            </a:prstGeom>
            <a:solidFill>
              <a:srgbClr val="FFC000"/>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itchFamily="34" charset="0"/>
                </a:rPr>
                <a:t>SMAD4</a:t>
              </a:r>
            </a:p>
          </p:txBody>
        </p:sp>
        <p:sp>
          <p:nvSpPr>
            <p:cNvPr id="270" name="TextBox 269">
              <a:extLst>
                <a:ext uri="{FF2B5EF4-FFF2-40B4-BE49-F238E27FC236}">
                  <a16:creationId xmlns:a16="http://schemas.microsoft.com/office/drawing/2014/main" id="{3752C28D-687E-44AA-8CAB-C4C06FF4DA78}"/>
                </a:ext>
              </a:extLst>
            </p:cNvPr>
            <p:cNvSpPr txBox="1"/>
            <p:nvPr/>
          </p:nvSpPr>
          <p:spPr>
            <a:xfrm>
              <a:off x="9659764" y="2599082"/>
              <a:ext cx="967882"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2F2F2">
                      <a:lumMod val="10000"/>
                    </a:srgbClr>
                  </a:solidFill>
                  <a:effectLst/>
                  <a:uLnTx/>
                  <a:uFillTx/>
                  <a:latin typeface="Verdana" panose="020B0604030504040204" pitchFamily="34" charset="0"/>
                  <a:ea typeface="Verdana" panose="020B0604030504040204" pitchFamily="34" charset="0"/>
                  <a:cs typeface="Arial" pitchFamily="34" charset="0"/>
                </a:rPr>
                <a:t>Activins </a:t>
              </a:r>
              <a:br>
                <a:rPr kumimoji="0" lang="en-GB" sz="1100" b="1" i="0" u="none" strike="noStrike" kern="1200" cap="none" spc="0" normalizeH="0" baseline="0" noProof="0">
                  <a:ln>
                    <a:noFill/>
                  </a:ln>
                  <a:solidFill>
                    <a:srgbClr val="F2F2F2">
                      <a:lumMod val="10000"/>
                    </a:srgbClr>
                  </a:solidFill>
                  <a:effectLst/>
                  <a:uLnTx/>
                  <a:uFillTx/>
                  <a:latin typeface="Verdana" panose="020B0604030504040204" pitchFamily="34" charset="0"/>
                  <a:ea typeface="Verdana" panose="020B0604030504040204" pitchFamily="34" charset="0"/>
                  <a:cs typeface="Arial" pitchFamily="34" charset="0"/>
                </a:rPr>
              </a:br>
              <a:r>
                <a:rPr kumimoji="0" lang="en-GB" sz="1100" b="1" i="0" u="none" strike="noStrike" kern="1200" cap="none" spc="0" normalizeH="0" baseline="0" noProof="0">
                  <a:ln>
                    <a:noFill/>
                  </a:ln>
                  <a:solidFill>
                    <a:srgbClr val="F2F2F2">
                      <a:lumMod val="10000"/>
                    </a:srgbClr>
                  </a:solidFill>
                  <a:effectLst/>
                  <a:uLnTx/>
                  <a:uFillTx/>
                  <a:latin typeface="Verdana" panose="020B0604030504040204" pitchFamily="34" charset="0"/>
                  <a:ea typeface="Verdana" panose="020B0604030504040204" pitchFamily="34" charset="0"/>
                  <a:cs typeface="Arial" pitchFamily="34" charset="0"/>
                </a:rPr>
                <a:t>and GDFs</a:t>
              </a:r>
            </a:p>
          </p:txBody>
        </p:sp>
        <p:sp>
          <p:nvSpPr>
            <p:cNvPr id="271" name="Rectangle: Rounded Corners 270">
              <a:extLst>
                <a:ext uri="{FF2B5EF4-FFF2-40B4-BE49-F238E27FC236}">
                  <a16:creationId xmlns:a16="http://schemas.microsoft.com/office/drawing/2014/main" id="{ABAE3710-7981-4AB2-8D83-0762ACB2E716}"/>
                </a:ext>
              </a:extLst>
            </p:cNvPr>
            <p:cNvSpPr/>
            <p:nvPr/>
          </p:nvSpPr>
          <p:spPr bwMode="auto">
            <a:xfrm>
              <a:off x="10055013" y="3033634"/>
              <a:ext cx="194455" cy="194455"/>
            </a:xfrm>
            <a:prstGeom prst="roundRect">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72" name="Rectangle: Rounded Corners 271">
              <a:extLst>
                <a:ext uri="{FF2B5EF4-FFF2-40B4-BE49-F238E27FC236}">
                  <a16:creationId xmlns:a16="http://schemas.microsoft.com/office/drawing/2014/main" id="{3FDDB13D-314C-44E7-B413-8E84A03A2A7F}"/>
                </a:ext>
              </a:extLst>
            </p:cNvPr>
            <p:cNvSpPr/>
            <p:nvPr/>
          </p:nvSpPr>
          <p:spPr bwMode="auto">
            <a:xfrm>
              <a:off x="10575511" y="2594342"/>
              <a:ext cx="194455" cy="194455"/>
            </a:xfrm>
            <a:prstGeom prst="roundRect">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73" name="Rectangle: Rounded Corners 272">
              <a:extLst>
                <a:ext uri="{FF2B5EF4-FFF2-40B4-BE49-F238E27FC236}">
                  <a16:creationId xmlns:a16="http://schemas.microsoft.com/office/drawing/2014/main" id="{D2D0A865-252F-49DE-80D9-642D7E396305}"/>
                </a:ext>
              </a:extLst>
            </p:cNvPr>
            <p:cNvSpPr/>
            <p:nvPr/>
          </p:nvSpPr>
          <p:spPr bwMode="auto">
            <a:xfrm>
              <a:off x="7528769" y="4944066"/>
              <a:ext cx="1784069" cy="232675"/>
            </a:xfrm>
            <a:prstGeom prst="roundRect">
              <a:avLst/>
            </a:prstGeom>
            <a:solidFill>
              <a:schemeClr val="accent3">
                <a:lumMod val="20000"/>
                <a:lumOff val="80000"/>
              </a:schemeClr>
            </a:solidFill>
            <a:ln w="12700" cap="flat" cmpd="sng" algn="ctr">
              <a:solidFill>
                <a:srgbClr val="000000"/>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Gremlin-1 and Noggin</a:t>
              </a:r>
            </a:p>
          </p:txBody>
        </p:sp>
        <p:sp>
          <p:nvSpPr>
            <p:cNvPr id="274" name="Freeform: Shape 273">
              <a:extLst>
                <a:ext uri="{FF2B5EF4-FFF2-40B4-BE49-F238E27FC236}">
                  <a16:creationId xmlns:a16="http://schemas.microsoft.com/office/drawing/2014/main" id="{A883F08B-7272-4661-BADB-10016D39639A}"/>
                </a:ext>
              </a:extLst>
            </p:cNvPr>
            <p:cNvSpPr/>
            <p:nvPr/>
          </p:nvSpPr>
          <p:spPr bwMode="auto">
            <a:xfrm>
              <a:off x="9355751" y="4792867"/>
              <a:ext cx="799293" cy="273920"/>
            </a:xfrm>
            <a:custGeom>
              <a:avLst/>
              <a:gdLst>
                <a:gd name="connsiteX0" fmla="*/ 1033669 w 1033669"/>
                <a:gd name="connsiteY0" fmla="*/ 0 h 612251"/>
                <a:gd name="connsiteX1" fmla="*/ 1033669 w 1033669"/>
                <a:gd name="connsiteY1" fmla="*/ 612251 h 612251"/>
                <a:gd name="connsiteX2" fmla="*/ 0 w 1033669"/>
                <a:gd name="connsiteY2" fmla="*/ 612251 h 612251"/>
              </a:gdLst>
              <a:ahLst/>
              <a:cxnLst>
                <a:cxn ang="0">
                  <a:pos x="connsiteX0" y="connsiteY0"/>
                </a:cxn>
                <a:cxn ang="0">
                  <a:pos x="connsiteX1" y="connsiteY1"/>
                </a:cxn>
                <a:cxn ang="0">
                  <a:pos x="connsiteX2" y="connsiteY2"/>
                </a:cxn>
              </a:cxnLst>
              <a:rect l="l" t="t" r="r" b="b"/>
              <a:pathLst>
                <a:path w="1033669" h="612251">
                  <a:moveTo>
                    <a:pt x="1033669" y="0"/>
                  </a:moveTo>
                  <a:lnTo>
                    <a:pt x="1033669" y="612251"/>
                  </a:lnTo>
                  <a:lnTo>
                    <a:pt x="0" y="612251"/>
                  </a:lnTo>
                </a:path>
              </a:pathLst>
            </a:custGeom>
            <a:noFill/>
            <a:ln w="25400" cap="rnd" cmpd="sng" algn="ctr">
              <a:solidFill>
                <a:srgbClr val="000000"/>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cxnSp>
          <p:nvCxnSpPr>
            <p:cNvPr id="275" name="Straight Arrow Connector 274">
              <a:extLst>
                <a:ext uri="{FF2B5EF4-FFF2-40B4-BE49-F238E27FC236}">
                  <a16:creationId xmlns:a16="http://schemas.microsoft.com/office/drawing/2014/main" id="{7BDE670C-116D-47A8-ADEE-A19A6A8C6FA5}"/>
                </a:ext>
              </a:extLst>
            </p:cNvPr>
            <p:cNvCxnSpPr/>
            <p:nvPr/>
          </p:nvCxnSpPr>
          <p:spPr>
            <a:xfrm>
              <a:off x="10155044" y="3914359"/>
              <a:ext cx="0" cy="377867"/>
            </a:xfrm>
            <a:prstGeom prst="straightConnector1">
              <a:avLst/>
            </a:prstGeom>
            <a:ln w="41275" cap="rnd">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76" name="Freeform: Shape 275">
              <a:extLst>
                <a:ext uri="{FF2B5EF4-FFF2-40B4-BE49-F238E27FC236}">
                  <a16:creationId xmlns:a16="http://schemas.microsoft.com/office/drawing/2014/main" id="{5431FB16-1C91-489D-B1C1-C29FA5A1A570}"/>
                </a:ext>
              </a:extLst>
            </p:cNvPr>
            <p:cNvSpPr/>
            <p:nvPr/>
          </p:nvSpPr>
          <p:spPr bwMode="auto">
            <a:xfrm>
              <a:off x="7104146" y="2825683"/>
              <a:ext cx="352383" cy="2241102"/>
            </a:xfrm>
            <a:custGeom>
              <a:avLst/>
              <a:gdLst>
                <a:gd name="connsiteX0" fmla="*/ 302149 w 302149"/>
                <a:gd name="connsiteY0" fmla="*/ 1908313 h 1908313"/>
                <a:gd name="connsiteX1" fmla="*/ 0 w 302149"/>
                <a:gd name="connsiteY1" fmla="*/ 1908313 h 1908313"/>
                <a:gd name="connsiteX2" fmla="*/ 0 w 302149"/>
                <a:gd name="connsiteY2" fmla="*/ 0 h 1908313"/>
                <a:gd name="connsiteX3" fmla="*/ 286246 w 302149"/>
                <a:gd name="connsiteY3" fmla="*/ 0 h 1908313"/>
              </a:gdLst>
              <a:ahLst/>
              <a:cxnLst>
                <a:cxn ang="0">
                  <a:pos x="connsiteX0" y="connsiteY0"/>
                </a:cxn>
                <a:cxn ang="0">
                  <a:pos x="connsiteX1" y="connsiteY1"/>
                </a:cxn>
                <a:cxn ang="0">
                  <a:pos x="connsiteX2" y="connsiteY2"/>
                </a:cxn>
                <a:cxn ang="0">
                  <a:pos x="connsiteX3" y="connsiteY3"/>
                </a:cxn>
              </a:cxnLst>
              <a:rect l="l" t="t" r="r" b="b"/>
              <a:pathLst>
                <a:path w="302149" h="1908313">
                  <a:moveTo>
                    <a:pt x="302149" y="1908313"/>
                  </a:moveTo>
                  <a:lnTo>
                    <a:pt x="0" y="1908313"/>
                  </a:lnTo>
                  <a:lnTo>
                    <a:pt x="0" y="0"/>
                  </a:lnTo>
                  <a:lnTo>
                    <a:pt x="286246" y="0"/>
                  </a:lnTo>
                </a:path>
              </a:pathLst>
            </a:custGeom>
            <a:noFill/>
            <a:ln w="25400" cap="rnd" cmpd="sng" algn="ctr">
              <a:solidFill>
                <a:srgbClr val="0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cxnSp>
          <p:nvCxnSpPr>
            <p:cNvPr id="277" name="Straight Connector 276">
              <a:extLst>
                <a:ext uri="{FF2B5EF4-FFF2-40B4-BE49-F238E27FC236}">
                  <a16:creationId xmlns:a16="http://schemas.microsoft.com/office/drawing/2014/main" id="{6B24905D-98BC-4DCB-AE01-3BEBE36889A2}"/>
                </a:ext>
              </a:extLst>
            </p:cNvPr>
            <p:cNvCxnSpPr/>
            <p:nvPr/>
          </p:nvCxnSpPr>
          <p:spPr bwMode="auto">
            <a:xfrm>
              <a:off x="7452039" y="2751496"/>
              <a:ext cx="0" cy="148372"/>
            </a:xfrm>
            <a:prstGeom prst="line">
              <a:avLst/>
            </a:prstGeom>
            <a:solidFill>
              <a:srgbClr val="C0C0C0"/>
            </a:solidFill>
            <a:ln w="25400" cap="rnd" cmpd="sng" algn="ctr">
              <a:solidFill>
                <a:srgbClr val="000000"/>
              </a:solidFill>
              <a:prstDash val="solid"/>
              <a:round/>
              <a:headEnd type="none" w="med" len="med"/>
              <a:tailEnd type="none" w="med" len="med"/>
            </a:ln>
            <a:effectLst/>
          </p:spPr>
        </p:cxnSp>
        <p:sp>
          <p:nvSpPr>
            <p:cNvPr id="278" name="Rectangle: Rounded Corners 277">
              <a:extLst>
                <a:ext uri="{FF2B5EF4-FFF2-40B4-BE49-F238E27FC236}">
                  <a16:creationId xmlns:a16="http://schemas.microsoft.com/office/drawing/2014/main" id="{878EC9DA-9F55-44E8-848A-8DFCF6BEEDEE}"/>
                </a:ext>
              </a:extLst>
            </p:cNvPr>
            <p:cNvSpPr/>
            <p:nvPr/>
          </p:nvSpPr>
          <p:spPr bwMode="auto">
            <a:xfrm>
              <a:off x="9534713" y="2558307"/>
              <a:ext cx="194455" cy="194455"/>
            </a:xfrm>
            <a:prstGeom prst="roundRect">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79" name="Rectangle: Rounded Corners 278">
              <a:extLst>
                <a:ext uri="{FF2B5EF4-FFF2-40B4-BE49-F238E27FC236}">
                  <a16:creationId xmlns:a16="http://schemas.microsoft.com/office/drawing/2014/main" id="{336EACB8-834A-47CC-B8DD-A85ABD140928}"/>
                </a:ext>
              </a:extLst>
            </p:cNvPr>
            <p:cNvSpPr/>
            <p:nvPr/>
          </p:nvSpPr>
          <p:spPr bwMode="auto">
            <a:xfrm>
              <a:off x="7582341" y="2700292"/>
              <a:ext cx="194455" cy="194455"/>
            </a:xfrm>
            <a:prstGeom prst="roundRect">
              <a:avLst/>
            </a:prstGeom>
            <a:solidFill>
              <a:schemeClr val="accent4"/>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80" name="Rectangle: Rounded Corners 279">
              <a:extLst>
                <a:ext uri="{FF2B5EF4-FFF2-40B4-BE49-F238E27FC236}">
                  <a16:creationId xmlns:a16="http://schemas.microsoft.com/office/drawing/2014/main" id="{0D9C0F4A-0A39-437F-A5C1-DD595D291130}"/>
                </a:ext>
              </a:extLst>
            </p:cNvPr>
            <p:cNvSpPr/>
            <p:nvPr/>
          </p:nvSpPr>
          <p:spPr bwMode="auto">
            <a:xfrm>
              <a:off x="7341173" y="2277803"/>
              <a:ext cx="1429520" cy="232675"/>
            </a:xfrm>
            <a:prstGeom prst="roundRect">
              <a:avLst/>
            </a:prstGeom>
            <a:solidFill>
              <a:schemeClr val="accent5">
                <a:lumMod val="40000"/>
                <a:lumOff val="60000"/>
              </a:schemeClr>
            </a:solidFill>
            <a:ln w="12700" cap="flat" cmpd="sng" algn="ctr">
              <a:solidFill>
                <a:srgbClr val="000000"/>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Anti-proliferative</a:t>
              </a:r>
            </a:p>
          </p:txBody>
        </p:sp>
        <p:sp>
          <p:nvSpPr>
            <p:cNvPr id="281" name="Rectangle: Rounded Corners 280">
              <a:extLst>
                <a:ext uri="{FF2B5EF4-FFF2-40B4-BE49-F238E27FC236}">
                  <a16:creationId xmlns:a16="http://schemas.microsoft.com/office/drawing/2014/main" id="{F2E7122E-6BF0-49B2-B050-FDAFD90CA642}"/>
                </a:ext>
              </a:extLst>
            </p:cNvPr>
            <p:cNvSpPr/>
            <p:nvPr/>
          </p:nvSpPr>
          <p:spPr bwMode="auto">
            <a:xfrm>
              <a:off x="9428945" y="2277803"/>
              <a:ext cx="1429520" cy="232675"/>
            </a:xfrm>
            <a:prstGeom prst="roundRect">
              <a:avLst/>
            </a:prstGeom>
            <a:solidFill>
              <a:srgbClr val="F7BDA3"/>
            </a:solidFill>
            <a:ln w="12700" cap="flat" cmpd="sng" algn="ctr">
              <a:solidFill>
                <a:srgbClr val="000000"/>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Verdana"/>
                  <a:ea typeface="Verdana"/>
                  <a:cs typeface="ヒラギノ角ゴ ProN W3" pitchFamily="-110" charset="-128"/>
                  <a:sym typeface="Arial" pitchFamily="-110" charset="0"/>
                </a:rPr>
                <a:t>Pro-proliferative</a:t>
              </a:r>
              <a:endParaRPr kumimoji="0" lang="en-US" sz="105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cxnSp>
          <p:nvCxnSpPr>
            <p:cNvPr id="282" name="Straight Arrow Connector 281">
              <a:extLst>
                <a:ext uri="{FF2B5EF4-FFF2-40B4-BE49-F238E27FC236}">
                  <a16:creationId xmlns:a16="http://schemas.microsoft.com/office/drawing/2014/main" id="{139D0DA6-5DA0-4598-8EAD-9BDA0BCD8115}"/>
                </a:ext>
              </a:extLst>
            </p:cNvPr>
            <p:cNvCxnSpPr>
              <a:cxnSpLocks/>
            </p:cNvCxnSpPr>
            <p:nvPr/>
          </p:nvCxnSpPr>
          <p:spPr>
            <a:xfrm flipV="1">
              <a:off x="10804898" y="4321267"/>
              <a:ext cx="0" cy="377867"/>
            </a:xfrm>
            <a:prstGeom prst="straightConnector1">
              <a:avLst/>
            </a:prstGeom>
            <a:ln w="41275" cap="rnd">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83" name="Straight Arrow Connector 282">
              <a:extLst>
                <a:ext uri="{FF2B5EF4-FFF2-40B4-BE49-F238E27FC236}">
                  <a16:creationId xmlns:a16="http://schemas.microsoft.com/office/drawing/2014/main" id="{3EDC9DB1-DC31-42F9-834A-24640E4CAEC9}"/>
                </a:ext>
              </a:extLst>
            </p:cNvPr>
            <p:cNvCxnSpPr/>
            <p:nvPr/>
          </p:nvCxnSpPr>
          <p:spPr>
            <a:xfrm>
              <a:off x="7410421" y="4345170"/>
              <a:ext cx="0" cy="377867"/>
            </a:xfrm>
            <a:prstGeom prst="straightConnector1">
              <a:avLst/>
            </a:prstGeom>
            <a:ln w="41275" cap="rnd">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84" name="Rectangle: Rounded Corners 283">
              <a:extLst>
                <a:ext uri="{FF2B5EF4-FFF2-40B4-BE49-F238E27FC236}">
                  <a16:creationId xmlns:a16="http://schemas.microsoft.com/office/drawing/2014/main" id="{986E558B-3F87-4C3B-AF7A-950EEABDEBF2}"/>
                </a:ext>
              </a:extLst>
            </p:cNvPr>
            <p:cNvSpPr/>
            <p:nvPr/>
          </p:nvSpPr>
          <p:spPr bwMode="auto">
            <a:xfrm>
              <a:off x="9510339" y="2942183"/>
              <a:ext cx="194455" cy="194455"/>
            </a:xfrm>
            <a:prstGeom prst="roundRect">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85" name="Rectangle: Rounded Corners 284">
              <a:extLst>
                <a:ext uri="{FF2B5EF4-FFF2-40B4-BE49-F238E27FC236}">
                  <a16:creationId xmlns:a16="http://schemas.microsoft.com/office/drawing/2014/main" id="{B5A7EDEA-5332-41EF-B25F-D88FEF114976}"/>
                </a:ext>
              </a:extLst>
            </p:cNvPr>
            <p:cNvSpPr/>
            <p:nvPr/>
          </p:nvSpPr>
          <p:spPr bwMode="auto">
            <a:xfrm>
              <a:off x="10595319" y="2881519"/>
              <a:ext cx="194455" cy="194455"/>
            </a:xfrm>
            <a:prstGeom prst="roundRect">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grpSp>
          <p:nvGrpSpPr>
            <p:cNvPr id="286" name="Group 285">
              <a:extLst>
                <a:ext uri="{FF2B5EF4-FFF2-40B4-BE49-F238E27FC236}">
                  <a16:creationId xmlns:a16="http://schemas.microsoft.com/office/drawing/2014/main" id="{7EC84E72-86BE-43CD-8017-0C1AFA3B33C9}"/>
                </a:ext>
              </a:extLst>
            </p:cNvPr>
            <p:cNvGrpSpPr/>
            <p:nvPr/>
          </p:nvGrpSpPr>
          <p:grpSpPr>
            <a:xfrm>
              <a:off x="8089027" y="3469444"/>
              <a:ext cx="263861" cy="263861"/>
              <a:chOff x="7425809" y="5590903"/>
              <a:chExt cx="263861" cy="263861"/>
            </a:xfrm>
          </p:grpSpPr>
          <p:sp>
            <p:nvSpPr>
              <p:cNvPr id="287" name="Oval 286">
                <a:extLst>
                  <a:ext uri="{FF2B5EF4-FFF2-40B4-BE49-F238E27FC236}">
                    <a16:creationId xmlns:a16="http://schemas.microsoft.com/office/drawing/2014/main" id="{E27545A3-1057-4CB0-AF5E-9E09B1C8D47C}"/>
                  </a:ext>
                </a:extLst>
              </p:cNvPr>
              <p:cNvSpPr/>
              <p:nvPr/>
            </p:nvSpPr>
            <p:spPr bwMode="auto">
              <a:xfrm>
                <a:off x="7425809" y="5590903"/>
                <a:ext cx="263861" cy="263861"/>
              </a:xfrm>
              <a:prstGeom prst="ellipse">
                <a:avLst/>
              </a:prstGeom>
              <a:solidFill>
                <a:schemeClr val="bg1">
                  <a:alpha val="50000"/>
                </a:schemeClr>
              </a:solidFill>
              <a:ln w="254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pic>
            <p:nvPicPr>
              <p:cNvPr id="288" name="Graphic 287" descr="Close with solid fill">
                <a:extLst>
                  <a:ext uri="{FF2B5EF4-FFF2-40B4-BE49-F238E27FC236}">
                    <a16:creationId xmlns:a16="http://schemas.microsoft.com/office/drawing/2014/main" id="{D70B0607-5B8D-4A3D-9109-2F90123016F5}"/>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449739" y="5614833"/>
                <a:ext cx="216000" cy="216000"/>
              </a:xfrm>
              <a:prstGeom prst="rect">
                <a:avLst/>
              </a:prstGeom>
            </p:spPr>
          </p:pic>
        </p:grpSp>
        <p:sp>
          <p:nvSpPr>
            <p:cNvPr id="289" name="TextBox 288">
              <a:extLst>
                <a:ext uri="{FF2B5EF4-FFF2-40B4-BE49-F238E27FC236}">
                  <a16:creationId xmlns:a16="http://schemas.microsoft.com/office/drawing/2014/main" id="{3922C420-7E42-4925-9718-9717234EF9DD}"/>
                </a:ext>
              </a:extLst>
            </p:cNvPr>
            <p:cNvSpPr txBox="1"/>
            <p:nvPr/>
          </p:nvSpPr>
          <p:spPr>
            <a:xfrm>
              <a:off x="10381916" y="3276189"/>
              <a:ext cx="97179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err="1">
                  <a:ln>
                    <a:noFill/>
                  </a:ln>
                  <a:solidFill>
                    <a:srgbClr val="000000"/>
                  </a:solidFill>
                  <a:effectLst/>
                  <a:uLnTx/>
                  <a:uFillTx/>
                  <a:latin typeface="Verdana" panose="020B0604030504040204" pitchFamily="34" charset="0"/>
                  <a:ea typeface="Verdana" panose="020B0604030504040204" pitchFamily="34" charset="0"/>
                  <a:cs typeface="Arial" pitchFamily="34" charset="0"/>
                </a:rPr>
                <a:t>ActRII</a:t>
              </a:r>
              <a:r>
                <a:rPr kumimoji="0" lang="en-GB" sz="10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itchFamily="34" charset="0"/>
                </a:rPr>
                <a:t>A/B</a:t>
              </a:r>
            </a:p>
          </p:txBody>
        </p:sp>
      </p:grpSp>
      <p:sp>
        <p:nvSpPr>
          <p:cNvPr id="290" name="TextBox 289">
            <a:extLst>
              <a:ext uri="{FF2B5EF4-FFF2-40B4-BE49-F238E27FC236}">
                <a16:creationId xmlns:a16="http://schemas.microsoft.com/office/drawing/2014/main" id="{4281BCC7-075E-B349-A79D-80A934CA25A1}"/>
              </a:ext>
            </a:extLst>
          </p:cNvPr>
          <p:cNvSpPr txBox="1"/>
          <p:nvPr/>
        </p:nvSpPr>
        <p:spPr>
          <a:xfrm>
            <a:off x="0" y="6462317"/>
            <a:ext cx="1219200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F3F3F"/>
                </a:solidFill>
                <a:effectLst/>
                <a:uLnTx/>
                <a:uFillTx/>
                <a:latin typeface="Arial" panose="020B0604020202020204"/>
                <a:ea typeface="+mn-ea"/>
                <a:cs typeface="+mn-cs"/>
              </a:rPr>
              <a:t>1. Humbert M, et al</a:t>
            </a:r>
            <a:r>
              <a:rPr kumimoji="0" lang="en-GB" sz="1000" b="0" i="1" u="none" strike="noStrike" kern="1200" cap="none" spc="0" normalizeH="0" baseline="0" noProof="0" dirty="0">
                <a:ln>
                  <a:noFill/>
                </a:ln>
                <a:solidFill>
                  <a:srgbClr val="3F3F3F"/>
                </a:solidFill>
                <a:effectLst/>
                <a:uLnTx/>
                <a:uFillTx/>
                <a:latin typeface="Arial" panose="020B0604020202020204"/>
                <a:ea typeface="+mn-ea"/>
                <a:cs typeface="+mn-cs"/>
              </a:rPr>
              <a:t>. N </a:t>
            </a:r>
            <a:r>
              <a:rPr kumimoji="0" lang="en-GB" sz="1000" b="0" i="1" u="none" strike="noStrike" kern="1200" cap="none" spc="0" normalizeH="0" baseline="0" noProof="0" dirty="0" err="1">
                <a:ln>
                  <a:noFill/>
                </a:ln>
                <a:solidFill>
                  <a:srgbClr val="3F3F3F"/>
                </a:solidFill>
                <a:effectLst/>
                <a:uLnTx/>
                <a:uFillTx/>
                <a:latin typeface="Arial" panose="020B0604020202020204"/>
                <a:ea typeface="+mn-ea"/>
                <a:cs typeface="+mn-cs"/>
              </a:rPr>
              <a:t>Engl</a:t>
            </a:r>
            <a:r>
              <a:rPr kumimoji="0" lang="en-GB" sz="1000" b="0" i="1" u="none" strike="noStrike" kern="1200" cap="none" spc="0" normalizeH="0" baseline="0" noProof="0" dirty="0">
                <a:ln>
                  <a:noFill/>
                </a:ln>
                <a:solidFill>
                  <a:srgbClr val="3F3F3F"/>
                </a:solidFill>
                <a:effectLst/>
                <a:uLnTx/>
                <a:uFillTx/>
                <a:latin typeface="Arial" panose="020B0604020202020204"/>
                <a:ea typeface="+mn-ea"/>
                <a:cs typeface="+mn-cs"/>
              </a:rPr>
              <a:t> J Med. </a:t>
            </a:r>
            <a:r>
              <a:rPr kumimoji="0" lang="en-GB" sz="1000" b="0" i="0" u="none" strike="noStrike" kern="1200" cap="none" spc="0" normalizeH="0" baseline="0" noProof="0" dirty="0">
                <a:ln>
                  <a:noFill/>
                </a:ln>
                <a:solidFill>
                  <a:srgbClr val="3F3F3F"/>
                </a:solidFill>
                <a:effectLst/>
                <a:uLnTx/>
                <a:uFillTx/>
                <a:latin typeface="Arial" panose="020B0604020202020204"/>
                <a:ea typeface="+mn-ea"/>
                <a:cs typeface="+mn-cs"/>
              </a:rPr>
              <a:t>2021;384:1204-15; </a:t>
            </a:r>
            <a:r>
              <a:rPr kumimoji="0" lang="en-GB" sz="1000" b="0" i="0" u="none" strike="noStrike" kern="1200" cap="none" spc="0" normalizeH="0" baseline="0" noProof="0" dirty="0" err="1">
                <a:ln>
                  <a:noFill/>
                </a:ln>
                <a:solidFill>
                  <a:srgbClr val="3F3F3F"/>
                </a:solidFill>
                <a:effectLst/>
                <a:uLnTx/>
                <a:uFillTx/>
                <a:latin typeface="Arial" panose="020B0604020202020204"/>
                <a:ea typeface="+mn-ea"/>
                <a:cs typeface="+mn-cs"/>
              </a:rPr>
              <a:t>Guignabert</a:t>
            </a:r>
            <a:r>
              <a:rPr kumimoji="0" lang="en-GB" sz="1000" b="0" i="0" u="none" strike="noStrike" kern="1200" cap="none" spc="0" normalizeH="0" baseline="0" noProof="0" dirty="0">
                <a:ln>
                  <a:noFill/>
                </a:ln>
                <a:solidFill>
                  <a:srgbClr val="3F3F3F"/>
                </a:solidFill>
                <a:effectLst/>
                <a:uLnTx/>
                <a:uFillTx/>
                <a:latin typeface="Arial" panose="020B0604020202020204"/>
                <a:ea typeface="+mn-ea"/>
                <a:cs typeface="+mn-cs"/>
              </a:rPr>
              <a:t> C, et al. </a:t>
            </a:r>
            <a:r>
              <a:rPr kumimoji="0" lang="en-GB" sz="1000" b="0" i="1" u="none" strike="noStrike" kern="1200" cap="none" spc="0" normalizeH="0" baseline="0" noProof="0" dirty="0" err="1">
                <a:ln>
                  <a:noFill/>
                </a:ln>
                <a:solidFill>
                  <a:srgbClr val="3F3F3F"/>
                </a:solidFill>
                <a:effectLst/>
                <a:uLnTx/>
                <a:uFillTx/>
                <a:latin typeface="Arial" panose="020B0604020202020204"/>
                <a:ea typeface="+mn-ea"/>
                <a:cs typeface="+mn-cs"/>
              </a:rPr>
              <a:t>Eur</a:t>
            </a:r>
            <a:r>
              <a:rPr kumimoji="0" lang="en-GB" sz="1000" b="0" i="1" u="none" strike="noStrike" kern="1200" cap="none" spc="0" normalizeH="0" baseline="0" noProof="0" dirty="0">
                <a:ln>
                  <a:noFill/>
                </a:ln>
                <a:solidFill>
                  <a:srgbClr val="3F3F3F"/>
                </a:solidFill>
                <a:effectLst/>
                <a:uLnTx/>
                <a:uFillTx/>
                <a:latin typeface="Arial" panose="020B0604020202020204"/>
                <a:ea typeface="+mn-ea"/>
                <a:cs typeface="+mn-cs"/>
              </a:rPr>
              <a:t> Respir J. </a:t>
            </a:r>
            <a:r>
              <a:rPr kumimoji="0" lang="en-GB" sz="1000" b="0" i="0" u="none" strike="noStrike" kern="1200" cap="none" spc="0" normalizeH="0" baseline="0" noProof="0" dirty="0">
                <a:ln>
                  <a:noFill/>
                </a:ln>
                <a:solidFill>
                  <a:srgbClr val="3F3F3F"/>
                </a:solidFill>
                <a:effectLst/>
                <a:uLnTx/>
                <a:uFillTx/>
                <a:latin typeface="Arial" panose="020B0604020202020204"/>
                <a:ea typeface="+mn-ea"/>
                <a:cs typeface="+mn-cs"/>
              </a:rPr>
              <a:t>2021;57:2002341; 3. Tamura Y. </a:t>
            </a:r>
            <a:r>
              <a:rPr kumimoji="0" lang="en-GB" sz="1000" b="0" i="1" u="none" strike="noStrike" kern="1200" cap="none" spc="0" normalizeH="0" baseline="0" noProof="0" dirty="0">
                <a:ln>
                  <a:noFill/>
                </a:ln>
                <a:solidFill>
                  <a:srgbClr val="3F3F3F"/>
                </a:solidFill>
                <a:effectLst/>
                <a:uLnTx/>
                <a:uFillTx/>
                <a:latin typeface="Arial" panose="020B0604020202020204"/>
                <a:ea typeface="+mn-ea"/>
                <a:cs typeface="+mn-cs"/>
              </a:rPr>
              <a:t>J Clin Invest </a:t>
            </a:r>
            <a:r>
              <a:rPr kumimoji="0" lang="en-GB" sz="1000" b="0" i="0" u="none" strike="noStrike" kern="1200" cap="none" spc="0" normalizeH="0" baseline="0" noProof="0" dirty="0">
                <a:ln>
                  <a:noFill/>
                </a:ln>
                <a:solidFill>
                  <a:srgbClr val="3F3F3F"/>
                </a:solidFill>
                <a:effectLst/>
                <a:uLnTx/>
                <a:uFillTx/>
                <a:latin typeface="Arial" panose="020B0604020202020204"/>
                <a:ea typeface="+mn-ea"/>
                <a:cs typeface="+mn-cs"/>
              </a:rPr>
              <a:t>2018;128:1956-70; 4. </a:t>
            </a:r>
            <a:r>
              <a:rPr kumimoji="0" lang="it-IT" sz="1000" b="0" i="0" u="none" strike="noStrike" kern="1200" cap="none" spc="0" normalizeH="0" baseline="0" noProof="0" dirty="0" err="1">
                <a:ln>
                  <a:noFill/>
                </a:ln>
                <a:solidFill>
                  <a:srgbClr val="3F3F3F"/>
                </a:solidFill>
                <a:effectLst/>
                <a:uLnTx/>
                <a:uFillTx/>
                <a:latin typeface="Arial" panose="020B0604020202020204"/>
                <a:ea typeface="+mn-ea"/>
                <a:cs typeface="+mn-cs"/>
              </a:rPr>
              <a:t>Dunmore</a:t>
            </a:r>
            <a:r>
              <a:rPr kumimoji="0" lang="it-IT" sz="1000" b="0" i="0" u="none" strike="noStrike" kern="1200" cap="none" spc="0" normalizeH="0" baseline="0" noProof="0" dirty="0">
                <a:ln>
                  <a:noFill/>
                </a:ln>
                <a:solidFill>
                  <a:srgbClr val="3F3F3F"/>
                </a:solidFill>
                <a:effectLst/>
                <a:uLnTx/>
                <a:uFillTx/>
                <a:latin typeface="Arial" panose="020B0604020202020204"/>
                <a:ea typeface="+mn-ea"/>
                <a:cs typeface="+mn-cs"/>
              </a:rPr>
              <a:t> J, et al. </a:t>
            </a:r>
            <a:r>
              <a:rPr kumimoji="0" lang="it-IT" sz="1000" b="0" i="1" u="none" strike="noStrike" kern="1200" cap="none" spc="0" normalizeH="0" baseline="0" noProof="0" dirty="0">
                <a:ln>
                  <a:noFill/>
                </a:ln>
                <a:solidFill>
                  <a:srgbClr val="3F3F3F"/>
                </a:solidFill>
                <a:effectLst/>
                <a:uLnTx/>
                <a:uFillTx/>
                <a:latin typeface="Arial" panose="020B0604020202020204"/>
                <a:ea typeface="+mn-ea"/>
                <a:cs typeface="+mn-cs"/>
              </a:rPr>
              <a:t>Cardiovasc Res.</a:t>
            </a:r>
            <a:r>
              <a:rPr kumimoji="0" lang="it-IT" sz="1000" b="0" i="0" u="none" strike="noStrike" kern="1200" cap="none" spc="0" normalizeH="0" baseline="0" noProof="0" dirty="0">
                <a:ln>
                  <a:noFill/>
                </a:ln>
                <a:solidFill>
                  <a:srgbClr val="3F3F3F"/>
                </a:solidFill>
                <a:effectLst/>
                <a:uLnTx/>
                <a:uFillTx/>
                <a:latin typeface="Arial" panose="020B0604020202020204"/>
                <a:ea typeface="+mn-ea"/>
                <a:cs typeface="+mn-cs"/>
              </a:rPr>
              <a:t> 2021;117(11):2309-25.</a:t>
            </a:r>
          </a:p>
        </p:txBody>
      </p:sp>
    </p:spTree>
    <p:extLst>
      <p:ext uri="{BB962C8B-B14F-4D97-AF65-F5344CB8AC3E}">
        <p14:creationId xmlns:p14="http://schemas.microsoft.com/office/powerpoint/2010/main" val="27304929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97" name="Group 296">
            <a:extLst>
              <a:ext uri="{FF2B5EF4-FFF2-40B4-BE49-F238E27FC236}">
                <a16:creationId xmlns:a16="http://schemas.microsoft.com/office/drawing/2014/main" id="{99209D39-0F8B-B340-A04E-D42E1A067694}"/>
              </a:ext>
            </a:extLst>
          </p:cNvPr>
          <p:cNvGrpSpPr>
            <a:grpSpLocks noChangeAspect="1"/>
          </p:cNvGrpSpPr>
          <p:nvPr/>
        </p:nvGrpSpPr>
        <p:grpSpPr>
          <a:xfrm>
            <a:off x="6589222" y="1306293"/>
            <a:ext cx="5235062" cy="4034267"/>
            <a:chOff x="6779979" y="1815927"/>
            <a:chExt cx="4573735" cy="3524633"/>
          </a:xfrm>
        </p:grpSpPr>
        <p:sp>
          <p:nvSpPr>
            <p:cNvPr id="6" name="Rectangle 5">
              <a:extLst>
                <a:ext uri="{FF2B5EF4-FFF2-40B4-BE49-F238E27FC236}">
                  <a16:creationId xmlns:a16="http://schemas.microsoft.com/office/drawing/2014/main" id="{D9925DE5-606E-4577-A0EC-50DF20974183}"/>
                </a:ext>
              </a:extLst>
            </p:cNvPr>
            <p:cNvSpPr/>
            <p:nvPr/>
          </p:nvSpPr>
          <p:spPr>
            <a:xfrm>
              <a:off x="6798167" y="1829944"/>
              <a:ext cx="4472518" cy="3510616"/>
            </a:xfrm>
            <a:prstGeom prst="rect">
              <a:avLst/>
            </a:prstGeom>
            <a:solidFill>
              <a:schemeClr val="bg1"/>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7" name="Rectangle: Rounded Corners 6">
              <a:extLst>
                <a:ext uri="{FF2B5EF4-FFF2-40B4-BE49-F238E27FC236}">
                  <a16:creationId xmlns:a16="http://schemas.microsoft.com/office/drawing/2014/main" id="{2B3E4744-0332-4BAA-9C6F-00E04C2948C7}"/>
                </a:ext>
              </a:extLst>
            </p:cNvPr>
            <p:cNvSpPr/>
            <p:nvPr/>
          </p:nvSpPr>
          <p:spPr bwMode="auto">
            <a:xfrm rot="20327152">
              <a:off x="8273710" y="2880162"/>
              <a:ext cx="194455" cy="194455"/>
            </a:xfrm>
            <a:prstGeom prst="roundRect">
              <a:avLst/>
            </a:prstGeom>
            <a:solidFill>
              <a:schemeClr val="accent4"/>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grpSp>
          <p:nvGrpSpPr>
            <p:cNvPr id="8" name="Group 7">
              <a:extLst>
                <a:ext uri="{FF2B5EF4-FFF2-40B4-BE49-F238E27FC236}">
                  <a16:creationId xmlns:a16="http://schemas.microsoft.com/office/drawing/2014/main" id="{78F5EE2B-B351-48E7-8273-51785180DBA9}"/>
                </a:ext>
              </a:extLst>
            </p:cNvPr>
            <p:cNvGrpSpPr/>
            <p:nvPr/>
          </p:nvGrpSpPr>
          <p:grpSpPr>
            <a:xfrm>
              <a:off x="6795203" y="3517352"/>
              <a:ext cx="4475556" cy="268930"/>
              <a:chOff x="206304" y="1563886"/>
              <a:chExt cx="2583491" cy="417596"/>
            </a:xfrm>
          </p:grpSpPr>
          <p:grpSp>
            <p:nvGrpSpPr>
              <p:cNvPr id="9" name="Group 8">
                <a:extLst>
                  <a:ext uri="{FF2B5EF4-FFF2-40B4-BE49-F238E27FC236}">
                    <a16:creationId xmlns:a16="http://schemas.microsoft.com/office/drawing/2014/main" id="{F7D345D1-E272-4BAB-B364-5C85D92EA219}"/>
                  </a:ext>
                </a:extLst>
              </p:cNvPr>
              <p:cNvGrpSpPr/>
              <p:nvPr/>
            </p:nvGrpSpPr>
            <p:grpSpPr>
              <a:xfrm>
                <a:off x="206304" y="1563886"/>
                <a:ext cx="1761030" cy="417596"/>
                <a:chOff x="1951284" y="1702133"/>
                <a:chExt cx="1761030" cy="417596"/>
              </a:xfrm>
            </p:grpSpPr>
            <p:grpSp>
              <p:nvGrpSpPr>
                <p:cNvPr id="88" name="Group 87">
                  <a:extLst>
                    <a:ext uri="{FF2B5EF4-FFF2-40B4-BE49-F238E27FC236}">
                      <a16:creationId xmlns:a16="http://schemas.microsoft.com/office/drawing/2014/main" id="{6B971551-0C25-475D-9A6F-BEACCB9A0200}"/>
                    </a:ext>
                  </a:extLst>
                </p:cNvPr>
                <p:cNvGrpSpPr/>
                <p:nvPr/>
              </p:nvGrpSpPr>
              <p:grpSpPr>
                <a:xfrm>
                  <a:off x="1951284" y="1702133"/>
                  <a:ext cx="1760976" cy="200517"/>
                  <a:chOff x="2731292" y="3253268"/>
                  <a:chExt cx="2704814" cy="291856"/>
                </a:xfrm>
                <a:solidFill>
                  <a:schemeClr val="bg1"/>
                </a:solidFill>
              </p:grpSpPr>
              <p:sp>
                <p:nvSpPr>
                  <p:cNvPr id="162" name="Freeform 247">
                    <a:extLst>
                      <a:ext uri="{FF2B5EF4-FFF2-40B4-BE49-F238E27FC236}">
                        <a16:creationId xmlns:a16="http://schemas.microsoft.com/office/drawing/2014/main" id="{C9124C52-10AB-42D3-8F8B-2BD66F6D0F9E}"/>
                      </a:ext>
                    </a:extLst>
                  </p:cNvPr>
                  <p:cNvSpPr/>
                  <p:nvPr/>
                </p:nvSpPr>
                <p:spPr>
                  <a:xfrm>
                    <a:off x="2839294" y="3326342"/>
                    <a:ext cx="45720"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3" name="Oval 162">
                    <a:extLst>
                      <a:ext uri="{FF2B5EF4-FFF2-40B4-BE49-F238E27FC236}">
                        <a16:creationId xmlns:a16="http://schemas.microsoft.com/office/drawing/2014/main" id="{F707944A-05B6-4EE3-AF7A-EAA9D2C6168D}"/>
                      </a:ext>
                    </a:extLst>
                  </p:cNvPr>
                  <p:cNvSpPr/>
                  <p:nvPr/>
                </p:nvSpPr>
                <p:spPr>
                  <a:xfrm>
                    <a:off x="2839294"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4" name="Freeform 249">
                    <a:extLst>
                      <a:ext uri="{FF2B5EF4-FFF2-40B4-BE49-F238E27FC236}">
                        <a16:creationId xmlns:a16="http://schemas.microsoft.com/office/drawing/2014/main" id="{0E57986C-0384-41FE-A88F-7AD40DBF0AE1}"/>
                      </a:ext>
                    </a:extLst>
                  </p:cNvPr>
                  <p:cNvSpPr/>
                  <p:nvPr/>
                </p:nvSpPr>
                <p:spPr>
                  <a:xfrm>
                    <a:off x="2901036" y="3365286"/>
                    <a:ext cx="46259"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5" name="Oval 164">
                    <a:extLst>
                      <a:ext uri="{FF2B5EF4-FFF2-40B4-BE49-F238E27FC236}">
                        <a16:creationId xmlns:a16="http://schemas.microsoft.com/office/drawing/2014/main" id="{7D4C5B29-AD1E-40FF-96F9-76538EED1FAA}"/>
                      </a:ext>
                    </a:extLst>
                  </p:cNvPr>
                  <p:cNvSpPr/>
                  <p:nvPr/>
                </p:nvSpPr>
                <p:spPr>
                  <a:xfrm>
                    <a:off x="2954600"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6" name="Oval 165">
                    <a:extLst>
                      <a:ext uri="{FF2B5EF4-FFF2-40B4-BE49-F238E27FC236}">
                        <a16:creationId xmlns:a16="http://schemas.microsoft.com/office/drawing/2014/main" id="{4EAD25D8-B905-4F26-967C-28A95ADA75BE}"/>
                      </a:ext>
                    </a:extLst>
                  </p:cNvPr>
                  <p:cNvSpPr/>
                  <p:nvPr/>
                </p:nvSpPr>
                <p:spPr>
                  <a:xfrm>
                    <a:off x="2731292"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7" name="Oval 166">
                    <a:extLst>
                      <a:ext uri="{FF2B5EF4-FFF2-40B4-BE49-F238E27FC236}">
                        <a16:creationId xmlns:a16="http://schemas.microsoft.com/office/drawing/2014/main" id="{16DE4E24-5836-4E5B-843D-F9538222DCD0}"/>
                      </a:ext>
                    </a:extLst>
                  </p:cNvPr>
                  <p:cNvSpPr/>
                  <p:nvPr/>
                </p:nvSpPr>
                <p:spPr>
                  <a:xfrm>
                    <a:off x="3066743"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8" name="Oval 167">
                    <a:extLst>
                      <a:ext uri="{FF2B5EF4-FFF2-40B4-BE49-F238E27FC236}">
                        <a16:creationId xmlns:a16="http://schemas.microsoft.com/office/drawing/2014/main" id="{E18B0D2E-8063-480F-8775-028552EBEED0}"/>
                      </a:ext>
                    </a:extLst>
                  </p:cNvPr>
                  <p:cNvSpPr/>
                  <p:nvPr/>
                </p:nvSpPr>
                <p:spPr>
                  <a:xfrm>
                    <a:off x="3182408"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9" name="Oval 168">
                    <a:extLst>
                      <a:ext uri="{FF2B5EF4-FFF2-40B4-BE49-F238E27FC236}">
                        <a16:creationId xmlns:a16="http://schemas.microsoft.com/office/drawing/2014/main" id="{D0CF8007-E554-4CCD-AC36-4853C25A7719}"/>
                      </a:ext>
                    </a:extLst>
                  </p:cNvPr>
                  <p:cNvSpPr/>
                  <p:nvPr/>
                </p:nvSpPr>
                <p:spPr>
                  <a:xfrm>
                    <a:off x="3290408"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0" name="Freeform 255">
                    <a:extLst>
                      <a:ext uri="{FF2B5EF4-FFF2-40B4-BE49-F238E27FC236}">
                        <a16:creationId xmlns:a16="http://schemas.microsoft.com/office/drawing/2014/main" id="{9569C13A-C770-488C-A345-4AE9DFC3B106}"/>
                      </a:ext>
                    </a:extLst>
                  </p:cNvPr>
                  <p:cNvSpPr/>
                  <p:nvPr/>
                </p:nvSpPr>
                <p:spPr>
                  <a:xfrm>
                    <a:off x="2739571" y="3342341"/>
                    <a:ext cx="45720"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1" name="Freeform 256">
                    <a:extLst>
                      <a:ext uri="{FF2B5EF4-FFF2-40B4-BE49-F238E27FC236}">
                        <a16:creationId xmlns:a16="http://schemas.microsoft.com/office/drawing/2014/main" id="{098075FE-8AC4-4EEF-A718-14B73C1429AF}"/>
                      </a:ext>
                    </a:extLst>
                  </p:cNvPr>
                  <p:cNvSpPr/>
                  <p:nvPr/>
                </p:nvSpPr>
                <p:spPr>
                  <a:xfrm>
                    <a:off x="2798029"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2" name="Freeform 257">
                    <a:extLst>
                      <a:ext uri="{FF2B5EF4-FFF2-40B4-BE49-F238E27FC236}">
                        <a16:creationId xmlns:a16="http://schemas.microsoft.com/office/drawing/2014/main" id="{A588EC8E-A199-43A0-AB9F-FE89C4AC2B91}"/>
                      </a:ext>
                    </a:extLst>
                  </p:cNvPr>
                  <p:cNvSpPr/>
                  <p:nvPr/>
                </p:nvSpPr>
                <p:spPr>
                  <a:xfrm>
                    <a:off x="2986743"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3" name="Freeform 258">
                    <a:extLst>
                      <a:ext uri="{FF2B5EF4-FFF2-40B4-BE49-F238E27FC236}">
                        <a16:creationId xmlns:a16="http://schemas.microsoft.com/office/drawing/2014/main" id="{C1C6A81A-1BA9-4B05-9943-5C31AFB71D7A}"/>
                      </a:ext>
                    </a:extLst>
                  </p:cNvPr>
                  <p:cNvSpPr/>
                  <p:nvPr/>
                </p:nvSpPr>
                <p:spPr>
                  <a:xfrm>
                    <a:off x="3016883" y="3360336"/>
                    <a:ext cx="4572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4" name="Freeform 259">
                    <a:extLst>
                      <a:ext uri="{FF2B5EF4-FFF2-40B4-BE49-F238E27FC236}">
                        <a16:creationId xmlns:a16="http://schemas.microsoft.com/office/drawing/2014/main" id="{96C95CDD-2821-4BE8-8AF4-E5C97BF8274D}"/>
                      </a:ext>
                    </a:extLst>
                  </p:cNvPr>
                  <p:cNvSpPr/>
                  <p:nvPr/>
                </p:nvSpPr>
                <p:spPr>
                  <a:xfrm>
                    <a:off x="3097738" y="3357001"/>
                    <a:ext cx="31772"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5" name="Freeform 260">
                    <a:extLst>
                      <a:ext uri="{FF2B5EF4-FFF2-40B4-BE49-F238E27FC236}">
                        <a16:creationId xmlns:a16="http://schemas.microsoft.com/office/drawing/2014/main" id="{1C52994C-CC4B-4634-B779-65ABAF88DED2}"/>
                      </a:ext>
                    </a:extLst>
                  </p:cNvPr>
                  <p:cNvSpPr/>
                  <p:nvPr/>
                </p:nvSpPr>
                <p:spPr>
                  <a:xfrm>
                    <a:off x="3131847" y="3357001"/>
                    <a:ext cx="40004" cy="18812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6" name="Freeform 261">
                    <a:extLst>
                      <a:ext uri="{FF2B5EF4-FFF2-40B4-BE49-F238E27FC236}">
                        <a16:creationId xmlns:a16="http://schemas.microsoft.com/office/drawing/2014/main" id="{F7B680C2-D23C-491A-8BE3-A07C2DB27B29}"/>
                      </a:ext>
                    </a:extLst>
                  </p:cNvPr>
                  <p:cNvSpPr/>
                  <p:nvPr/>
                </p:nvSpPr>
                <p:spPr>
                  <a:xfrm>
                    <a:off x="3215364"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7" name="Freeform 262">
                    <a:extLst>
                      <a:ext uri="{FF2B5EF4-FFF2-40B4-BE49-F238E27FC236}">
                        <a16:creationId xmlns:a16="http://schemas.microsoft.com/office/drawing/2014/main" id="{6C7C25A9-4A54-4C3A-8EB9-D0EB76C7266C}"/>
                      </a:ext>
                    </a:extLst>
                  </p:cNvPr>
                  <p:cNvSpPr/>
                  <p:nvPr/>
                </p:nvSpPr>
                <p:spPr>
                  <a:xfrm>
                    <a:off x="3249771" y="3360334"/>
                    <a:ext cx="3048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8" name="Freeform 263">
                    <a:extLst>
                      <a:ext uri="{FF2B5EF4-FFF2-40B4-BE49-F238E27FC236}">
                        <a16:creationId xmlns:a16="http://schemas.microsoft.com/office/drawing/2014/main" id="{DD2CB132-0CC8-4418-A0B9-B22F9CBF3023}"/>
                      </a:ext>
                    </a:extLst>
                  </p:cNvPr>
                  <p:cNvSpPr/>
                  <p:nvPr/>
                </p:nvSpPr>
                <p:spPr>
                  <a:xfrm>
                    <a:off x="3323779" y="3354224"/>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9" name="Freeform 264">
                    <a:extLst>
                      <a:ext uri="{FF2B5EF4-FFF2-40B4-BE49-F238E27FC236}">
                        <a16:creationId xmlns:a16="http://schemas.microsoft.com/office/drawing/2014/main" id="{013295CB-6BED-447B-A56A-C9B6F0CEDF75}"/>
                      </a:ext>
                    </a:extLst>
                  </p:cNvPr>
                  <p:cNvSpPr/>
                  <p:nvPr/>
                </p:nvSpPr>
                <p:spPr>
                  <a:xfrm>
                    <a:off x="3352692" y="3365286"/>
                    <a:ext cx="45720"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0" name="Freeform 265">
                    <a:extLst>
                      <a:ext uri="{FF2B5EF4-FFF2-40B4-BE49-F238E27FC236}">
                        <a16:creationId xmlns:a16="http://schemas.microsoft.com/office/drawing/2014/main" id="{0AC5A19D-CF4C-4F36-8FD3-2BBC729C47D7}"/>
                      </a:ext>
                    </a:extLst>
                  </p:cNvPr>
                  <p:cNvSpPr/>
                  <p:nvPr/>
                </p:nvSpPr>
                <p:spPr>
                  <a:xfrm>
                    <a:off x="3524356" y="3326342"/>
                    <a:ext cx="45720"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1" name="Oval 180">
                    <a:extLst>
                      <a:ext uri="{FF2B5EF4-FFF2-40B4-BE49-F238E27FC236}">
                        <a16:creationId xmlns:a16="http://schemas.microsoft.com/office/drawing/2014/main" id="{192F7F80-2A2A-4CC7-896B-6873857B5C7C}"/>
                      </a:ext>
                    </a:extLst>
                  </p:cNvPr>
                  <p:cNvSpPr/>
                  <p:nvPr/>
                </p:nvSpPr>
                <p:spPr>
                  <a:xfrm>
                    <a:off x="3524356"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2" name="Freeform 267">
                    <a:extLst>
                      <a:ext uri="{FF2B5EF4-FFF2-40B4-BE49-F238E27FC236}">
                        <a16:creationId xmlns:a16="http://schemas.microsoft.com/office/drawing/2014/main" id="{0256FC1B-027A-436B-94CC-7C9860BDBC05}"/>
                      </a:ext>
                    </a:extLst>
                  </p:cNvPr>
                  <p:cNvSpPr/>
                  <p:nvPr/>
                </p:nvSpPr>
                <p:spPr>
                  <a:xfrm>
                    <a:off x="3586096" y="3365286"/>
                    <a:ext cx="46259"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3" name="Oval 182">
                    <a:extLst>
                      <a:ext uri="{FF2B5EF4-FFF2-40B4-BE49-F238E27FC236}">
                        <a16:creationId xmlns:a16="http://schemas.microsoft.com/office/drawing/2014/main" id="{30CA0254-BA02-4F5A-A5A1-115D0B34C788}"/>
                      </a:ext>
                    </a:extLst>
                  </p:cNvPr>
                  <p:cNvSpPr/>
                  <p:nvPr/>
                </p:nvSpPr>
                <p:spPr>
                  <a:xfrm>
                    <a:off x="3639661"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4" name="Oval 183">
                    <a:extLst>
                      <a:ext uri="{FF2B5EF4-FFF2-40B4-BE49-F238E27FC236}">
                        <a16:creationId xmlns:a16="http://schemas.microsoft.com/office/drawing/2014/main" id="{89F69F43-9F98-4600-8A08-F53BEC3EEF85}"/>
                      </a:ext>
                    </a:extLst>
                  </p:cNvPr>
                  <p:cNvSpPr/>
                  <p:nvPr/>
                </p:nvSpPr>
                <p:spPr>
                  <a:xfrm>
                    <a:off x="3416355"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5" name="Oval 184">
                    <a:extLst>
                      <a:ext uri="{FF2B5EF4-FFF2-40B4-BE49-F238E27FC236}">
                        <a16:creationId xmlns:a16="http://schemas.microsoft.com/office/drawing/2014/main" id="{CC6DE926-F647-4E77-BB24-62A8B7C48D94}"/>
                      </a:ext>
                    </a:extLst>
                  </p:cNvPr>
                  <p:cNvSpPr/>
                  <p:nvPr/>
                </p:nvSpPr>
                <p:spPr>
                  <a:xfrm>
                    <a:off x="3751804"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6" name="Oval 185">
                    <a:extLst>
                      <a:ext uri="{FF2B5EF4-FFF2-40B4-BE49-F238E27FC236}">
                        <a16:creationId xmlns:a16="http://schemas.microsoft.com/office/drawing/2014/main" id="{F3B8D8B4-E877-4563-B1A3-A33FA52146DC}"/>
                      </a:ext>
                    </a:extLst>
                  </p:cNvPr>
                  <p:cNvSpPr/>
                  <p:nvPr/>
                </p:nvSpPr>
                <p:spPr>
                  <a:xfrm>
                    <a:off x="3867470"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7" name="Oval 186">
                    <a:extLst>
                      <a:ext uri="{FF2B5EF4-FFF2-40B4-BE49-F238E27FC236}">
                        <a16:creationId xmlns:a16="http://schemas.microsoft.com/office/drawing/2014/main" id="{43F68D04-F53D-4881-97AC-779D6071760F}"/>
                      </a:ext>
                    </a:extLst>
                  </p:cNvPr>
                  <p:cNvSpPr/>
                  <p:nvPr/>
                </p:nvSpPr>
                <p:spPr>
                  <a:xfrm>
                    <a:off x="3975471"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8" name="Freeform 273">
                    <a:extLst>
                      <a:ext uri="{FF2B5EF4-FFF2-40B4-BE49-F238E27FC236}">
                        <a16:creationId xmlns:a16="http://schemas.microsoft.com/office/drawing/2014/main" id="{9E802F6C-7CAE-47D7-B98E-E7B8137747AC}"/>
                      </a:ext>
                    </a:extLst>
                  </p:cNvPr>
                  <p:cNvSpPr/>
                  <p:nvPr/>
                </p:nvSpPr>
                <p:spPr>
                  <a:xfrm>
                    <a:off x="3424635" y="3342341"/>
                    <a:ext cx="45720"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9" name="Freeform 274">
                    <a:extLst>
                      <a:ext uri="{FF2B5EF4-FFF2-40B4-BE49-F238E27FC236}">
                        <a16:creationId xmlns:a16="http://schemas.microsoft.com/office/drawing/2014/main" id="{08B69F85-21AB-4A53-8868-D3C23FB7673C}"/>
                      </a:ext>
                    </a:extLst>
                  </p:cNvPr>
                  <p:cNvSpPr/>
                  <p:nvPr/>
                </p:nvSpPr>
                <p:spPr>
                  <a:xfrm>
                    <a:off x="3483091"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0" name="Freeform 275">
                    <a:extLst>
                      <a:ext uri="{FF2B5EF4-FFF2-40B4-BE49-F238E27FC236}">
                        <a16:creationId xmlns:a16="http://schemas.microsoft.com/office/drawing/2014/main" id="{A84D77B8-50A2-48FB-85A7-EC7AE144E16E}"/>
                      </a:ext>
                    </a:extLst>
                  </p:cNvPr>
                  <p:cNvSpPr/>
                  <p:nvPr/>
                </p:nvSpPr>
                <p:spPr>
                  <a:xfrm>
                    <a:off x="3671802"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1" name="Freeform 276">
                    <a:extLst>
                      <a:ext uri="{FF2B5EF4-FFF2-40B4-BE49-F238E27FC236}">
                        <a16:creationId xmlns:a16="http://schemas.microsoft.com/office/drawing/2014/main" id="{DB6CA7F7-678E-4A77-82FD-DD5CAF28337A}"/>
                      </a:ext>
                    </a:extLst>
                  </p:cNvPr>
                  <p:cNvSpPr/>
                  <p:nvPr/>
                </p:nvSpPr>
                <p:spPr>
                  <a:xfrm>
                    <a:off x="3701944" y="3360336"/>
                    <a:ext cx="4572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2" name="Freeform 277">
                    <a:extLst>
                      <a:ext uri="{FF2B5EF4-FFF2-40B4-BE49-F238E27FC236}">
                        <a16:creationId xmlns:a16="http://schemas.microsoft.com/office/drawing/2014/main" id="{33B58563-34B8-4842-A4B0-3074C3BFE487}"/>
                      </a:ext>
                    </a:extLst>
                  </p:cNvPr>
                  <p:cNvSpPr/>
                  <p:nvPr/>
                </p:nvSpPr>
                <p:spPr>
                  <a:xfrm>
                    <a:off x="3782799" y="3357001"/>
                    <a:ext cx="31772"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3" name="Freeform 278">
                    <a:extLst>
                      <a:ext uri="{FF2B5EF4-FFF2-40B4-BE49-F238E27FC236}">
                        <a16:creationId xmlns:a16="http://schemas.microsoft.com/office/drawing/2014/main" id="{65EEA5FB-B37C-4961-BB39-46071BCDF88D}"/>
                      </a:ext>
                    </a:extLst>
                  </p:cNvPr>
                  <p:cNvSpPr/>
                  <p:nvPr/>
                </p:nvSpPr>
                <p:spPr>
                  <a:xfrm>
                    <a:off x="3816908" y="3357001"/>
                    <a:ext cx="40004" cy="18812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4" name="Freeform 279">
                    <a:extLst>
                      <a:ext uri="{FF2B5EF4-FFF2-40B4-BE49-F238E27FC236}">
                        <a16:creationId xmlns:a16="http://schemas.microsoft.com/office/drawing/2014/main" id="{B1D00894-0302-4023-A528-7384D5862293}"/>
                      </a:ext>
                    </a:extLst>
                  </p:cNvPr>
                  <p:cNvSpPr/>
                  <p:nvPr/>
                </p:nvSpPr>
                <p:spPr>
                  <a:xfrm>
                    <a:off x="3900425"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5" name="Freeform 280">
                    <a:extLst>
                      <a:ext uri="{FF2B5EF4-FFF2-40B4-BE49-F238E27FC236}">
                        <a16:creationId xmlns:a16="http://schemas.microsoft.com/office/drawing/2014/main" id="{26DCABCA-4A54-41F7-A75A-1AA4B64D065A}"/>
                      </a:ext>
                    </a:extLst>
                  </p:cNvPr>
                  <p:cNvSpPr/>
                  <p:nvPr/>
                </p:nvSpPr>
                <p:spPr>
                  <a:xfrm>
                    <a:off x="3934834" y="3360334"/>
                    <a:ext cx="3048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6" name="Freeform 281">
                    <a:extLst>
                      <a:ext uri="{FF2B5EF4-FFF2-40B4-BE49-F238E27FC236}">
                        <a16:creationId xmlns:a16="http://schemas.microsoft.com/office/drawing/2014/main" id="{93986C15-4889-4DAF-A3C4-FC2C34B730E0}"/>
                      </a:ext>
                    </a:extLst>
                  </p:cNvPr>
                  <p:cNvSpPr/>
                  <p:nvPr/>
                </p:nvSpPr>
                <p:spPr>
                  <a:xfrm>
                    <a:off x="4008842" y="3354224"/>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7" name="Freeform 282">
                    <a:extLst>
                      <a:ext uri="{FF2B5EF4-FFF2-40B4-BE49-F238E27FC236}">
                        <a16:creationId xmlns:a16="http://schemas.microsoft.com/office/drawing/2014/main" id="{3F02C43A-20D8-41C7-B548-057E661FB57D}"/>
                      </a:ext>
                    </a:extLst>
                  </p:cNvPr>
                  <p:cNvSpPr/>
                  <p:nvPr/>
                </p:nvSpPr>
                <p:spPr>
                  <a:xfrm>
                    <a:off x="4037755" y="3365286"/>
                    <a:ext cx="45720"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8" name="Freeform 283">
                    <a:extLst>
                      <a:ext uri="{FF2B5EF4-FFF2-40B4-BE49-F238E27FC236}">
                        <a16:creationId xmlns:a16="http://schemas.microsoft.com/office/drawing/2014/main" id="{B8568FC7-D112-4FE7-BA01-36CDF97D9A45}"/>
                      </a:ext>
                    </a:extLst>
                  </p:cNvPr>
                  <p:cNvSpPr/>
                  <p:nvPr/>
                </p:nvSpPr>
                <p:spPr>
                  <a:xfrm>
                    <a:off x="4194721" y="3326342"/>
                    <a:ext cx="45720"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9" name="Oval 198">
                    <a:extLst>
                      <a:ext uri="{FF2B5EF4-FFF2-40B4-BE49-F238E27FC236}">
                        <a16:creationId xmlns:a16="http://schemas.microsoft.com/office/drawing/2014/main" id="{61851BBB-DF4A-4166-8973-920276BC819C}"/>
                      </a:ext>
                    </a:extLst>
                  </p:cNvPr>
                  <p:cNvSpPr/>
                  <p:nvPr/>
                </p:nvSpPr>
                <p:spPr>
                  <a:xfrm>
                    <a:off x="4194721"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0" name="Freeform 285">
                    <a:extLst>
                      <a:ext uri="{FF2B5EF4-FFF2-40B4-BE49-F238E27FC236}">
                        <a16:creationId xmlns:a16="http://schemas.microsoft.com/office/drawing/2014/main" id="{000DF2DF-1EF1-426F-A878-CCBC0157BD6F}"/>
                      </a:ext>
                    </a:extLst>
                  </p:cNvPr>
                  <p:cNvSpPr/>
                  <p:nvPr/>
                </p:nvSpPr>
                <p:spPr>
                  <a:xfrm>
                    <a:off x="4256462" y="3365286"/>
                    <a:ext cx="46259"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1" name="Oval 200">
                    <a:extLst>
                      <a:ext uri="{FF2B5EF4-FFF2-40B4-BE49-F238E27FC236}">
                        <a16:creationId xmlns:a16="http://schemas.microsoft.com/office/drawing/2014/main" id="{4E3E8B19-0F1A-46DE-B113-5775AE8AD78E}"/>
                      </a:ext>
                    </a:extLst>
                  </p:cNvPr>
                  <p:cNvSpPr/>
                  <p:nvPr/>
                </p:nvSpPr>
                <p:spPr>
                  <a:xfrm>
                    <a:off x="4310028"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2" name="Oval 201">
                    <a:extLst>
                      <a:ext uri="{FF2B5EF4-FFF2-40B4-BE49-F238E27FC236}">
                        <a16:creationId xmlns:a16="http://schemas.microsoft.com/office/drawing/2014/main" id="{AC2F7648-89C0-4A32-BB9C-DD90B889396D}"/>
                      </a:ext>
                    </a:extLst>
                  </p:cNvPr>
                  <p:cNvSpPr/>
                  <p:nvPr/>
                </p:nvSpPr>
                <p:spPr>
                  <a:xfrm>
                    <a:off x="4086720"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3" name="Oval 202">
                    <a:extLst>
                      <a:ext uri="{FF2B5EF4-FFF2-40B4-BE49-F238E27FC236}">
                        <a16:creationId xmlns:a16="http://schemas.microsoft.com/office/drawing/2014/main" id="{927FB7A2-6AC3-4956-8880-98A38313D145}"/>
                      </a:ext>
                    </a:extLst>
                  </p:cNvPr>
                  <p:cNvSpPr/>
                  <p:nvPr/>
                </p:nvSpPr>
                <p:spPr>
                  <a:xfrm>
                    <a:off x="4422171"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4" name="Oval 203">
                    <a:extLst>
                      <a:ext uri="{FF2B5EF4-FFF2-40B4-BE49-F238E27FC236}">
                        <a16:creationId xmlns:a16="http://schemas.microsoft.com/office/drawing/2014/main" id="{10B51644-CFB7-4513-A6BD-731F4887270D}"/>
                      </a:ext>
                    </a:extLst>
                  </p:cNvPr>
                  <p:cNvSpPr/>
                  <p:nvPr/>
                </p:nvSpPr>
                <p:spPr>
                  <a:xfrm>
                    <a:off x="4537836"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5" name="Oval 204">
                    <a:extLst>
                      <a:ext uri="{FF2B5EF4-FFF2-40B4-BE49-F238E27FC236}">
                        <a16:creationId xmlns:a16="http://schemas.microsoft.com/office/drawing/2014/main" id="{94FB9316-EDD4-4EA2-B986-EEB42758BC7E}"/>
                      </a:ext>
                    </a:extLst>
                  </p:cNvPr>
                  <p:cNvSpPr/>
                  <p:nvPr/>
                </p:nvSpPr>
                <p:spPr>
                  <a:xfrm>
                    <a:off x="4645835"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6" name="Freeform 291">
                    <a:extLst>
                      <a:ext uri="{FF2B5EF4-FFF2-40B4-BE49-F238E27FC236}">
                        <a16:creationId xmlns:a16="http://schemas.microsoft.com/office/drawing/2014/main" id="{AEDFB2D8-AD98-4439-9AE2-C1A687F69E0D}"/>
                      </a:ext>
                    </a:extLst>
                  </p:cNvPr>
                  <p:cNvSpPr/>
                  <p:nvPr/>
                </p:nvSpPr>
                <p:spPr>
                  <a:xfrm>
                    <a:off x="4095002" y="3342341"/>
                    <a:ext cx="45720"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7" name="Freeform 292">
                    <a:extLst>
                      <a:ext uri="{FF2B5EF4-FFF2-40B4-BE49-F238E27FC236}">
                        <a16:creationId xmlns:a16="http://schemas.microsoft.com/office/drawing/2014/main" id="{0202A04E-B487-49D8-BD13-1B3BB7FBA094}"/>
                      </a:ext>
                    </a:extLst>
                  </p:cNvPr>
                  <p:cNvSpPr/>
                  <p:nvPr/>
                </p:nvSpPr>
                <p:spPr>
                  <a:xfrm>
                    <a:off x="4153455"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8" name="Freeform 293">
                    <a:extLst>
                      <a:ext uri="{FF2B5EF4-FFF2-40B4-BE49-F238E27FC236}">
                        <a16:creationId xmlns:a16="http://schemas.microsoft.com/office/drawing/2014/main" id="{7A4EFEE2-B44A-448C-95CC-65612513260C}"/>
                      </a:ext>
                    </a:extLst>
                  </p:cNvPr>
                  <p:cNvSpPr/>
                  <p:nvPr/>
                </p:nvSpPr>
                <p:spPr>
                  <a:xfrm>
                    <a:off x="4342167"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9" name="Freeform 294">
                    <a:extLst>
                      <a:ext uri="{FF2B5EF4-FFF2-40B4-BE49-F238E27FC236}">
                        <a16:creationId xmlns:a16="http://schemas.microsoft.com/office/drawing/2014/main" id="{AD206A6D-C59F-4125-ADEB-3C67F81F5833}"/>
                      </a:ext>
                    </a:extLst>
                  </p:cNvPr>
                  <p:cNvSpPr/>
                  <p:nvPr/>
                </p:nvSpPr>
                <p:spPr>
                  <a:xfrm>
                    <a:off x="4372306" y="3360336"/>
                    <a:ext cx="4572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0" name="Freeform 295">
                    <a:extLst>
                      <a:ext uri="{FF2B5EF4-FFF2-40B4-BE49-F238E27FC236}">
                        <a16:creationId xmlns:a16="http://schemas.microsoft.com/office/drawing/2014/main" id="{6144AE05-EC1E-48A0-88FB-024BB86C9F01}"/>
                      </a:ext>
                    </a:extLst>
                  </p:cNvPr>
                  <p:cNvSpPr/>
                  <p:nvPr/>
                </p:nvSpPr>
                <p:spPr>
                  <a:xfrm>
                    <a:off x="4453158" y="3357001"/>
                    <a:ext cx="31772"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1" name="Freeform 296">
                    <a:extLst>
                      <a:ext uri="{FF2B5EF4-FFF2-40B4-BE49-F238E27FC236}">
                        <a16:creationId xmlns:a16="http://schemas.microsoft.com/office/drawing/2014/main" id="{75AC6DF2-AE27-4183-82AC-497897B9B72D}"/>
                      </a:ext>
                    </a:extLst>
                  </p:cNvPr>
                  <p:cNvSpPr/>
                  <p:nvPr/>
                </p:nvSpPr>
                <p:spPr>
                  <a:xfrm>
                    <a:off x="4487266" y="3357001"/>
                    <a:ext cx="40005" cy="18812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2" name="Freeform 297">
                    <a:extLst>
                      <a:ext uri="{FF2B5EF4-FFF2-40B4-BE49-F238E27FC236}">
                        <a16:creationId xmlns:a16="http://schemas.microsoft.com/office/drawing/2014/main" id="{09E65EAA-2A9B-443E-8FD8-A3066F277352}"/>
                      </a:ext>
                    </a:extLst>
                  </p:cNvPr>
                  <p:cNvSpPr/>
                  <p:nvPr/>
                </p:nvSpPr>
                <p:spPr>
                  <a:xfrm>
                    <a:off x="4570783"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3" name="Freeform 298">
                    <a:extLst>
                      <a:ext uri="{FF2B5EF4-FFF2-40B4-BE49-F238E27FC236}">
                        <a16:creationId xmlns:a16="http://schemas.microsoft.com/office/drawing/2014/main" id="{4163D296-9737-487E-AB51-F88208609E5A}"/>
                      </a:ext>
                    </a:extLst>
                  </p:cNvPr>
                  <p:cNvSpPr/>
                  <p:nvPr/>
                </p:nvSpPr>
                <p:spPr>
                  <a:xfrm>
                    <a:off x="4605197" y="3360337"/>
                    <a:ext cx="3048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4" name="Freeform 299">
                    <a:extLst>
                      <a:ext uri="{FF2B5EF4-FFF2-40B4-BE49-F238E27FC236}">
                        <a16:creationId xmlns:a16="http://schemas.microsoft.com/office/drawing/2014/main" id="{745B6E74-8DDE-4AAD-A59F-F1FAA22F7F7E}"/>
                      </a:ext>
                    </a:extLst>
                  </p:cNvPr>
                  <p:cNvSpPr/>
                  <p:nvPr/>
                </p:nvSpPr>
                <p:spPr>
                  <a:xfrm>
                    <a:off x="4679200" y="3354227"/>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5" name="Freeform 300">
                    <a:extLst>
                      <a:ext uri="{FF2B5EF4-FFF2-40B4-BE49-F238E27FC236}">
                        <a16:creationId xmlns:a16="http://schemas.microsoft.com/office/drawing/2014/main" id="{AF3D248E-EAA6-48FB-84D3-DA336CE29AFA}"/>
                      </a:ext>
                    </a:extLst>
                  </p:cNvPr>
                  <p:cNvSpPr/>
                  <p:nvPr/>
                </p:nvSpPr>
                <p:spPr>
                  <a:xfrm>
                    <a:off x="4708115" y="3365285"/>
                    <a:ext cx="45720"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6" name="Freeform 301">
                    <a:extLst>
                      <a:ext uri="{FF2B5EF4-FFF2-40B4-BE49-F238E27FC236}">
                        <a16:creationId xmlns:a16="http://schemas.microsoft.com/office/drawing/2014/main" id="{C10CFAEA-C581-4176-8CD7-D8067A6DA986}"/>
                      </a:ext>
                    </a:extLst>
                  </p:cNvPr>
                  <p:cNvSpPr/>
                  <p:nvPr/>
                </p:nvSpPr>
                <p:spPr>
                  <a:xfrm>
                    <a:off x="4876992" y="3326341"/>
                    <a:ext cx="45720"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7" name="Oval 216">
                    <a:extLst>
                      <a:ext uri="{FF2B5EF4-FFF2-40B4-BE49-F238E27FC236}">
                        <a16:creationId xmlns:a16="http://schemas.microsoft.com/office/drawing/2014/main" id="{B4F1110D-DCFF-4376-ACA1-3EC6880C56AD}"/>
                      </a:ext>
                    </a:extLst>
                  </p:cNvPr>
                  <p:cNvSpPr/>
                  <p:nvPr/>
                </p:nvSpPr>
                <p:spPr>
                  <a:xfrm>
                    <a:off x="4876992" y="3253278"/>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8" name="Freeform 303">
                    <a:extLst>
                      <a:ext uri="{FF2B5EF4-FFF2-40B4-BE49-F238E27FC236}">
                        <a16:creationId xmlns:a16="http://schemas.microsoft.com/office/drawing/2014/main" id="{B99A06BE-E040-4DFB-A9E9-1887817FC14B}"/>
                      </a:ext>
                    </a:extLst>
                  </p:cNvPr>
                  <p:cNvSpPr/>
                  <p:nvPr/>
                </p:nvSpPr>
                <p:spPr>
                  <a:xfrm>
                    <a:off x="4938734" y="3365283"/>
                    <a:ext cx="46259"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9" name="Oval 218">
                    <a:extLst>
                      <a:ext uri="{FF2B5EF4-FFF2-40B4-BE49-F238E27FC236}">
                        <a16:creationId xmlns:a16="http://schemas.microsoft.com/office/drawing/2014/main" id="{EC962026-EE2C-4D1D-850C-1A8BF1D636C6}"/>
                      </a:ext>
                    </a:extLst>
                  </p:cNvPr>
                  <p:cNvSpPr/>
                  <p:nvPr/>
                </p:nvSpPr>
                <p:spPr>
                  <a:xfrm>
                    <a:off x="4992299" y="3253277"/>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0" name="Oval 219">
                    <a:extLst>
                      <a:ext uri="{FF2B5EF4-FFF2-40B4-BE49-F238E27FC236}">
                        <a16:creationId xmlns:a16="http://schemas.microsoft.com/office/drawing/2014/main" id="{666EA7C4-87DD-4D9C-98D6-23F3C7E3805D}"/>
                      </a:ext>
                    </a:extLst>
                  </p:cNvPr>
                  <p:cNvSpPr/>
                  <p:nvPr/>
                </p:nvSpPr>
                <p:spPr>
                  <a:xfrm>
                    <a:off x="4768993" y="3253277"/>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1" name="Oval 220">
                    <a:extLst>
                      <a:ext uri="{FF2B5EF4-FFF2-40B4-BE49-F238E27FC236}">
                        <a16:creationId xmlns:a16="http://schemas.microsoft.com/office/drawing/2014/main" id="{9D863E30-BC6F-4DD8-A483-41B08C1D3892}"/>
                      </a:ext>
                    </a:extLst>
                  </p:cNvPr>
                  <p:cNvSpPr/>
                  <p:nvPr/>
                </p:nvSpPr>
                <p:spPr>
                  <a:xfrm>
                    <a:off x="5104443" y="3253277"/>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2" name="Oval 221">
                    <a:extLst>
                      <a:ext uri="{FF2B5EF4-FFF2-40B4-BE49-F238E27FC236}">
                        <a16:creationId xmlns:a16="http://schemas.microsoft.com/office/drawing/2014/main" id="{B2F5F959-222B-4334-AD44-F44E00A7C2D5}"/>
                      </a:ext>
                    </a:extLst>
                  </p:cNvPr>
                  <p:cNvSpPr/>
                  <p:nvPr/>
                </p:nvSpPr>
                <p:spPr>
                  <a:xfrm>
                    <a:off x="5220108" y="3253277"/>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3" name="Oval 222">
                    <a:extLst>
                      <a:ext uri="{FF2B5EF4-FFF2-40B4-BE49-F238E27FC236}">
                        <a16:creationId xmlns:a16="http://schemas.microsoft.com/office/drawing/2014/main" id="{5BB73AE7-7CB0-441A-9682-2BFDCD6D46A8}"/>
                      </a:ext>
                    </a:extLst>
                  </p:cNvPr>
                  <p:cNvSpPr/>
                  <p:nvPr/>
                </p:nvSpPr>
                <p:spPr>
                  <a:xfrm>
                    <a:off x="5328105" y="3253268"/>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4" name="Freeform 309">
                    <a:extLst>
                      <a:ext uri="{FF2B5EF4-FFF2-40B4-BE49-F238E27FC236}">
                        <a16:creationId xmlns:a16="http://schemas.microsoft.com/office/drawing/2014/main" id="{872704C7-51E1-47FF-9B2C-D1CBFEA4624B}"/>
                      </a:ext>
                    </a:extLst>
                  </p:cNvPr>
                  <p:cNvSpPr/>
                  <p:nvPr/>
                </p:nvSpPr>
                <p:spPr>
                  <a:xfrm>
                    <a:off x="4777272" y="3342314"/>
                    <a:ext cx="45720" cy="19999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5" name="Freeform 310">
                    <a:extLst>
                      <a:ext uri="{FF2B5EF4-FFF2-40B4-BE49-F238E27FC236}">
                        <a16:creationId xmlns:a16="http://schemas.microsoft.com/office/drawing/2014/main" id="{578A6666-22AE-4BF7-9F9B-E4C5EA863125}"/>
                      </a:ext>
                    </a:extLst>
                  </p:cNvPr>
                  <p:cNvSpPr/>
                  <p:nvPr/>
                </p:nvSpPr>
                <p:spPr>
                  <a:xfrm>
                    <a:off x="4835725" y="3356974"/>
                    <a:ext cx="20633" cy="188118"/>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6" name="Freeform 311">
                    <a:extLst>
                      <a:ext uri="{FF2B5EF4-FFF2-40B4-BE49-F238E27FC236}">
                        <a16:creationId xmlns:a16="http://schemas.microsoft.com/office/drawing/2014/main" id="{0D874BF3-60AE-4074-87C8-E960C51E170F}"/>
                      </a:ext>
                    </a:extLst>
                  </p:cNvPr>
                  <p:cNvSpPr/>
                  <p:nvPr/>
                </p:nvSpPr>
                <p:spPr>
                  <a:xfrm>
                    <a:off x="5024435" y="3356974"/>
                    <a:ext cx="20633" cy="188118"/>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7" name="Freeform 312">
                    <a:extLst>
                      <a:ext uri="{FF2B5EF4-FFF2-40B4-BE49-F238E27FC236}">
                        <a16:creationId xmlns:a16="http://schemas.microsoft.com/office/drawing/2014/main" id="{64DF3307-AB5B-406E-B645-D883CEAE5A21}"/>
                      </a:ext>
                    </a:extLst>
                  </p:cNvPr>
                  <p:cNvSpPr/>
                  <p:nvPr/>
                </p:nvSpPr>
                <p:spPr>
                  <a:xfrm>
                    <a:off x="5054568" y="3360309"/>
                    <a:ext cx="4572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8" name="Freeform 313">
                    <a:extLst>
                      <a:ext uri="{FF2B5EF4-FFF2-40B4-BE49-F238E27FC236}">
                        <a16:creationId xmlns:a16="http://schemas.microsoft.com/office/drawing/2014/main" id="{1B78C2E3-F1B2-44F7-952D-E5166321D039}"/>
                      </a:ext>
                    </a:extLst>
                  </p:cNvPr>
                  <p:cNvSpPr/>
                  <p:nvPr/>
                </p:nvSpPr>
                <p:spPr>
                  <a:xfrm>
                    <a:off x="5135428" y="3356974"/>
                    <a:ext cx="31772" cy="179833"/>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9" name="Freeform 314">
                    <a:extLst>
                      <a:ext uri="{FF2B5EF4-FFF2-40B4-BE49-F238E27FC236}">
                        <a16:creationId xmlns:a16="http://schemas.microsoft.com/office/drawing/2014/main" id="{80AD07AB-593E-461B-8E97-77B89DE5A7F9}"/>
                      </a:ext>
                    </a:extLst>
                  </p:cNvPr>
                  <p:cNvSpPr/>
                  <p:nvPr/>
                </p:nvSpPr>
                <p:spPr>
                  <a:xfrm>
                    <a:off x="5169537" y="3356974"/>
                    <a:ext cx="40005" cy="188118"/>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0" name="Freeform 315">
                    <a:extLst>
                      <a:ext uri="{FF2B5EF4-FFF2-40B4-BE49-F238E27FC236}">
                        <a16:creationId xmlns:a16="http://schemas.microsoft.com/office/drawing/2014/main" id="{5EE5E2B5-D9A8-4392-B256-10E9057F9B10}"/>
                      </a:ext>
                    </a:extLst>
                  </p:cNvPr>
                  <p:cNvSpPr/>
                  <p:nvPr/>
                </p:nvSpPr>
                <p:spPr>
                  <a:xfrm>
                    <a:off x="5253060" y="3356974"/>
                    <a:ext cx="20633" cy="188118"/>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1" name="Freeform 316">
                    <a:extLst>
                      <a:ext uri="{FF2B5EF4-FFF2-40B4-BE49-F238E27FC236}">
                        <a16:creationId xmlns:a16="http://schemas.microsoft.com/office/drawing/2014/main" id="{463D2303-1381-4FC0-9896-990AB8597B05}"/>
                      </a:ext>
                    </a:extLst>
                  </p:cNvPr>
                  <p:cNvSpPr/>
                  <p:nvPr/>
                </p:nvSpPr>
                <p:spPr>
                  <a:xfrm>
                    <a:off x="5287452" y="3360308"/>
                    <a:ext cx="3048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2" name="Freeform 317">
                    <a:extLst>
                      <a:ext uri="{FF2B5EF4-FFF2-40B4-BE49-F238E27FC236}">
                        <a16:creationId xmlns:a16="http://schemas.microsoft.com/office/drawing/2014/main" id="{7BCD24E7-F0E6-4947-A993-CBCDE36CDD3C}"/>
                      </a:ext>
                    </a:extLst>
                  </p:cNvPr>
                  <p:cNvSpPr/>
                  <p:nvPr/>
                </p:nvSpPr>
                <p:spPr>
                  <a:xfrm>
                    <a:off x="5361471" y="3354206"/>
                    <a:ext cx="20633" cy="188118"/>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3" name="Freeform 318">
                    <a:extLst>
                      <a:ext uri="{FF2B5EF4-FFF2-40B4-BE49-F238E27FC236}">
                        <a16:creationId xmlns:a16="http://schemas.microsoft.com/office/drawing/2014/main" id="{6E743A62-12E7-4EB9-98DA-F17AE21EA071}"/>
                      </a:ext>
                    </a:extLst>
                  </p:cNvPr>
                  <p:cNvSpPr/>
                  <p:nvPr/>
                </p:nvSpPr>
                <p:spPr>
                  <a:xfrm>
                    <a:off x="5390301" y="3365265"/>
                    <a:ext cx="45720"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grpSp>
            <p:grpSp>
              <p:nvGrpSpPr>
                <p:cNvPr id="89" name="Group 88">
                  <a:extLst>
                    <a:ext uri="{FF2B5EF4-FFF2-40B4-BE49-F238E27FC236}">
                      <a16:creationId xmlns:a16="http://schemas.microsoft.com/office/drawing/2014/main" id="{14120DA0-53C9-465B-BA22-5CE21CDF3BB0}"/>
                    </a:ext>
                  </a:extLst>
                </p:cNvPr>
                <p:cNvGrpSpPr/>
                <p:nvPr/>
              </p:nvGrpSpPr>
              <p:grpSpPr>
                <a:xfrm flipV="1">
                  <a:off x="1951312" y="1919222"/>
                  <a:ext cx="1761002" cy="200507"/>
                  <a:chOff x="2846596" y="3861048"/>
                  <a:chExt cx="2704806" cy="291842"/>
                </a:xfrm>
                <a:solidFill>
                  <a:schemeClr val="bg1"/>
                </a:solidFill>
              </p:grpSpPr>
              <p:sp>
                <p:nvSpPr>
                  <p:cNvPr id="90" name="Freeform 175">
                    <a:extLst>
                      <a:ext uri="{FF2B5EF4-FFF2-40B4-BE49-F238E27FC236}">
                        <a16:creationId xmlns:a16="http://schemas.microsoft.com/office/drawing/2014/main" id="{16D1167C-A3D3-49E1-B707-EF3190E13BA7}"/>
                      </a:ext>
                    </a:extLst>
                  </p:cNvPr>
                  <p:cNvSpPr/>
                  <p:nvPr/>
                </p:nvSpPr>
                <p:spPr>
                  <a:xfrm>
                    <a:off x="2954596" y="3934111"/>
                    <a:ext cx="45719"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1" name="Oval 90">
                    <a:extLst>
                      <a:ext uri="{FF2B5EF4-FFF2-40B4-BE49-F238E27FC236}">
                        <a16:creationId xmlns:a16="http://schemas.microsoft.com/office/drawing/2014/main" id="{B6853642-6FE4-4E0E-B553-BDDD63C75199}"/>
                      </a:ext>
                    </a:extLst>
                  </p:cNvPr>
                  <p:cNvSpPr/>
                  <p:nvPr/>
                </p:nvSpPr>
                <p:spPr>
                  <a:xfrm>
                    <a:off x="2954596"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2" name="Freeform 177">
                    <a:extLst>
                      <a:ext uri="{FF2B5EF4-FFF2-40B4-BE49-F238E27FC236}">
                        <a16:creationId xmlns:a16="http://schemas.microsoft.com/office/drawing/2014/main" id="{B7C6EABE-35F9-4404-91FC-8058DD40F169}"/>
                      </a:ext>
                    </a:extLst>
                  </p:cNvPr>
                  <p:cNvSpPr/>
                  <p:nvPr/>
                </p:nvSpPr>
                <p:spPr>
                  <a:xfrm>
                    <a:off x="3016337" y="3973054"/>
                    <a:ext cx="46259"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3" name="Oval 92">
                    <a:extLst>
                      <a:ext uri="{FF2B5EF4-FFF2-40B4-BE49-F238E27FC236}">
                        <a16:creationId xmlns:a16="http://schemas.microsoft.com/office/drawing/2014/main" id="{DF8D2B60-0CCD-4401-A62E-612AD0EEB5BB}"/>
                      </a:ext>
                    </a:extLst>
                  </p:cNvPr>
                  <p:cNvSpPr/>
                  <p:nvPr/>
                </p:nvSpPr>
                <p:spPr>
                  <a:xfrm>
                    <a:off x="3069902"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4" name="Oval 93">
                    <a:extLst>
                      <a:ext uri="{FF2B5EF4-FFF2-40B4-BE49-F238E27FC236}">
                        <a16:creationId xmlns:a16="http://schemas.microsoft.com/office/drawing/2014/main" id="{0E16C0C2-D1C9-4789-A668-92D2A9DA649B}"/>
                      </a:ext>
                    </a:extLst>
                  </p:cNvPr>
                  <p:cNvSpPr/>
                  <p:nvPr/>
                </p:nvSpPr>
                <p:spPr>
                  <a:xfrm>
                    <a:off x="2846596"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5" name="Oval 94">
                    <a:extLst>
                      <a:ext uri="{FF2B5EF4-FFF2-40B4-BE49-F238E27FC236}">
                        <a16:creationId xmlns:a16="http://schemas.microsoft.com/office/drawing/2014/main" id="{CD30CFA2-F56C-4A08-999C-96DCE1CAAAF1}"/>
                      </a:ext>
                    </a:extLst>
                  </p:cNvPr>
                  <p:cNvSpPr/>
                  <p:nvPr/>
                </p:nvSpPr>
                <p:spPr>
                  <a:xfrm>
                    <a:off x="3182045"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6" name="Oval 95">
                    <a:extLst>
                      <a:ext uri="{FF2B5EF4-FFF2-40B4-BE49-F238E27FC236}">
                        <a16:creationId xmlns:a16="http://schemas.microsoft.com/office/drawing/2014/main" id="{408F0E0C-7B61-42F4-8F89-CF333B2EDBE7}"/>
                      </a:ext>
                    </a:extLst>
                  </p:cNvPr>
                  <p:cNvSpPr/>
                  <p:nvPr/>
                </p:nvSpPr>
                <p:spPr>
                  <a:xfrm>
                    <a:off x="3297710"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7" name="Oval 96">
                    <a:extLst>
                      <a:ext uri="{FF2B5EF4-FFF2-40B4-BE49-F238E27FC236}">
                        <a16:creationId xmlns:a16="http://schemas.microsoft.com/office/drawing/2014/main" id="{57C0AC4A-5944-4824-98FF-2F819E3851C5}"/>
                      </a:ext>
                    </a:extLst>
                  </p:cNvPr>
                  <p:cNvSpPr/>
                  <p:nvPr/>
                </p:nvSpPr>
                <p:spPr>
                  <a:xfrm>
                    <a:off x="3405710"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8" name="Freeform 183">
                    <a:extLst>
                      <a:ext uri="{FF2B5EF4-FFF2-40B4-BE49-F238E27FC236}">
                        <a16:creationId xmlns:a16="http://schemas.microsoft.com/office/drawing/2014/main" id="{4C25EE56-0584-4195-9025-6FE6D6139CF7}"/>
                      </a:ext>
                    </a:extLst>
                  </p:cNvPr>
                  <p:cNvSpPr/>
                  <p:nvPr/>
                </p:nvSpPr>
                <p:spPr>
                  <a:xfrm>
                    <a:off x="2854877" y="3950109"/>
                    <a:ext cx="45719"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9" name="Freeform 184">
                    <a:extLst>
                      <a:ext uri="{FF2B5EF4-FFF2-40B4-BE49-F238E27FC236}">
                        <a16:creationId xmlns:a16="http://schemas.microsoft.com/office/drawing/2014/main" id="{5409A6F8-05EB-4971-BE1F-F79C9D66433A}"/>
                      </a:ext>
                    </a:extLst>
                  </p:cNvPr>
                  <p:cNvSpPr/>
                  <p:nvPr/>
                </p:nvSpPr>
                <p:spPr>
                  <a:xfrm>
                    <a:off x="2913332"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0" name="Freeform 185">
                    <a:extLst>
                      <a:ext uri="{FF2B5EF4-FFF2-40B4-BE49-F238E27FC236}">
                        <a16:creationId xmlns:a16="http://schemas.microsoft.com/office/drawing/2014/main" id="{C8749FA1-6494-4707-BA3A-7CEF299A006E}"/>
                      </a:ext>
                    </a:extLst>
                  </p:cNvPr>
                  <p:cNvSpPr/>
                  <p:nvPr/>
                </p:nvSpPr>
                <p:spPr>
                  <a:xfrm>
                    <a:off x="3102044"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1" name="Freeform 186">
                    <a:extLst>
                      <a:ext uri="{FF2B5EF4-FFF2-40B4-BE49-F238E27FC236}">
                        <a16:creationId xmlns:a16="http://schemas.microsoft.com/office/drawing/2014/main" id="{B3421274-788E-4F58-811D-216BE483C64E}"/>
                      </a:ext>
                    </a:extLst>
                  </p:cNvPr>
                  <p:cNvSpPr/>
                  <p:nvPr/>
                </p:nvSpPr>
                <p:spPr>
                  <a:xfrm>
                    <a:off x="3132183" y="3968104"/>
                    <a:ext cx="45719"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2" name="Freeform 187">
                    <a:extLst>
                      <a:ext uri="{FF2B5EF4-FFF2-40B4-BE49-F238E27FC236}">
                        <a16:creationId xmlns:a16="http://schemas.microsoft.com/office/drawing/2014/main" id="{411AF41C-B22F-4CFB-A0DA-813AD3EF0E39}"/>
                      </a:ext>
                    </a:extLst>
                  </p:cNvPr>
                  <p:cNvSpPr/>
                  <p:nvPr/>
                </p:nvSpPr>
                <p:spPr>
                  <a:xfrm>
                    <a:off x="3213037" y="3964769"/>
                    <a:ext cx="31771"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3" name="Freeform 188">
                    <a:extLst>
                      <a:ext uri="{FF2B5EF4-FFF2-40B4-BE49-F238E27FC236}">
                        <a16:creationId xmlns:a16="http://schemas.microsoft.com/office/drawing/2014/main" id="{132E1677-9C04-48BD-ADF3-C030117B5626}"/>
                      </a:ext>
                    </a:extLst>
                  </p:cNvPr>
                  <p:cNvSpPr/>
                  <p:nvPr/>
                </p:nvSpPr>
                <p:spPr>
                  <a:xfrm>
                    <a:off x="3247146" y="3964769"/>
                    <a:ext cx="40005" cy="188119"/>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4" name="Freeform 189">
                    <a:extLst>
                      <a:ext uri="{FF2B5EF4-FFF2-40B4-BE49-F238E27FC236}">
                        <a16:creationId xmlns:a16="http://schemas.microsoft.com/office/drawing/2014/main" id="{69155A8E-26CF-41D3-95E0-20F5F9A9D999}"/>
                      </a:ext>
                    </a:extLst>
                  </p:cNvPr>
                  <p:cNvSpPr/>
                  <p:nvPr/>
                </p:nvSpPr>
                <p:spPr>
                  <a:xfrm>
                    <a:off x="3330663"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5" name="Freeform 190">
                    <a:extLst>
                      <a:ext uri="{FF2B5EF4-FFF2-40B4-BE49-F238E27FC236}">
                        <a16:creationId xmlns:a16="http://schemas.microsoft.com/office/drawing/2014/main" id="{93AABC9F-ABA2-4D66-A748-D996240B83AE}"/>
                      </a:ext>
                    </a:extLst>
                  </p:cNvPr>
                  <p:cNvSpPr/>
                  <p:nvPr/>
                </p:nvSpPr>
                <p:spPr>
                  <a:xfrm>
                    <a:off x="3365072" y="3968103"/>
                    <a:ext cx="3048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6" name="Freeform 191">
                    <a:extLst>
                      <a:ext uri="{FF2B5EF4-FFF2-40B4-BE49-F238E27FC236}">
                        <a16:creationId xmlns:a16="http://schemas.microsoft.com/office/drawing/2014/main" id="{B1510ADF-BFBB-4F26-9E54-4E09DFD7E78F}"/>
                      </a:ext>
                    </a:extLst>
                  </p:cNvPr>
                  <p:cNvSpPr/>
                  <p:nvPr/>
                </p:nvSpPr>
                <p:spPr>
                  <a:xfrm>
                    <a:off x="3439078" y="3961992"/>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7" name="Freeform 192">
                    <a:extLst>
                      <a:ext uri="{FF2B5EF4-FFF2-40B4-BE49-F238E27FC236}">
                        <a16:creationId xmlns:a16="http://schemas.microsoft.com/office/drawing/2014/main" id="{310C36C7-D055-4006-8965-130CF7D80D4A}"/>
                      </a:ext>
                    </a:extLst>
                  </p:cNvPr>
                  <p:cNvSpPr/>
                  <p:nvPr/>
                </p:nvSpPr>
                <p:spPr>
                  <a:xfrm>
                    <a:off x="3467991" y="3973054"/>
                    <a:ext cx="45719"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8" name="Freeform 193">
                    <a:extLst>
                      <a:ext uri="{FF2B5EF4-FFF2-40B4-BE49-F238E27FC236}">
                        <a16:creationId xmlns:a16="http://schemas.microsoft.com/office/drawing/2014/main" id="{DC0B7CED-5178-4D84-B22B-6653387167A6}"/>
                      </a:ext>
                    </a:extLst>
                  </p:cNvPr>
                  <p:cNvSpPr/>
                  <p:nvPr/>
                </p:nvSpPr>
                <p:spPr>
                  <a:xfrm>
                    <a:off x="3639653" y="3934111"/>
                    <a:ext cx="45719"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9" name="Oval 108">
                    <a:extLst>
                      <a:ext uri="{FF2B5EF4-FFF2-40B4-BE49-F238E27FC236}">
                        <a16:creationId xmlns:a16="http://schemas.microsoft.com/office/drawing/2014/main" id="{FB7CF812-3352-4092-951B-44887590B241}"/>
                      </a:ext>
                    </a:extLst>
                  </p:cNvPr>
                  <p:cNvSpPr/>
                  <p:nvPr/>
                </p:nvSpPr>
                <p:spPr>
                  <a:xfrm>
                    <a:off x="3639653"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0" name="Freeform 195">
                    <a:extLst>
                      <a:ext uri="{FF2B5EF4-FFF2-40B4-BE49-F238E27FC236}">
                        <a16:creationId xmlns:a16="http://schemas.microsoft.com/office/drawing/2014/main" id="{B4DB9B2D-4482-42D5-8D23-F81C7BD73835}"/>
                      </a:ext>
                    </a:extLst>
                  </p:cNvPr>
                  <p:cNvSpPr/>
                  <p:nvPr/>
                </p:nvSpPr>
                <p:spPr>
                  <a:xfrm>
                    <a:off x="3701394" y="3973054"/>
                    <a:ext cx="46259"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1" name="Oval 110">
                    <a:extLst>
                      <a:ext uri="{FF2B5EF4-FFF2-40B4-BE49-F238E27FC236}">
                        <a16:creationId xmlns:a16="http://schemas.microsoft.com/office/drawing/2014/main" id="{83D67A66-F0EA-49C9-9499-1ABBF675E7C3}"/>
                      </a:ext>
                    </a:extLst>
                  </p:cNvPr>
                  <p:cNvSpPr/>
                  <p:nvPr/>
                </p:nvSpPr>
                <p:spPr>
                  <a:xfrm>
                    <a:off x="3754959"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2" name="Oval 111">
                    <a:extLst>
                      <a:ext uri="{FF2B5EF4-FFF2-40B4-BE49-F238E27FC236}">
                        <a16:creationId xmlns:a16="http://schemas.microsoft.com/office/drawing/2014/main" id="{4903AB34-E5BB-47AE-8A07-3DA58071A1F4}"/>
                      </a:ext>
                    </a:extLst>
                  </p:cNvPr>
                  <p:cNvSpPr/>
                  <p:nvPr/>
                </p:nvSpPr>
                <p:spPr>
                  <a:xfrm>
                    <a:off x="3531653"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3" name="Oval 112">
                    <a:extLst>
                      <a:ext uri="{FF2B5EF4-FFF2-40B4-BE49-F238E27FC236}">
                        <a16:creationId xmlns:a16="http://schemas.microsoft.com/office/drawing/2014/main" id="{27C30A26-1719-4782-A73C-FA83960A1EE1}"/>
                      </a:ext>
                    </a:extLst>
                  </p:cNvPr>
                  <p:cNvSpPr/>
                  <p:nvPr/>
                </p:nvSpPr>
                <p:spPr>
                  <a:xfrm>
                    <a:off x="3867102"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4" name="Oval 113">
                    <a:extLst>
                      <a:ext uri="{FF2B5EF4-FFF2-40B4-BE49-F238E27FC236}">
                        <a16:creationId xmlns:a16="http://schemas.microsoft.com/office/drawing/2014/main" id="{4903F4E0-78B8-484C-A130-63925ABD859B}"/>
                      </a:ext>
                    </a:extLst>
                  </p:cNvPr>
                  <p:cNvSpPr/>
                  <p:nvPr/>
                </p:nvSpPr>
                <p:spPr>
                  <a:xfrm>
                    <a:off x="3982767"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5" name="Oval 114">
                    <a:extLst>
                      <a:ext uri="{FF2B5EF4-FFF2-40B4-BE49-F238E27FC236}">
                        <a16:creationId xmlns:a16="http://schemas.microsoft.com/office/drawing/2014/main" id="{0D5A9BE7-E3CD-43F6-BC3E-132C2ABE8392}"/>
                      </a:ext>
                    </a:extLst>
                  </p:cNvPr>
                  <p:cNvSpPr/>
                  <p:nvPr/>
                </p:nvSpPr>
                <p:spPr>
                  <a:xfrm>
                    <a:off x="4090767"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6" name="Freeform 201">
                    <a:extLst>
                      <a:ext uri="{FF2B5EF4-FFF2-40B4-BE49-F238E27FC236}">
                        <a16:creationId xmlns:a16="http://schemas.microsoft.com/office/drawing/2014/main" id="{22CC5BA7-868C-414D-BBA4-18DBAC27DAB8}"/>
                      </a:ext>
                    </a:extLst>
                  </p:cNvPr>
                  <p:cNvSpPr/>
                  <p:nvPr/>
                </p:nvSpPr>
                <p:spPr>
                  <a:xfrm>
                    <a:off x="3539934" y="3950109"/>
                    <a:ext cx="45719"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7" name="Freeform 202">
                    <a:extLst>
                      <a:ext uri="{FF2B5EF4-FFF2-40B4-BE49-F238E27FC236}">
                        <a16:creationId xmlns:a16="http://schemas.microsoft.com/office/drawing/2014/main" id="{519B9C02-3826-4510-9B33-BBA2153A3571}"/>
                      </a:ext>
                    </a:extLst>
                  </p:cNvPr>
                  <p:cNvSpPr/>
                  <p:nvPr/>
                </p:nvSpPr>
                <p:spPr>
                  <a:xfrm>
                    <a:off x="3598389"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8" name="Freeform 203">
                    <a:extLst>
                      <a:ext uri="{FF2B5EF4-FFF2-40B4-BE49-F238E27FC236}">
                        <a16:creationId xmlns:a16="http://schemas.microsoft.com/office/drawing/2014/main" id="{9377419E-B63B-4023-85ED-1C8E25FD4694}"/>
                      </a:ext>
                    </a:extLst>
                  </p:cNvPr>
                  <p:cNvSpPr/>
                  <p:nvPr/>
                </p:nvSpPr>
                <p:spPr>
                  <a:xfrm>
                    <a:off x="3787101"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9" name="Freeform 204">
                    <a:extLst>
                      <a:ext uri="{FF2B5EF4-FFF2-40B4-BE49-F238E27FC236}">
                        <a16:creationId xmlns:a16="http://schemas.microsoft.com/office/drawing/2014/main" id="{A7CD5765-A63E-4E69-8621-353A168FCFD6}"/>
                      </a:ext>
                    </a:extLst>
                  </p:cNvPr>
                  <p:cNvSpPr/>
                  <p:nvPr/>
                </p:nvSpPr>
                <p:spPr>
                  <a:xfrm>
                    <a:off x="3817240" y="3968104"/>
                    <a:ext cx="45719"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0" name="Freeform 205">
                    <a:extLst>
                      <a:ext uri="{FF2B5EF4-FFF2-40B4-BE49-F238E27FC236}">
                        <a16:creationId xmlns:a16="http://schemas.microsoft.com/office/drawing/2014/main" id="{2E7FC1A0-7330-4A2A-B8A7-C1056B21CF01}"/>
                      </a:ext>
                    </a:extLst>
                  </p:cNvPr>
                  <p:cNvSpPr/>
                  <p:nvPr/>
                </p:nvSpPr>
                <p:spPr>
                  <a:xfrm>
                    <a:off x="3898094" y="3964769"/>
                    <a:ext cx="31771"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1" name="Freeform 206">
                    <a:extLst>
                      <a:ext uri="{FF2B5EF4-FFF2-40B4-BE49-F238E27FC236}">
                        <a16:creationId xmlns:a16="http://schemas.microsoft.com/office/drawing/2014/main" id="{CC1F04ED-1882-43CB-86DA-FC53604A66CB}"/>
                      </a:ext>
                    </a:extLst>
                  </p:cNvPr>
                  <p:cNvSpPr/>
                  <p:nvPr/>
                </p:nvSpPr>
                <p:spPr>
                  <a:xfrm>
                    <a:off x="3932203" y="3964769"/>
                    <a:ext cx="40005" cy="188119"/>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2" name="Freeform 207">
                    <a:extLst>
                      <a:ext uri="{FF2B5EF4-FFF2-40B4-BE49-F238E27FC236}">
                        <a16:creationId xmlns:a16="http://schemas.microsoft.com/office/drawing/2014/main" id="{D71EDDFF-A565-444F-9E19-760EA1E22EC3}"/>
                      </a:ext>
                    </a:extLst>
                  </p:cNvPr>
                  <p:cNvSpPr/>
                  <p:nvPr/>
                </p:nvSpPr>
                <p:spPr>
                  <a:xfrm>
                    <a:off x="4015720"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3" name="Freeform 208">
                    <a:extLst>
                      <a:ext uri="{FF2B5EF4-FFF2-40B4-BE49-F238E27FC236}">
                        <a16:creationId xmlns:a16="http://schemas.microsoft.com/office/drawing/2014/main" id="{F2CEF649-3693-46C5-A75A-1863765E6110}"/>
                      </a:ext>
                    </a:extLst>
                  </p:cNvPr>
                  <p:cNvSpPr/>
                  <p:nvPr/>
                </p:nvSpPr>
                <p:spPr>
                  <a:xfrm>
                    <a:off x="4050129" y="3968103"/>
                    <a:ext cx="3048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4" name="Freeform 209">
                    <a:extLst>
                      <a:ext uri="{FF2B5EF4-FFF2-40B4-BE49-F238E27FC236}">
                        <a16:creationId xmlns:a16="http://schemas.microsoft.com/office/drawing/2014/main" id="{27F2A9C9-A74E-48A1-8DC8-80F8E0243764}"/>
                      </a:ext>
                    </a:extLst>
                  </p:cNvPr>
                  <p:cNvSpPr/>
                  <p:nvPr/>
                </p:nvSpPr>
                <p:spPr>
                  <a:xfrm>
                    <a:off x="4124135" y="3961992"/>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5" name="Freeform 210">
                    <a:extLst>
                      <a:ext uri="{FF2B5EF4-FFF2-40B4-BE49-F238E27FC236}">
                        <a16:creationId xmlns:a16="http://schemas.microsoft.com/office/drawing/2014/main" id="{565F0E04-14BE-461D-B807-3C9ED87D249D}"/>
                      </a:ext>
                    </a:extLst>
                  </p:cNvPr>
                  <p:cNvSpPr/>
                  <p:nvPr/>
                </p:nvSpPr>
                <p:spPr>
                  <a:xfrm>
                    <a:off x="4153048" y="3973054"/>
                    <a:ext cx="45719"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6" name="Freeform 211">
                    <a:extLst>
                      <a:ext uri="{FF2B5EF4-FFF2-40B4-BE49-F238E27FC236}">
                        <a16:creationId xmlns:a16="http://schemas.microsoft.com/office/drawing/2014/main" id="{477A1B90-2E5D-41B3-8BA6-0B8010825354}"/>
                      </a:ext>
                    </a:extLst>
                  </p:cNvPr>
                  <p:cNvSpPr/>
                  <p:nvPr/>
                </p:nvSpPr>
                <p:spPr>
                  <a:xfrm>
                    <a:off x="4310014" y="3934111"/>
                    <a:ext cx="45719"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7" name="Oval 126">
                    <a:extLst>
                      <a:ext uri="{FF2B5EF4-FFF2-40B4-BE49-F238E27FC236}">
                        <a16:creationId xmlns:a16="http://schemas.microsoft.com/office/drawing/2014/main" id="{55CCD42B-0713-42F7-B2B3-2BE01CD77669}"/>
                      </a:ext>
                    </a:extLst>
                  </p:cNvPr>
                  <p:cNvSpPr/>
                  <p:nvPr/>
                </p:nvSpPr>
                <p:spPr>
                  <a:xfrm>
                    <a:off x="4310014"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8" name="Freeform 213">
                    <a:extLst>
                      <a:ext uri="{FF2B5EF4-FFF2-40B4-BE49-F238E27FC236}">
                        <a16:creationId xmlns:a16="http://schemas.microsoft.com/office/drawing/2014/main" id="{19983B76-5283-4878-8C07-5FC77CC04F9E}"/>
                      </a:ext>
                    </a:extLst>
                  </p:cNvPr>
                  <p:cNvSpPr/>
                  <p:nvPr/>
                </p:nvSpPr>
                <p:spPr>
                  <a:xfrm>
                    <a:off x="4371755" y="3973054"/>
                    <a:ext cx="46259"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9" name="Oval 128">
                    <a:extLst>
                      <a:ext uri="{FF2B5EF4-FFF2-40B4-BE49-F238E27FC236}">
                        <a16:creationId xmlns:a16="http://schemas.microsoft.com/office/drawing/2014/main" id="{643F2E81-AE4A-481D-AFD5-9256FF30C635}"/>
                      </a:ext>
                    </a:extLst>
                  </p:cNvPr>
                  <p:cNvSpPr/>
                  <p:nvPr/>
                </p:nvSpPr>
                <p:spPr>
                  <a:xfrm>
                    <a:off x="4425320"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0" name="Oval 129">
                    <a:extLst>
                      <a:ext uri="{FF2B5EF4-FFF2-40B4-BE49-F238E27FC236}">
                        <a16:creationId xmlns:a16="http://schemas.microsoft.com/office/drawing/2014/main" id="{C1D1B4C2-490E-4C76-B681-E57DD455AD63}"/>
                      </a:ext>
                    </a:extLst>
                  </p:cNvPr>
                  <p:cNvSpPr/>
                  <p:nvPr/>
                </p:nvSpPr>
                <p:spPr>
                  <a:xfrm>
                    <a:off x="4202014"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1" name="Oval 130">
                    <a:extLst>
                      <a:ext uri="{FF2B5EF4-FFF2-40B4-BE49-F238E27FC236}">
                        <a16:creationId xmlns:a16="http://schemas.microsoft.com/office/drawing/2014/main" id="{54CE1B14-9637-487D-B81C-52CB30C61964}"/>
                      </a:ext>
                    </a:extLst>
                  </p:cNvPr>
                  <p:cNvSpPr/>
                  <p:nvPr/>
                </p:nvSpPr>
                <p:spPr>
                  <a:xfrm>
                    <a:off x="4537463"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2" name="Oval 131">
                    <a:extLst>
                      <a:ext uri="{FF2B5EF4-FFF2-40B4-BE49-F238E27FC236}">
                        <a16:creationId xmlns:a16="http://schemas.microsoft.com/office/drawing/2014/main" id="{740ABD52-D6E2-401E-A44D-8E8E927CF477}"/>
                      </a:ext>
                    </a:extLst>
                  </p:cNvPr>
                  <p:cNvSpPr/>
                  <p:nvPr/>
                </p:nvSpPr>
                <p:spPr>
                  <a:xfrm>
                    <a:off x="4653128"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3" name="Oval 132">
                    <a:extLst>
                      <a:ext uri="{FF2B5EF4-FFF2-40B4-BE49-F238E27FC236}">
                        <a16:creationId xmlns:a16="http://schemas.microsoft.com/office/drawing/2014/main" id="{0419DA1B-0229-4B47-9970-2D72DC99AF02}"/>
                      </a:ext>
                    </a:extLst>
                  </p:cNvPr>
                  <p:cNvSpPr/>
                  <p:nvPr/>
                </p:nvSpPr>
                <p:spPr>
                  <a:xfrm>
                    <a:off x="4761128"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4" name="Freeform 219">
                    <a:extLst>
                      <a:ext uri="{FF2B5EF4-FFF2-40B4-BE49-F238E27FC236}">
                        <a16:creationId xmlns:a16="http://schemas.microsoft.com/office/drawing/2014/main" id="{877A0935-4A11-40CB-8898-BC221B145AF7}"/>
                      </a:ext>
                    </a:extLst>
                  </p:cNvPr>
                  <p:cNvSpPr/>
                  <p:nvPr/>
                </p:nvSpPr>
                <p:spPr>
                  <a:xfrm>
                    <a:off x="4210295" y="3950109"/>
                    <a:ext cx="45719"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5" name="Freeform 220">
                    <a:extLst>
                      <a:ext uri="{FF2B5EF4-FFF2-40B4-BE49-F238E27FC236}">
                        <a16:creationId xmlns:a16="http://schemas.microsoft.com/office/drawing/2014/main" id="{E14CDB75-7DDB-46B3-B2BA-6DCEB4C3A466}"/>
                      </a:ext>
                    </a:extLst>
                  </p:cNvPr>
                  <p:cNvSpPr/>
                  <p:nvPr/>
                </p:nvSpPr>
                <p:spPr>
                  <a:xfrm>
                    <a:off x="4268750"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6" name="Freeform 221">
                    <a:extLst>
                      <a:ext uri="{FF2B5EF4-FFF2-40B4-BE49-F238E27FC236}">
                        <a16:creationId xmlns:a16="http://schemas.microsoft.com/office/drawing/2014/main" id="{668BD097-37F3-470C-BAC2-4E1A13F67DA3}"/>
                      </a:ext>
                    </a:extLst>
                  </p:cNvPr>
                  <p:cNvSpPr/>
                  <p:nvPr/>
                </p:nvSpPr>
                <p:spPr>
                  <a:xfrm>
                    <a:off x="4457462"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7" name="Freeform 222">
                    <a:extLst>
                      <a:ext uri="{FF2B5EF4-FFF2-40B4-BE49-F238E27FC236}">
                        <a16:creationId xmlns:a16="http://schemas.microsoft.com/office/drawing/2014/main" id="{8DB9FBFE-84F1-4560-A6DD-D98C5DA88BFC}"/>
                      </a:ext>
                    </a:extLst>
                  </p:cNvPr>
                  <p:cNvSpPr/>
                  <p:nvPr/>
                </p:nvSpPr>
                <p:spPr>
                  <a:xfrm>
                    <a:off x="4487601" y="3968104"/>
                    <a:ext cx="45719"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8" name="Freeform 223">
                    <a:extLst>
                      <a:ext uri="{FF2B5EF4-FFF2-40B4-BE49-F238E27FC236}">
                        <a16:creationId xmlns:a16="http://schemas.microsoft.com/office/drawing/2014/main" id="{097DBAAA-1ED2-4E5C-B41B-A727D31302CE}"/>
                      </a:ext>
                    </a:extLst>
                  </p:cNvPr>
                  <p:cNvSpPr/>
                  <p:nvPr/>
                </p:nvSpPr>
                <p:spPr>
                  <a:xfrm>
                    <a:off x="4568455" y="3964769"/>
                    <a:ext cx="31771"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9" name="Freeform 224">
                    <a:extLst>
                      <a:ext uri="{FF2B5EF4-FFF2-40B4-BE49-F238E27FC236}">
                        <a16:creationId xmlns:a16="http://schemas.microsoft.com/office/drawing/2014/main" id="{A17E7907-A200-46C2-BBCE-3B62F810EA0B}"/>
                      </a:ext>
                    </a:extLst>
                  </p:cNvPr>
                  <p:cNvSpPr/>
                  <p:nvPr/>
                </p:nvSpPr>
                <p:spPr>
                  <a:xfrm>
                    <a:off x="4602564" y="3964769"/>
                    <a:ext cx="40005" cy="188119"/>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0" name="Freeform 225">
                    <a:extLst>
                      <a:ext uri="{FF2B5EF4-FFF2-40B4-BE49-F238E27FC236}">
                        <a16:creationId xmlns:a16="http://schemas.microsoft.com/office/drawing/2014/main" id="{7859FD4B-327C-4060-ACFE-7D68556584C2}"/>
                      </a:ext>
                    </a:extLst>
                  </p:cNvPr>
                  <p:cNvSpPr/>
                  <p:nvPr/>
                </p:nvSpPr>
                <p:spPr>
                  <a:xfrm>
                    <a:off x="4686081"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1" name="Freeform 226">
                    <a:extLst>
                      <a:ext uri="{FF2B5EF4-FFF2-40B4-BE49-F238E27FC236}">
                        <a16:creationId xmlns:a16="http://schemas.microsoft.com/office/drawing/2014/main" id="{36E73D9E-B6B9-4F71-BD6A-7D49BE8B930D}"/>
                      </a:ext>
                    </a:extLst>
                  </p:cNvPr>
                  <p:cNvSpPr/>
                  <p:nvPr/>
                </p:nvSpPr>
                <p:spPr>
                  <a:xfrm>
                    <a:off x="4720490" y="3968103"/>
                    <a:ext cx="3048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2" name="Freeform 227">
                    <a:extLst>
                      <a:ext uri="{FF2B5EF4-FFF2-40B4-BE49-F238E27FC236}">
                        <a16:creationId xmlns:a16="http://schemas.microsoft.com/office/drawing/2014/main" id="{D5051864-8B73-44F8-865F-7A39AF9D4091}"/>
                      </a:ext>
                    </a:extLst>
                  </p:cNvPr>
                  <p:cNvSpPr/>
                  <p:nvPr/>
                </p:nvSpPr>
                <p:spPr>
                  <a:xfrm>
                    <a:off x="4794496" y="3961992"/>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3" name="Freeform 228">
                    <a:extLst>
                      <a:ext uri="{FF2B5EF4-FFF2-40B4-BE49-F238E27FC236}">
                        <a16:creationId xmlns:a16="http://schemas.microsoft.com/office/drawing/2014/main" id="{366A35C3-FCF3-4A5E-B269-3381A8F23FE2}"/>
                      </a:ext>
                    </a:extLst>
                  </p:cNvPr>
                  <p:cNvSpPr/>
                  <p:nvPr/>
                </p:nvSpPr>
                <p:spPr>
                  <a:xfrm>
                    <a:off x="4823409" y="3973054"/>
                    <a:ext cx="45719"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4" name="Freeform 229">
                    <a:extLst>
                      <a:ext uri="{FF2B5EF4-FFF2-40B4-BE49-F238E27FC236}">
                        <a16:creationId xmlns:a16="http://schemas.microsoft.com/office/drawing/2014/main" id="{DF9F68D8-2A44-4B7C-9529-8D167670DAAD}"/>
                      </a:ext>
                    </a:extLst>
                  </p:cNvPr>
                  <p:cNvSpPr/>
                  <p:nvPr/>
                </p:nvSpPr>
                <p:spPr>
                  <a:xfrm>
                    <a:off x="4992288" y="3934111"/>
                    <a:ext cx="45719"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5" name="Oval 144">
                    <a:extLst>
                      <a:ext uri="{FF2B5EF4-FFF2-40B4-BE49-F238E27FC236}">
                        <a16:creationId xmlns:a16="http://schemas.microsoft.com/office/drawing/2014/main" id="{4AF97E17-A3D0-40AB-9C65-56F697EDDE3D}"/>
                      </a:ext>
                    </a:extLst>
                  </p:cNvPr>
                  <p:cNvSpPr/>
                  <p:nvPr/>
                </p:nvSpPr>
                <p:spPr>
                  <a:xfrm>
                    <a:off x="4992288"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6" name="Freeform 231">
                    <a:extLst>
                      <a:ext uri="{FF2B5EF4-FFF2-40B4-BE49-F238E27FC236}">
                        <a16:creationId xmlns:a16="http://schemas.microsoft.com/office/drawing/2014/main" id="{A7BB7853-47E1-4813-8D59-8F2DB5BDB570}"/>
                      </a:ext>
                    </a:extLst>
                  </p:cNvPr>
                  <p:cNvSpPr/>
                  <p:nvPr/>
                </p:nvSpPr>
                <p:spPr>
                  <a:xfrm>
                    <a:off x="5054029" y="3973054"/>
                    <a:ext cx="46259"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7" name="Oval 146">
                    <a:extLst>
                      <a:ext uri="{FF2B5EF4-FFF2-40B4-BE49-F238E27FC236}">
                        <a16:creationId xmlns:a16="http://schemas.microsoft.com/office/drawing/2014/main" id="{8EBCB3E2-ADD3-484E-A597-2DD32AD8B24F}"/>
                      </a:ext>
                    </a:extLst>
                  </p:cNvPr>
                  <p:cNvSpPr/>
                  <p:nvPr/>
                </p:nvSpPr>
                <p:spPr>
                  <a:xfrm>
                    <a:off x="5107594"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8" name="Oval 147">
                    <a:extLst>
                      <a:ext uri="{FF2B5EF4-FFF2-40B4-BE49-F238E27FC236}">
                        <a16:creationId xmlns:a16="http://schemas.microsoft.com/office/drawing/2014/main" id="{B6048E70-9BA6-4BD7-A404-8DF66BCF675A}"/>
                      </a:ext>
                    </a:extLst>
                  </p:cNvPr>
                  <p:cNvSpPr/>
                  <p:nvPr/>
                </p:nvSpPr>
                <p:spPr>
                  <a:xfrm>
                    <a:off x="4884288"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9" name="Oval 148">
                    <a:extLst>
                      <a:ext uri="{FF2B5EF4-FFF2-40B4-BE49-F238E27FC236}">
                        <a16:creationId xmlns:a16="http://schemas.microsoft.com/office/drawing/2014/main" id="{0D5C085C-828B-42E9-910F-CE863476771D}"/>
                      </a:ext>
                    </a:extLst>
                  </p:cNvPr>
                  <p:cNvSpPr/>
                  <p:nvPr/>
                </p:nvSpPr>
                <p:spPr>
                  <a:xfrm>
                    <a:off x="5219737"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0" name="Oval 149">
                    <a:extLst>
                      <a:ext uri="{FF2B5EF4-FFF2-40B4-BE49-F238E27FC236}">
                        <a16:creationId xmlns:a16="http://schemas.microsoft.com/office/drawing/2014/main" id="{DCE0EAC8-E3C6-440A-9B60-A85BB7B5B55C}"/>
                      </a:ext>
                    </a:extLst>
                  </p:cNvPr>
                  <p:cNvSpPr/>
                  <p:nvPr/>
                </p:nvSpPr>
                <p:spPr>
                  <a:xfrm>
                    <a:off x="5335402"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1" name="Oval 150">
                    <a:extLst>
                      <a:ext uri="{FF2B5EF4-FFF2-40B4-BE49-F238E27FC236}">
                        <a16:creationId xmlns:a16="http://schemas.microsoft.com/office/drawing/2014/main" id="{01529763-2DAE-4E5F-9AD8-99F9E7B3D698}"/>
                      </a:ext>
                    </a:extLst>
                  </p:cNvPr>
                  <p:cNvSpPr/>
                  <p:nvPr/>
                </p:nvSpPr>
                <p:spPr>
                  <a:xfrm>
                    <a:off x="5443402"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2" name="Freeform 237">
                    <a:extLst>
                      <a:ext uri="{FF2B5EF4-FFF2-40B4-BE49-F238E27FC236}">
                        <a16:creationId xmlns:a16="http://schemas.microsoft.com/office/drawing/2014/main" id="{C1E8C124-7157-474B-BB78-647E3DA63053}"/>
                      </a:ext>
                    </a:extLst>
                  </p:cNvPr>
                  <p:cNvSpPr/>
                  <p:nvPr/>
                </p:nvSpPr>
                <p:spPr>
                  <a:xfrm>
                    <a:off x="4892569" y="3950109"/>
                    <a:ext cx="45719"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3" name="Freeform 238">
                    <a:extLst>
                      <a:ext uri="{FF2B5EF4-FFF2-40B4-BE49-F238E27FC236}">
                        <a16:creationId xmlns:a16="http://schemas.microsoft.com/office/drawing/2014/main" id="{D933256A-2537-4293-AC11-68488487E94D}"/>
                      </a:ext>
                    </a:extLst>
                  </p:cNvPr>
                  <p:cNvSpPr/>
                  <p:nvPr/>
                </p:nvSpPr>
                <p:spPr>
                  <a:xfrm>
                    <a:off x="4951024"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4" name="Freeform 239">
                    <a:extLst>
                      <a:ext uri="{FF2B5EF4-FFF2-40B4-BE49-F238E27FC236}">
                        <a16:creationId xmlns:a16="http://schemas.microsoft.com/office/drawing/2014/main" id="{EDBA0F04-CE4E-47BD-B059-B5E0F73401BC}"/>
                      </a:ext>
                    </a:extLst>
                  </p:cNvPr>
                  <p:cNvSpPr/>
                  <p:nvPr/>
                </p:nvSpPr>
                <p:spPr>
                  <a:xfrm>
                    <a:off x="5139736"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5" name="Freeform 240">
                    <a:extLst>
                      <a:ext uri="{FF2B5EF4-FFF2-40B4-BE49-F238E27FC236}">
                        <a16:creationId xmlns:a16="http://schemas.microsoft.com/office/drawing/2014/main" id="{2DCF940D-90F8-4316-93E6-01DA00ECE22E}"/>
                      </a:ext>
                    </a:extLst>
                  </p:cNvPr>
                  <p:cNvSpPr/>
                  <p:nvPr/>
                </p:nvSpPr>
                <p:spPr>
                  <a:xfrm>
                    <a:off x="5169875" y="3968104"/>
                    <a:ext cx="45719"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6" name="Freeform 241">
                    <a:extLst>
                      <a:ext uri="{FF2B5EF4-FFF2-40B4-BE49-F238E27FC236}">
                        <a16:creationId xmlns:a16="http://schemas.microsoft.com/office/drawing/2014/main" id="{8FF2E755-6CC3-4F47-A53E-B23968BE6DC0}"/>
                      </a:ext>
                    </a:extLst>
                  </p:cNvPr>
                  <p:cNvSpPr/>
                  <p:nvPr/>
                </p:nvSpPr>
                <p:spPr>
                  <a:xfrm>
                    <a:off x="5250729" y="3964769"/>
                    <a:ext cx="31771"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7" name="Freeform 242">
                    <a:extLst>
                      <a:ext uri="{FF2B5EF4-FFF2-40B4-BE49-F238E27FC236}">
                        <a16:creationId xmlns:a16="http://schemas.microsoft.com/office/drawing/2014/main" id="{6EF4BD64-18AE-41CC-985A-403D61895860}"/>
                      </a:ext>
                    </a:extLst>
                  </p:cNvPr>
                  <p:cNvSpPr/>
                  <p:nvPr/>
                </p:nvSpPr>
                <p:spPr>
                  <a:xfrm>
                    <a:off x="5284838" y="3964769"/>
                    <a:ext cx="40005" cy="188119"/>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8" name="Freeform 243">
                    <a:extLst>
                      <a:ext uri="{FF2B5EF4-FFF2-40B4-BE49-F238E27FC236}">
                        <a16:creationId xmlns:a16="http://schemas.microsoft.com/office/drawing/2014/main" id="{95A9A315-7C21-4EB8-996E-2939D3B02DAE}"/>
                      </a:ext>
                    </a:extLst>
                  </p:cNvPr>
                  <p:cNvSpPr/>
                  <p:nvPr/>
                </p:nvSpPr>
                <p:spPr>
                  <a:xfrm>
                    <a:off x="5368355"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9" name="Freeform 244">
                    <a:extLst>
                      <a:ext uri="{FF2B5EF4-FFF2-40B4-BE49-F238E27FC236}">
                        <a16:creationId xmlns:a16="http://schemas.microsoft.com/office/drawing/2014/main" id="{9A960A74-3D90-42A2-9D42-D08EE71881A4}"/>
                      </a:ext>
                    </a:extLst>
                  </p:cNvPr>
                  <p:cNvSpPr/>
                  <p:nvPr/>
                </p:nvSpPr>
                <p:spPr>
                  <a:xfrm>
                    <a:off x="5402764" y="3968103"/>
                    <a:ext cx="3048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0" name="Freeform 245">
                    <a:extLst>
                      <a:ext uri="{FF2B5EF4-FFF2-40B4-BE49-F238E27FC236}">
                        <a16:creationId xmlns:a16="http://schemas.microsoft.com/office/drawing/2014/main" id="{46975F0F-902C-4064-A8E4-1D762060DE44}"/>
                      </a:ext>
                    </a:extLst>
                  </p:cNvPr>
                  <p:cNvSpPr/>
                  <p:nvPr/>
                </p:nvSpPr>
                <p:spPr>
                  <a:xfrm>
                    <a:off x="5476770" y="3961992"/>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1" name="Freeform 246">
                    <a:extLst>
                      <a:ext uri="{FF2B5EF4-FFF2-40B4-BE49-F238E27FC236}">
                        <a16:creationId xmlns:a16="http://schemas.microsoft.com/office/drawing/2014/main" id="{507A9FEC-0BF9-474F-A796-45A27006E327}"/>
                      </a:ext>
                    </a:extLst>
                  </p:cNvPr>
                  <p:cNvSpPr/>
                  <p:nvPr/>
                </p:nvSpPr>
                <p:spPr>
                  <a:xfrm>
                    <a:off x="5505683" y="3973054"/>
                    <a:ext cx="45719"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grpSp>
          </p:grpSp>
          <p:sp>
            <p:nvSpPr>
              <p:cNvPr id="10" name="Freeform 95">
                <a:extLst>
                  <a:ext uri="{FF2B5EF4-FFF2-40B4-BE49-F238E27FC236}">
                    <a16:creationId xmlns:a16="http://schemas.microsoft.com/office/drawing/2014/main" id="{158C854A-EFCD-4B87-ACF9-9BD2C8297258}"/>
                  </a:ext>
                </a:extLst>
              </p:cNvPr>
              <p:cNvSpPr/>
              <p:nvPr/>
            </p:nvSpPr>
            <p:spPr>
              <a:xfrm>
                <a:off x="1907303" y="1614093"/>
                <a:ext cx="29766" cy="148401"/>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 name="Oval 10">
                <a:extLst>
                  <a:ext uri="{FF2B5EF4-FFF2-40B4-BE49-F238E27FC236}">
                    <a16:creationId xmlns:a16="http://schemas.microsoft.com/office/drawing/2014/main" id="{5CD63B84-EF50-4433-A573-ECA41A0AC368}"/>
                  </a:ext>
                </a:extLst>
              </p:cNvPr>
              <p:cNvSpPr/>
              <p:nvPr/>
            </p:nvSpPr>
            <p:spPr>
              <a:xfrm>
                <a:off x="1907303"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 name="Freeform 97">
                <a:extLst>
                  <a:ext uri="{FF2B5EF4-FFF2-40B4-BE49-F238E27FC236}">
                    <a16:creationId xmlns:a16="http://schemas.microsoft.com/office/drawing/2014/main" id="{D84235DF-2E30-424C-BFB6-3B5B57072D60}"/>
                  </a:ext>
                </a:extLst>
              </p:cNvPr>
              <p:cNvSpPr/>
              <p:nvPr/>
            </p:nvSpPr>
            <p:spPr>
              <a:xfrm>
                <a:off x="1947500" y="1640849"/>
                <a:ext cx="30117" cy="12355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 name="Oval 12">
                <a:extLst>
                  <a:ext uri="{FF2B5EF4-FFF2-40B4-BE49-F238E27FC236}">
                    <a16:creationId xmlns:a16="http://schemas.microsoft.com/office/drawing/2014/main" id="{0EB535B1-983A-423F-BCF3-E3ED5AC89617}"/>
                  </a:ext>
                </a:extLst>
              </p:cNvPr>
              <p:cNvSpPr/>
              <p:nvPr/>
            </p:nvSpPr>
            <p:spPr>
              <a:xfrm>
                <a:off x="1982373"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 name="Oval 13">
                <a:extLst>
                  <a:ext uri="{FF2B5EF4-FFF2-40B4-BE49-F238E27FC236}">
                    <a16:creationId xmlns:a16="http://schemas.microsoft.com/office/drawing/2014/main" id="{C88E5598-B89D-41EC-95F4-549BD75CE8D4}"/>
                  </a:ext>
                </a:extLst>
              </p:cNvPr>
              <p:cNvSpPr/>
              <p:nvPr/>
            </p:nvSpPr>
            <p:spPr>
              <a:xfrm>
                <a:off x="1836988"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 name="Oval 14">
                <a:extLst>
                  <a:ext uri="{FF2B5EF4-FFF2-40B4-BE49-F238E27FC236}">
                    <a16:creationId xmlns:a16="http://schemas.microsoft.com/office/drawing/2014/main" id="{537B4EB0-6525-45A7-85B0-FEDB05066532}"/>
                  </a:ext>
                </a:extLst>
              </p:cNvPr>
              <p:cNvSpPr/>
              <p:nvPr/>
            </p:nvSpPr>
            <p:spPr>
              <a:xfrm>
                <a:off x="2055384"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 name="Oval 15">
                <a:extLst>
                  <a:ext uri="{FF2B5EF4-FFF2-40B4-BE49-F238E27FC236}">
                    <a16:creationId xmlns:a16="http://schemas.microsoft.com/office/drawing/2014/main" id="{B5EE5100-5144-417A-938B-852D689E5DB9}"/>
                  </a:ext>
                </a:extLst>
              </p:cNvPr>
              <p:cNvSpPr/>
              <p:nvPr/>
            </p:nvSpPr>
            <p:spPr>
              <a:xfrm>
                <a:off x="2130688"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 name="Oval 16">
                <a:extLst>
                  <a:ext uri="{FF2B5EF4-FFF2-40B4-BE49-F238E27FC236}">
                    <a16:creationId xmlns:a16="http://schemas.microsoft.com/office/drawing/2014/main" id="{B17583B1-D061-40EC-978E-BD7392819B42}"/>
                  </a:ext>
                </a:extLst>
              </p:cNvPr>
              <p:cNvSpPr/>
              <p:nvPr/>
            </p:nvSpPr>
            <p:spPr>
              <a:xfrm>
                <a:off x="2201002"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 name="Freeform 103">
                <a:extLst>
                  <a:ext uri="{FF2B5EF4-FFF2-40B4-BE49-F238E27FC236}">
                    <a16:creationId xmlns:a16="http://schemas.microsoft.com/office/drawing/2014/main" id="{56EAEE19-4B02-4B50-BADC-490350EF7D01}"/>
                  </a:ext>
                </a:extLst>
              </p:cNvPr>
              <p:cNvSpPr/>
              <p:nvPr/>
            </p:nvSpPr>
            <p:spPr>
              <a:xfrm>
                <a:off x="1842378" y="1625085"/>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 name="Freeform 104">
                <a:extLst>
                  <a:ext uri="{FF2B5EF4-FFF2-40B4-BE49-F238E27FC236}">
                    <a16:creationId xmlns:a16="http://schemas.microsoft.com/office/drawing/2014/main" id="{2C56E309-4C86-477D-8331-0CE2E8C9D9D7}"/>
                  </a:ext>
                </a:extLst>
              </p:cNvPr>
              <p:cNvSpPr/>
              <p:nvPr/>
            </p:nvSpPr>
            <p:spPr>
              <a:xfrm>
                <a:off x="1880437"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 name="Freeform 105">
                <a:extLst>
                  <a:ext uri="{FF2B5EF4-FFF2-40B4-BE49-F238E27FC236}">
                    <a16:creationId xmlns:a16="http://schemas.microsoft.com/office/drawing/2014/main" id="{5E06DCFF-1A84-493B-BBFE-50B45F504658}"/>
                  </a:ext>
                </a:extLst>
              </p:cNvPr>
              <p:cNvSpPr/>
              <p:nvPr/>
            </p:nvSpPr>
            <p:spPr>
              <a:xfrm>
                <a:off x="2003300"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 name="Freeform 106">
                <a:extLst>
                  <a:ext uri="{FF2B5EF4-FFF2-40B4-BE49-F238E27FC236}">
                    <a16:creationId xmlns:a16="http://schemas.microsoft.com/office/drawing/2014/main" id="{6B3C8128-5BF9-4B5B-A381-0B738FF623FA}"/>
                  </a:ext>
                </a:extLst>
              </p:cNvPr>
              <p:cNvSpPr/>
              <p:nvPr/>
            </p:nvSpPr>
            <p:spPr>
              <a:xfrm>
                <a:off x="2022923" y="1637448"/>
                <a:ext cx="29766" cy="12695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 name="Freeform 107">
                <a:extLst>
                  <a:ext uri="{FF2B5EF4-FFF2-40B4-BE49-F238E27FC236}">
                    <a16:creationId xmlns:a16="http://schemas.microsoft.com/office/drawing/2014/main" id="{EA577B31-5CE9-4157-AEAB-554EFD2827FE}"/>
                  </a:ext>
                </a:extLst>
              </p:cNvPr>
              <p:cNvSpPr/>
              <p:nvPr/>
            </p:nvSpPr>
            <p:spPr>
              <a:xfrm>
                <a:off x="2075564" y="1635157"/>
                <a:ext cx="20685" cy="12355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 name="Freeform 108">
                <a:extLst>
                  <a:ext uri="{FF2B5EF4-FFF2-40B4-BE49-F238E27FC236}">
                    <a16:creationId xmlns:a16="http://schemas.microsoft.com/office/drawing/2014/main" id="{6DE0B5A5-4416-4C06-B265-BBAAA256B329}"/>
                  </a:ext>
                </a:extLst>
              </p:cNvPr>
              <p:cNvSpPr/>
              <p:nvPr/>
            </p:nvSpPr>
            <p:spPr>
              <a:xfrm>
                <a:off x="2097770" y="1635157"/>
                <a:ext cx="26045" cy="129246"/>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4" name="Freeform 109">
                <a:extLst>
                  <a:ext uri="{FF2B5EF4-FFF2-40B4-BE49-F238E27FC236}">
                    <a16:creationId xmlns:a16="http://schemas.microsoft.com/office/drawing/2014/main" id="{F3C80447-B7E0-462B-AFBA-E668D6075F04}"/>
                  </a:ext>
                </a:extLst>
              </p:cNvPr>
              <p:cNvSpPr/>
              <p:nvPr/>
            </p:nvSpPr>
            <p:spPr>
              <a:xfrm>
                <a:off x="2152144"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5" name="Freeform 110">
                <a:extLst>
                  <a:ext uri="{FF2B5EF4-FFF2-40B4-BE49-F238E27FC236}">
                    <a16:creationId xmlns:a16="http://schemas.microsoft.com/office/drawing/2014/main" id="{12A3A2D3-B0D4-4A89-9BAE-C8A3D2409C48}"/>
                  </a:ext>
                </a:extLst>
              </p:cNvPr>
              <p:cNvSpPr/>
              <p:nvPr/>
            </p:nvSpPr>
            <p:spPr>
              <a:xfrm>
                <a:off x="2174545" y="1637447"/>
                <a:ext cx="19844" cy="12695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6" name="Freeform 111">
                <a:extLst>
                  <a:ext uri="{FF2B5EF4-FFF2-40B4-BE49-F238E27FC236}">
                    <a16:creationId xmlns:a16="http://schemas.microsoft.com/office/drawing/2014/main" id="{BF2B32D1-D94F-48AA-8E9A-8B3A16C4D687}"/>
                  </a:ext>
                </a:extLst>
              </p:cNvPr>
              <p:cNvSpPr/>
              <p:nvPr/>
            </p:nvSpPr>
            <p:spPr>
              <a:xfrm>
                <a:off x="2222728" y="1633249"/>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7" name="Freeform 112">
                <a:extLst>
                  <a:ext uri="{FF2B5EF4-FFF2-40B4-BE49-F238E27FC236}">
                    <a16:creationId xmlns:a16="http://schemas.microsoft.com/office/drawing/2014/main" id="{928221F4-1C36-4C9F-A92A-6A388B88A7CC}"/>
                  </a:ext>
                </a:extLst>
              </p:cNvPr>
              <p:cNvSpPr/>
              <p:nvPr/>
            </p:nvSpPr>
            <p:spPr>
              <a:xfrm>
                <a:off x="2241552" y="1640849"/>
                <a:ext cx="29766" cy="1235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8" name="Freeform 113">
                <a:extLst>
                  <a:ext uri="{FF2B5EF4-FFF2-40B4-BE49-F238E27FC236}">
                    <a16:creationId xmlns:a16="http://schemas.microsoft.com/office/drawing/2014/main" id="{E4AEB04E-4FAA-48D2-8294-332EF6E3D584}"/>
                  </a:ext>
                </a:extLst>
              </p:cNvPr>
              <p:cNvSpPr/>
              <p:nvPr/>
            </p:nvSpPr>
            <p:spPr>
              <a:xfrm>
                <a:off x="2353314" y="1614093"/>
                <a:ext cx="29766" cy="148401"/>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9" name="Oval 28">
                <a:extLst>
                  <a:ext uri="{FF2B5EF4-FFF2-40B4-BE49-F238E27FC236}">
                    <a16:creationId xmlns:a16="http://schemas.microsoft.com/office/drawing/2014/main" id="{CC69D461-20FF-4ACB-A14E-D5D57B6118F4}"/>
                  </a:ext>
                </a:extLst>
              </p:cNvPr>
              <p:cNvSpPr/>
              <p:nvPr/>
            </p:nvSpPr>
            <p:spPr>
              <a:xfrm>
                <a:off x="2353314"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30" name="Freeform 115">
                <a:extLst>
                  <a:ext uri="{FF2B5EF4-FFF2-40B4-BE49-F238E27FC236}">
                    <a16:creationId xmlns:a16="http://schemas.microsoft.com/office/drawing/2014/main" id="{4543A531-12EB-4DFF-8532-87610EDEA3DE}"/>
                  </a:ext>
                </a:extLst>
              </p:cNvPr>
              <p:cNvSpPr/>
              <p:nvPr/>
            </p:nvSpPr>
            <p:spPr>
              <a:xfrm>
                <a:off x="2393510" y="1640849"/>
                <a:ext cx="30117" cy="12355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31" name="Oval 30">
                <a:extLst>
                  <a:ext uri="{FF2B5EF4-FFF2-40B4-BE49-F238E27FC236}">
                    <a16:creationId xmlns:a16="http://schemas.microsoft.com/office/drawing/2014/main" id="{2F1B10F0-4BEF-46E0-ACC6-4484B3F4F019}"/>
                  </a:ext>
                </a:extLst>
              </p:cNvPr>
              <p:cNvSpPr/>
              <p:nvPr/>
            </p:nvSpPr>
            <p:spPr>
              <a:xfrm>
                <a:off x="2428384"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32" name="Oval 31">
                <a:extLst>
                  <a:ext uri="{FF2B5EF4-FFF2-40B4-BE49-F238E27FC236}">
                    <a16:creationId xmlns:a16="http://schemas.microsoft.com/office/drawing/2014/main" id="{AE609869-DB8B-450D-A0A7-4C8F8D9B85D6}"/>
                  </a:ext>
                </a:extLst>
              </p:cNvPr>
              <p:cNvSpPr/>
              <p:nvPr/>
            </p:nvSpPr>
            <p:spPr>
              <a:xfrm>
                <a:off x="2283000"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33" name="Oval 32">
                <a:extLst>
                  <a:ext uri="{FF2B5EF4-FFF2-40B4-BE49-F238E27FC236}">
                    <a16:creationId xmlns:a16="http://schemas.microsoft.com/office/drawing/2014/main" id="{DFBC4D62-4684-4CB1-A606-243EF4CE4FFE}"/>
                  </a:ext>
                </a:extLst>
              </p:cNvPr>
              <p:cNvSpPr/>
              <p:nvPr/>
            </p:nvSpPr>
            <p:spPr>
              <a:xfrm>
                <a:off x="2501395"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34" name="Oval 33">
                <a:extLst>
                  <a:ext uri="{FF2B5EF4-FFF2-40B4-BE49-F238E27FC236}">
                    <a16:creationId xmlns:a16="http://schemas.microsoft.com/office/drawing/2014/main" id="{EDD0F755-25FF-420D-9FCC-C2642841904D}"/>
                  </a:ext>
                </a:extLst>
              </p:cNvPr>
              <p:cNvSpPr/>
              <p:nvPr/>
            </p:nvSpPr>
            <p:spPr>
              <a:xfrm>
                <a:off x="2576700"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35" name="Oval 34">
                <a:extLst>
                  <a:ext uri="{FF2B5EF4-FFF2-40B4-BE49-F238E27FC236}">
                    <a16:creationId xmlns:a16="http://schemas.microsoft.com/office/drawing/2014/main" id="{9FA9D02E-FB7F-434E-9C75-453C4AA4578A}"/>
                  </a:ext>
                </a:extLst>
              </p:cNvPr>
              <p:cNvSpPr/>
              <p:nvPr/>
            </p:nvSpPr>
            <p:spPr>
              <a:xfrm>
                <a:off x="2647014"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36" name="Freeform 121">
                <a:extLst>
                  <a:ext uri="{FF2B5EF4-FFF2-40B4-BE49-F238E27FC236}">
                    <a16:creationId xmlns:a16="http://schemas.microsoft.com/office/drawing/2014/main" id="{404338BA-40B8-4F41-BE08-85169DC658BC}"/>
                  </a:ext>
                </a:extLst>
              </p:cNvPr>
              <p:cNvSpPr/>
              <p:nvPr/>
            </p:nvSpPr>
            <p:spPr>
              <a:xfrm>
                <a:off x="2288391" y="1625085"/>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37" name="Freeform 122">
                <a:extLst>
                  <a:ext uri="{FF2B5EF4-FFF2-40B4-BE49-F238E27FC236}">
                    <a16:creationId xmlns:a16="http://schemas.microsoft.com/office/drawing/2014/main" id="{27DE7D2F-92DC-4328-AAA4-47E4851B0B6D}"/>
                  </a:ext>
                </a:extLst>
              </p:cNvPr>
              <p:cNvSpPr/>
              <p:nvPr/>
            </p:nvSpPr>
            <p:spPr>
              <a:xfrm>
                <a:off x="2326449"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38" name="Freeform 123">
                <a:extLst>
                  <a:ext uri="{FF2B5EF4-FFF2-40B4-BE49-F238E27FC236}">
                    <a16:creationId xmlns:a16="http://schemas.microsoft.com/office/drawing/2014/main" id="{F48D3380-6C2D-4015-9FA1-EA90119446C4}"/>
                  </a:ext>
                </a:extLst>
              </p:cNvPr>
              <p:cNvSpPr/>
              <p:nvPr/>
            </p:nvSpPr>
            <p:spPr>
              <a:xfrm>
                <a:off x="2449309"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39" name="Freeform 124">
                <a:extLst>
                  <a:ext uri="{FF2B5EF4-FFF2-40B4-BE49-F238E27FC236}">
                    <a16:creationId xmlns:a16="http://schemas.microsoft.com/office/drawing/2014/main" id="{9A48B842-D79E-4DA7-8A5E-80BA932C1B9C}"/>
                  </a:ext>
                </a:extLst>
              </p:cNvPr>
              <p:cNvSpPr/>
              <p:nvPr/>
            </p:nvSpPr>
            <p:spPr>
              <a:xfrm>
                <a:off x="2468933" y="1637448"/>
                <a:ext cx="29766" cy="12695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40" name="Freeform 125">
                <a:extLst>
                  <a:ext uri="{FF2B5EF4-FFF2-40B4-BE49-F238E27FC236}">
                    <a16:creationId xmlns:a16="http://schemas.microsoft.com/office/drawing/2014/main" id="{B6218E68-2D93-4001-80C4-B7DD75B36E16}"/>
                  </a:ext>
                </a:extLst>
              </p:cNvPr>
              <p:cNvSpPr/>
              <p:nvPr/>
            </p:nvSpPr>
            <p:spPr>
              <a:xfrm>
                <a:off x="2521574" y="1635157"/>
                <a:ext cx="20685" cy="12355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41" name="Freeform 126">
                <a:extLst>
                  <a:ext uri="{FF2B5EF4-FFF2-40B4-BE49-F238E27FC236}">
                    <a16:creationId xmlns:a16="http://schemas.microsoft.com/office/drawing/2014/main" id="{1474AFE0-D4D0-4120-A7B8-95331E9FEEBC}"/>
                  </a:ext>
                </a:extLst>
              </p:cNvPr>
              <p:cNvSpPr/>
              <p:nvPr/>
            </p:nvSpPr>
            <p:spPr>
              <a:xfrm>
                <a:off x="2543781" y="1635157"/>
                <a:ext cx="26045" cy="129246"/>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42" name="Freeform 127">
                <a:extLst>
                  <a:ext uri="{FF2B5EF4-FFF2-40B4-BE49-F238E27FC236}">
                    <a16:creationId xmlns:a16="http://schemas.microsoft.com/office/drawing/2014/main" id="{3F18B742-3130-4959-925E-01F316F8322E}"/>
                  </a:ext>
                </a:extLst>
              </p:cNvPr>
              <p:cNvSpPr/>
              <p:nvPr/>
            </p:nvSpPr>
            <p:spPr>
              <a:xfrm>
                <a:off x="2598155"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43" name="Freeform 128">
                <a:extLst>
                  <a:ext uri="{FF2B5EF4-FFF2-40B4-BE49-F238E27FC236}">
                    <a16:creationId xmlns:a16="http://schemas.microsoft.com/office/drawing/2014/main" id="{2D744930-BCA9-4FB4-BA20-76FB18495F60}"/>
                  </a:ext>
                </a:extLst>
              </p:cNvPr>
              <p:cNvSpPr/>
              <p:nvPr/>
            </p:nvSpPr>
            <p:spPr>
              <a:xfrm>
                <a:off x="2620557" y="1637447"/>
                <a:ext cx="19844" cy="12695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44" name="Freeform 129">
                <a:extLst>
                  <a:ext uri="{FF2B5EF4-FFF2-40B4-BE49-F238E27FC236}">
                    <a16:creationId xmlns:a16="http://schemas.microsoft.com/office/drawing/2014/main" id="{ED03B7FB-956E-4575-865E-CB104204378B}"/>
                  </a:ext>
                </a:extLst>
              </p:cNvPr>
              <p:cNvSpPr/>
              <p:nvPr/>
            </p:nvSpPr>
            <p:spPr>
              <a:xfrm>
                <a:off x="2668740" y="1633249"/>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45" name="Freeform 130">
                <a:extLst>
                  <a:ext uri="{FF2B5EF4-FFF2-40B4-BE49-F238E27FC236}">
                    <a16:creationId xmlns:a16="http://schemas.microsoft.com/office/drawing/2014/main" id="{76683FA7-4C54-4180-9D0E-8AD8A4D625FF}"/>
                  </a:ext>
                </a:extLst>
              </p:cNvPr>
              <p:cNvSpPr/>
              <p:nvPr/>
            </p:nvSpPr>
            <p:spPr>
              <a:xfrm>
                <a:off x="2687564" y="1640849"/>
                <a:ext cx="29766" cy="1235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46" name="Oval 45">
                <a:extLst>
                  <a:ext uri="{FF2B5EF4-FFF2-40B4-BE49-F238E27FC236}">
                    <a16:creationId xmlns:a16="http://schemas.microsoft.com/office/drawing/2014/main" id="{E722F830-D208-40EF-8F42-EB07F929BE49}"/>
                  </a:ext>
                </a:extLst>
              </p:cNvPr>
              <p:cNvSpPr/>
              <p:nvPr/>
            </p:nvSpPr>
            <p:spPr>
              <a:xfrm>
                <a:off x="2719443"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47" name="Freeform 132">
                <a:extLst>
                  <a:ext uri="{FF2B5EF4-FFF2-40B4-BE49-F238E27FC236}">
                    <a16:creationId xmlns:a16="http://schemas.microsoft.com/office/drawing/2014/main" id="{37D4845B-4A89-4C51-B4D0-51C1D935B71D}"/>
                  </a:ext>
                </a:extLst>
              </p:cNvPr>
              <p:cNvSpPr/>
              <p:nvPr/>
            </p:nvSpPr>
            <p:spPr>
              <a:xfrm>
                <a:off x="2724835" y="1625085"/>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48" name="Freeform 133">
                <a:extLst>
                  <a:ext uri="{FF2B5EF4-FFF2-40B4-BE49-F238E27FC236}">
                    <a16:creationId xmlns:a16="http://schemas.microsoft.com/office/drawing/2014/main" id="{87192768-E11A-40CF-99EA-614C2C4A5FA1}"/>
                  </a:ext>
                </a:extLst>
              </p:cNvPr>
              <p:cNvSpPr/>
              <p:nvPr/>
            </p:nvSpPr>
            <p:spPr>
              <a:xfrm>
                <a:off x="2762891"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49" name="Freeform 134">
                <a:extLst>
                  <a:ext uri="{FF2B5EF4-FFF2-40B4-BE49-F238E27FC236}">
                    <a16:creationId xmlns:a16="http://schemas.microsoft.com/office/drawing/2014/main" id="{59D4A495-A49E-4002-B9E0-293A34DA9031}"/>
                  </a:ext>
                </a:extLst>
              </p:cNvPr>
              <p:cNvSpPr/>
              <p:nvPr/>
            </p:nvSpPr>
            <p:spPr>
              <a:xfrm flipV="1">
                <a:off x="1907331" y="1782882"/>
                <a:ext cx="29766" cy="148401"/>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50" name="Oval 49">
                <a:extLst>
                  <a:ext uri="{FF2B5EF4-FFF2-40B4-BE49-F238E27FC236}">
                    <a16:creationId xmlns:a16="http://schemas.microsoft.com/office/drawing/2014/main" id="{61962290-EBFD-432A-8B37-C56091C2FC45}"/>
                  </a:ext>
                </a:extLst>
              </p:cNvPr>
              <p:cNvSpPr/>
              <p:nvPr/>
            </p:nvSpPr>
            <p:spPr>
              <a:xfrm flipV="1">
                <a:off x="1907331"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51" name="Freeform 136">
                <a:extLst>
                  <a:ext uri="{FF2B5EF4-FFF2-40B4-BE49-F238E27FC236}">
                    <a16:creationId xmlns:a16="http://schemas.microsoft.com/office/drawing/2014/main" id="{ECB4C986-5824-40A7-BE6A-B7A57B8EC8AC}"/>
                  </a:ext>
                </a:extLst>
              </p:cNvPr>
              <p:cNvSpPr/>
              <p:nvPr/>
            </p:nvSpPr>
            <p:spPr>
              <a:xfrm flipV="1">
                <a:off x="1947528" y="1780974"/>
                <a:ext cx="30118" cy="123553"/>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52" name="Oval 51">
                <a:extLst>
                  <a:ext uri="{FF2B5EF4-FFF2-40B4-BE49-F238E27FC236}">
                    <a16:creationId xmlns:a16="http://schemas.microsoft.com/office/drawing/2014/main" id="{7AB063DE-DA53-4EF2-A8B5-5EC4646652B3}"/>
                  </a:ext>
                </a:extLst>
              </p:cNvPr>
              <p:cNvSpPr/>
              <p:nvPr/>
            </p:nvSpPr>
            <p:spPr>
              <a:xfrm flipV="1">
                <a:off x="1982403"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53" name="Oval 52">
                <a:extLst>
                  <a:ext uri="{FF2B5EF4-FFF2-40B4-BE49-F238E27FC236}">
                    <a16:creationId xmlns:a16="http://schemas.microsoft.com/office/drawing/2014/main" id="{D0395872-CD58-4F62-9F10-BB4620E0661A}"/>
                  </a:ext>
                </a:extLst>
              </p:cNvPr>
              <p:cNvSpPr/>
              <p:nvPr/>
            </p:nvSpPr>
            <p:spPr>
              <a:xfrm flipV="1">
                <a:off x="1837016"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54" name="Oval 53">
                <a:extLst>
                  <a:ext uri="{FF2B5EF4-FFF2-40B4-BE49-F238E27FC236}">
                    <a16:creationId xmlns:a16="http://schemas.microsoft.com/office/drawing/2014/main" id="{9D224E1F-E8D2-4E70-AD4E-4B289C19E770}"/>
                  </a:ext>
                </a:extLst>
              </p:cNvPr>
              <p:cNvSpPr/>
              <p:nvPr/>
            </p:nvSpPr>
            <p:spPr>
              <a:xfrm flipV="1">
                <a:off x="2055415"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55" name="Oval 54">
                <a:extLst>
                  <a:ext uri="{FF2B5EF4-FFF2-40B4-BE49-F238E27FC236}">
                    <a16:creationId xmlns:a16="http://schemas.microsoft.com/office/drawing/2014/main" id="{3927C6A5-DBCE-4660-8C52-77B106827D63}"/>
                  </a:ext>
                </a:extLst>
              </p:cNvPr>
              <p:cNvSpPr/>
              <p:nvPr/>
            </p:nvSpPr>
            <p:spPr>
              <a:xfrm flipV="1">
                <a:off x="2130720"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56" name="Oval 55">
                <a:extLst>
                  <a:ext uri="{FF2B5EF4-FFF2-40B4-BE49-F238E27FC236}">
                    <a16:creationId xmlns:a16="http://schemas.microsoft.com/office/drawing/2014/main" id="{E629D919-9FEC-4547-9924-0356E26E1675}"/>
                  </a:ext>
                </a:extLst>
              </p:cNvPr>
              <p:cNvSpPr/>
              <p:nvPr/>
            </p:nvSpPr>
            <p:spPr>
              <a:xfrm flipV="1">
                <a:off x="2201035"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57" name="Freeform 142">
                <a:extLst>
                  <a:ext uri="{FF2B5EF4-FFF2-40B4-BE49-F238E27FC236}">
                    <a16:creationId xmlns:a16="http://schemas.microsoft.com/office/drawing/2014/main" id="{2D180462-9F77-4D41-BF33-BB40F2AF787E}"/>
                  </a:ext>
                </a:extLst>
              </p:cNvPr>
              <p:cNvSpPr/>
              <p:nvPr/>
            </p:nvSpPr>
            <p:spPr>
              <a:xfrm flipV="1">
                <a:off x="1842407" y="1782883"/>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58" name="Freeform 143">
                <a:extLst>
                  <a:ext uri="{FF2B5EF4-FFF2-40B4-BE49-F238E27FC236}">
                    <a16:creationId xmlns:a16="http://schemas.microsoft.com/office/drawing/2014/main" id="{E3815FB6-5D33-43F9-9D18-F4F365813A96}"/>
                  </a:ext>
                </a:extLst>
              </p:cNvPr>
              <p:cNvSpPr/>
              <p:nvPr/>
            </p:nvSpPr>
            <p:spPr>
              <a:xfrm flipV="1">
                <a:off x="1880465"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59" name="Freeform 144">
                <a:extLst>
                  <a:ext uri="{FF2B5EF4-FFF2-40B4-BE49-F238E27FC236}">
                    <a16:creationId xmlns:a16="http://schemas.microsoft.com/office/drawing/2014/main" id="{6D7825F0-5A00-4FBE-9673-15B89A31B6D9}"/>
                  </a:ext>
                </a:extLst>
              </p:cNvPr>
              <p:cNvSpPr/>
              <p:nvPr/>
            </p:nvSpPr>
            <p:spPr>
              <a:xfrm flipV="1">
                <a:off x="2003329"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60" name="Freeform 145">
                <a:extLst>
                  <a:ext uri="{FF2B5EF4-FFF2-40B4-BE49-F238E27FC236}">
                    <a16:creationId xmlns:a16="http://schemas.microsoft.com/office/drawing/2014/main" id="{F031E22D-3C1C-469E-A114-F5AB561ECFC2}"/>
                  </a:ext>
                </a:extLst>
              </p:cNvPr>
              <p:cNvSpPr/>
              <p:nvPr/>
            </p:nvSpPr>
            <p:spPr>
              <a:xfrm flipV="1">
                <a:off x="2022951" y="1780973"/>
                <a:ext cx="29766" cy="1269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61" name="Freeform 146">
                <a:extLst>
                  <a:ext uri="{FF2B5EF4-FFF2-40B4-BE49-F238E27FC236}">
                    <a16:creationId xmlns:a16="http://schemas.microsoft.com/office/drawing/2014/main" id="{E452632C-B0F1-4128-ABE5-C5A0C34DF96C}"/>
                  </a:ext>
                </a:extLst>
              </p:cNvPr>
              <p:cNvSpPr/>
              <p:nvPr/>
            </p:nvSpPr>
            <p:spPr>
              <a:xfrm flipV="1">
                <a:off x="2075593" y="1786666"/>
                <a:ext cx="20685" cy="123553"/>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62" name="Freeform 147">
                <a:extLst>
                  <a:ext uri="{FF2B5EF4-FFF2-40B4-BE49-F238E27FC236}">
                    <a16:creationId xmlns:a16="http://schemas.microsoft.com/office/drawing/2014/main" id="{A9731F7F-D1AA-4E32-8CC5-C7F6A3495375}"/>
                  </a:ext>
                </a:extLst>
              </p:cNvPr>
              <p:cNvSpPr/>
              <p:nvPr/>
            </p:nvSpPr>
            <p:spPr>
              <a:xfrm flipV="1">
                <a:off x="2097800" y="1780974"/>
                <a:ext cx="26046" cy="129245"/>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63" name="Freeform 148">
                <a:extLst>
                  <a:ext uri="{FF2B5EF4-FFF2-40B4-BE49-F238E27FC236}">
                    <a16:creationId xmlns:a16="http://schemas.microsoft.com/office/drawing/2014/main" id="{A1B49BC5-1460-4C6D-8BAF-BBF1881F7197}"/>
                  </a:ext>
                </a:extLst>
              </p:cNvPr>
              <p:cNvSpPr/>
              <p:nvPr/>
            </p:nvSpPr>
            <p:spPr>
              <a:xfrm flipV="1">
                <a:off x="2152175"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64" name="Freeform 149">
                <a:extLst>
                  <a:ext uri="{FF2B5EF4-FFF2-40B4-BE49-F238E27FC236}">
                    <a16:creationId xmlns:a16="http://schemas.microsoft.com/office/drawing/2014/main" id="{53130200-A150-44D6-90F9-605321E41E9E}"/>
                  </a:ext>
                </a:extLst>
              </p:cNvPr>
              <p:cNvSpPr/>
              <p:nvPr/>
            </p:nvSpPr>
            <p:spPr>
              <a:xfrm flipV="1">
                <a:off x="2174577" y="1780974"/>
                <a:ext cx="19844" cy="1269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65" name="Freeform 150">
                <a:extLst>
                  <a:ext uri="{FF2B5EF4-FFF2-40B4-BE49-F238E27FC236}">
                    <a16:creationId xmlns:a16="http://schemas.microsoft.com/office/drawing/2014/main" id="{700E5B5C-8B62-4DCD-A08D-D1BB972AE190}"/>
                  </a:ext>
                </a:extLst>
              </p:cNvPr>
              <p:cNvSpPr/>
              <p:nvPr/>
            </p:nvSpPr>
            <p:spPr>
              <a:xfrm flipV="1">
                <a:off x="2222760" y="1782882"/>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66" name="Freeform 151">
                <a:extLst>
                  <a:ext uri="{FF2B5EF4-FFF2-40B4-BE49-F238E27FC236}">
                    <a16:creationId xmlns:a16="http://schemas.microsoft.com/office/drawing/2014/main" id="{435821CB-DF80-49F6-9875-785EE618F94F}"/>
                  </a:ext>
                </a:extLst>
              </p:cNvPr>
              <p:cNvSpPr/>
              <p:nvPr/>
            </p:nvSpPr>
            <p:spPr>
              <a:xfrm flipV="1">
                <a:off x="2241584" y="1780973"/>
                <a:ext cx="29766" cy="123554"/>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67" name="Freeform 152">
                <a:extLst>
                  <a:ext uri="{FF2B5EF4-FFF2-40B4-BE49-F238E27FC236}">
                    <a16:creationId xmlns:a16="http://schemas.microsoft.com/office/drawing/2014/main" id="{E7A20AAC-A4FF-4D3B-A329-354ADCC35AB9}"/>
                  </a:ext>
                </a:extLst>
              </p:cNvPr>
              <p:cNvSpPr/>
              <p:nvPr/>
            </p:nvSpPr>
            <p:spPr>
              <a:xfrm flipV="1">
                <a:off x="2353347" y="1782882"/>
                <a:ext cx="29766" cy="148401"/>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68" name="Oval 67">
                <a:extLst>
                  <a:ext uri="{FF2B5EF4-FFF2-40B4-BE49-F238E27FC236}">
                    <a16:creationId xmlns:a16="http://schemas.microsoft.com/office/drawing/2014/main" id="{15775CDE-D9A9-4080-AB8F-736964B094F4}"/>
                  </a:ext>
                </a:extLst>
              </p:cNvPr>
              <p:cNvSpPr/>
              <p:nvPr/>
            </p:nvSpPr>
            <p:spPr>
              <a:xfrm flipV="1">
                <a:off x="2353347"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69" name="Freeform 154">
                <a:extLst>
                  <a:ext uri="{FF2B5EF4-FFF2-40B4-BE49-F238E27FC236}">
                    <a16:creationId xmlns:a16="http://schemas.microsoft.com/office/drawing/2014/main" id="{1C9D7F6B-FB9B-4B0D-B5FE-44958ACFDCD5}"/>
                  </a:ext>
                </a:extLst>
              </p:cNvPr>
              <p:cNvSpPr/>
              <p:nvPr/>
            </p:nvSpPr>
            <p:spPr>
              <a:xfrm flipV="1">
                <a:off x="2393544" y="1780974"/>
                <a:ext cx="30118" cy="123553"/>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0" name="Oval 69">
                <a:extLst>
                  <a:ext uri="{FF2B5EF4-FFF2-40B4-BE49-F238E27FC236}">
                    <a16:creationId xmlns:a16="http://schemas.microsoft.com/office/drawing/2014/main" id="{748DE842-7D28-40BD-A15E-3F12A992673B}"/>
                  </a:ext>
                </a:extLst>
              </p:cNvPr>
              <p:cNvSpPr/>
              <p:nvPr/>
            </p:nvSpPr>
            <p:spPr>
              <a:xfrm flipV="1">
                <a:off x="2428419"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1" name="Oval 70">
                <a:extLst>
                  <a:ext uri="{FF2B5EF4-FFF2-40B4-BE49-F238E27FC236}">
                    <a16:creationId xmlns:a16="http://schemas.microsoft.com/office/drawing/2014/main" id="{0FC8C373-5DFC-4E56-A76A-700BB9E83BC7}"/>
                  </a:ext>
                </a:extLst>
              </p:cNvPr>
              <p:cNvSpPr/>
              <p:nvPr/>
            </p:nvSpPr>
            <p:spPr>
              <a:xfrm flipV="1">
                <a:off x="2283032"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2" name="Oval 71">
                <a:extLst>
                  <a:ext uri="{FF2B5EF4-FFF2-40B4-BE49-F238E27FC236}">
                    <a16:creationId xmlns:a16="http://schemas.microsoft.com/office/drawing/2014/main" id="{BDBCAFA1-0030-4ED2-8351-6066CED58AB1}"/>
                  </a:ext>
                </a:extLst>
              </p:cNvPr>
              <p:cNvSpPr/>
              <p:nvPr/>
            </p:nvSpPr>
            <p:spPr>
              <a:xfrm flipV="1">
                <a:off x="2501431"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3" name="Oval 72">
                <a:extLst>
                  <a:ext uri="{FF2B5EF4-FFF2-40B4-BE49-F238E27FC236}">
                    <a16:creationId xmlns:a16="http://schemas.microsoft.com/office/drawing/2014/main" id="{BDB166FC-6BCF-47C7-A494-B2EF7873EA22}"/>
                  </a:ext>
                </a:extLst>
              </p:cNvPr>
              <p:cNvSpPr/>
              <p:nvPr/>
            </p:nvSpPr>
            <p:spPr>
              <a:xfrm flipV="1">
                <a:off x="2576736"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4" name="Oval 73">
                <a:extLst>
                  <a:ext uri="{FF2B5EF4-FFF2-40B4-BE49-F238E27FC236}">
                    <a16:creationId xmlns:a16="http://schemas.microsoft.com/office/drawing/2014/main" id="{4CC28100-F501-497B-9FF5-C5C3F397C32A}"/>
                  </a:ext>
                </a:extLst>
              </p:cNvPr>
              <p:cNvSpPr/>
              <p:nvPr/>
            </p:nvSpPr>
            <p:spPr>
              <a:xfrm flipV="1">
                <a:off x="2647051"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5" name="Freeform 160">
                <a:extLst>
                  <a:ext uri="{FF2B5EF4-FFF2-40B4-BE49-F238E27FC236}">
                    <a16:creationId xmlns:a16="http://schemas.microsoft.com/office/drawing/2014/main" id="{8F57BE91-0CC8-4EF1-B9CA-5B8420EA1E90}"/>
                  </a:ext>
                </a:extLst>
              </p:cNvPr>
              <p:cNvSpPr/>
              <p:nvPr/>
            </p:nvSpPr>
            <p:spPr>
              <a:xfrm flipV="1">
                <a:off x="2288423" y="1782883"/>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6" name="Freeform 161">
                <a:extLst>
                  <a:ext uri="{FF2B5EF4-FFF2-40B4-BE49-F238E27FC236}">
                    <a16:creationId xmlns:a16="http://schemas.microsoft.com/office/drawing/2014/main" id="{07D930F2-1DDC-4BAC-B9EE-718008651C9C}"/>
                  </a:ext>
                </a:extLst>
              </p:cNvPr>
              <p:cNvSpPr/>
              <p:nvPr/>
            </p:nvSpPr>
            <p:spPr>
              <a:xfrm flipV="1">
                <a:off x="2326481"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7" name="Freeform 162">
                <a:extLst>
                  <a:ext uri="{FF2B5EF4-FFF2-40B4-BE49-F238E27FC236}">
                    <a16:creationId xmlns:a16="http://schemas.microsoft.com/office/drawing/2014/main" id="{314AA3AF-C1DA-48B2-9B8E-CB70F6665E66}"/>
                  </a:ext>
                </a:extLst>
              </p:cNvPr>
              <p:cNvSpPr/>
              <p:nvPr/>
            </p:nvSpPr>
            <p:spPr>
              <a:xfrm flipV="1">
                <a:off x="2449345"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8" name="Freeform 163">
                <a:extLst>
                  <a:ext uri="{FF2B5EF4-FFF2-40B4-BE49-F238E27FC236}">
                    <a16:creationId xmlns:a16="http://schemas.microsoft.com/office/drawing/2014/main" id="{CCCCC771-6915-4F92-A98D-E4F0B74AB14C}"/>
                  </a:ext>
                </a:extLst>
              </p:cNvPr>
              <p:cNvSpPr/>
              <p:nvPr/>
            </p:nvSpPr>
            <p:spPr>
              <a:xfrm flipV="1">
                <a:off x="2468967" y="1780973"/>
                <a:ext cx="29766" cy="1269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9" name="Freeform 164">
                <a:extLst>
                  <a:ext uri="{FF2B5EF4-FFF2-40B4-BE49-F238E27FC236}">
                    <a16:creationId xmlns:a16="http://schemas.microsoft.com/office/drawing/2014/main" id="{490327C9-F2D3-462B-AC7E-5A854D5DE3DA}"/>
                  </a:ext>
                </a:extLst>
              </p:cNvPr>
              <p:cNvSpPr/>
              <p:nvPr/>
            </p:nvSpPr>
            <p:spPr>
              <a:xfrm flipV="1">
                <a:off x="2521609" y="1786666"/>
                <a:ext cx="20685" cy="123553"/>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0" name="Freeform 165">
                <a:extLst>
                  <a:ext uri="{FF2B5EF4-FFF2-40B4-BE49-F238E27FC236}">
                    <a16:creationId xmlns:a16="http://schemas.microsoft.com/office/drawing/2014/main" id="{A5D3C2A8-078A-4002-9541-BC4D8810FB8E}"/>
                  </a:ext>
                </a:extLst>
              </p:cNvPr>
              <p:cNvSpPr/>
              <p:nvPr/>
            </p:nvSpPr>
            <p:spPr>
              <a:xfrm flipV="1">
                <a:off x="2543816" y="1780974"/>
                <a:ext cx="26046" cy="129245"/>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1" name="Freeform 166">
                <a:extLst>
                  <a:ext uri="{FF2B5EF4-FFF2-40B4-BE49-F238E27FC236}">
                    <a16:creationId xmlns:a16="http://schemas.microsoft.com/office/drawing/2014/main" id="{B22B2839-EED4-4F70-966D-EAB5CA53E0F4}"/>
                  </a:ext>
                </a:extLst>
              </p:cNvPr>
              <p:cNvSpPr/>
              <p:nvPr/>
            </p:nvSpPr>
            <p:spPr>
              <a:xfrm flipV="1">
                <a:off x="2598191"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2" name="Freeform 167">
                <a:extLst>
                  <a:ext uri="{FF2B5EF4-FFF2-40B4-BE49-F238E27FC236}">
                    <a16:creationId xmlns:a16="http://schemas.microsoft.com/office/drawing/2014/main" id="{5FCCEA10-90A9-494F-A0B0-9EDBD4FCAD52}"/>
                  </a:ext>
                </a:extLst>
              </p:cNvPr>
              <p:cNvSpPr/>
              <p:nvPr/>
            </p:nvSpPr>
            <p:spPr>
              <a:xfrm flipV="1">
                <a:off x="2620593" y="1780974"/>
                <a:ext cx="19844" cy="1269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3" name="Freeform 168">
                <a:extLst>
                  <a:ext uri="{FF2B5EF4-FFF2-40B4-BE49-F238E27FC236}">
                    <a16:creationId xmlns:a16="http://schemas.microsoft.com/office/drawing/2014/main" id="{FBCBF159-806C-4BD3-BCFC-026CAB60C5AC}"/>
                  </a:ext>
                </a:extLst>
              </p:cNvPr>
              <p:cNvSpPr/>
              <p:nvPr/>
            </p:nvSpPr>
            <p:spPr>
              <a:xfrm flipV="1">
                <a:off x="2668776" y="1782882"/>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4" name="Freeform 169">
                <a:extLst>
                  <a:ext uri="{FF2B5EF4-FFF2-40B4-BE49-F238E27FC236}">
                    <a16:creationId xmlns:a16="http://schemas.microsoft.com/office/drawing/2014/main" id="{306AB20F-C113-4AB6-96BC-5266D1CC2C95}"/>
                  </a:ext>
                </a:extLst>
              </p:cNvPr>
              <p:cNvSpPr/>
              <p:nvPr/>
            </p:nvSpPr>
            <p:spPr>
              <a:xfrm flipV="1">
                <a:off x="2687600" y="1780973"/>
                <a:ext cx="29766" cy="123554"/>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5" name="Oval 84">
                <a:extLst>
                  <a:ext uri="{FF2B5EF4-FFF2-40B4-BE49-F238E27FC236}">
                    <a16:creationId xmlns:a16="http://schemas.microsoft.com/office/drawing/2014/main" id="{91E45119-722D-4AAF-AD42-30F02B16EF3B}"/>
                  </a:ext>
                </a:extLst>
              </p:cNvPr>
              <p:cNvSpPr/>
              <p:nvPr/>
            </p:nvSpPr>
            <p:spPr>
              <a:xfrm flipV="1">
                <a:off x="2719480"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6" name="Freeform 171">
                <a:extLst>
                  <a:ext uri="{FF2B5EF4-FFF2-40B4-BE49-F238E27FC236}">
                    <a16:creationId xmlns:a16="http://schemas.microsoft.com/office/drawing/2014/main" id="{E6EE921B-1363-4D3C-B29E-C9ACC18E6B4F}"/>
                  </a:ext>
                </a:extLst>
              </p:cNvPr>
              <p:cNvSpPr/>
              <p:nvPr/>
            </p:nvSpPr>
            <p:spPr>
              <a:xfrm flipV="1">
                <a:off x="2724871" y="1782883"/>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7" name="Freeform 172">
                <a:extLst>
                  <a:ext uri="{FF2B5EF4-FFF2-40B4-BE49-F238E27FC236}">
                    <a16:creationId xmlns:a16="http://schemas.microsoft.com/office/drawing/2014/main" id="{6B52FC20-DDB1-491A-88DF-E77609493273}"/>
                  </a:ext>
                </a:extLst>
              </p:cNvPr>
              <p:cNvSpPr/>
              <p:nvPr/>
            </p:nvSpPr>
            <p:spPr>
              <a:xfrm flipV="1">
                <a:off x="2762929"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grpSp>
        <p:cxnSp>
          <p:nvCxnSpPr>
            <p:cNvPr id="234" name="Straight Arrow Connector 233">
              <a:extLst>
                <a:ext uri="{FF2B5EF4-FFF2-40B4-BE49-F238E27FC236}">
                  <a16:creationId xmlns:a16="http://schemas.microsoft.com/office/drawing/2014/main" id="{039AABA8-4D66-4CD4-98DD-893B95D257F1}"/>
                </a:ext>
              </a:extLst>
            </p:cNvPr>
            <p:cNvCxnSpPr/>
            <p:nvPr/>
          </p:nvCxnSpPr>
          <p:spPr>
            <a:xfrm>
              <a:off x="8050321" y="3914359"/>
              <a:ext cx="0" cy="377867"/>
            </a:xfrm>
            <a:prstGeom prst="straightConnector1">
              <a:avLst/>
            </a:prstGeom>
            <a:ln w="41275" cap="rnd">
              <a:solidFill>
                <a:schemeClr val="bg2">
                  <a:lumMod val="1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235" name="TextBox 234">
              <a:extLst>
                <a:ext uri="{FF2B5EF4-FFF2-40B4-BE49-F238E27FC236}">
                  <a16:creationId xmlns:a16="http://schemas.microsoft.com/office/drawing/2014/main" id="{F0ABA294-0D9C-4CEA-A766-3D9246692E24}"/>
                </a:ext>
              </a:extLst>
            </p:cNvPr>
            <p:cNvSpPr txBox="1"/>
            <p:nvPr/>
          </p:nvSpPr>
          <p:spPr>
            <a:xfrm>
              <a:off x="7744195" y="2683720"/>
              <a:ext cx="637109"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2F2F2">
                      <a:lumMod val="10000"/>
                    </a:srgbClr>
                  </a:solidFill>
                  <a:effectLst/>
                  <a:uLnTx/>
                  <a:uFillTx/>
                  <a:latin typeface="Verdana" panose="020B0604030504040204" pitchFamily="34" charset="0"/>
                  <a:ea typeface="Verdana" panose="020B0604030504040204" pitchFamily="34" charset="0"/>
                  <a:cs typeface="Arial" pitchFamily="34" charset="0"/>
                </a:rPr>
                <a:t>BMPs</a:t>
              </a:r>
            </a:p>
          </p:txBody>
        </p:sp>
        <p:sp>
          <p:nvSpPr>
            <p:cNvPr id="236" name="Rectangle 235">
              <a:extLst>
                <a:ext uri="{FF2B5EF4-FFF2-40B4-BE49-F238E27FC236}">
                  <a16:creationId xmlns:a16="http://schemas.microsoft.com/office/drawing/2014/main" id="{8E1A3AFE-A673-4E05-8B26-4B470B99062E}"/>
                </a:ext>
              </a:extLst>
            </p:cNvPr>
            <p:cNvSpPr/>
            <p:nvPr/>
          </p:nvSpPr>
          <p:spPr>
            <a:xfrm>
              <a:off x="6779979" y="1815927"/>
              <a:ext cx="4472042" cy="268897"/>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B21E6C"/>
                  </a:solidFill>
                  <a:effectLst/>
                  <a:uLnTx/>
                  <a:uFillTx/>
                  <a:latin typeface="Verdana" panose="020B0604030504040204" pitchFamily="34" charset="0"/>
                  <a:ea typeface="Verdana" panose="020B0604030504040204" pitchFamily="34" charset="0"/>
                  <a:cs typeface="+mn-cs"/>
                </a:rPr>
                <a:t>R</a:t>
              </a:r>
              <a:r>
                <a:rPr kumimoji="0" lang="en-GB" sz="1400" b="1" i="0" u="none" strike="noStrike" kern="1200" cap="none" spc="0" normalizeH="0" baseline="0" noProof="0" dirty="0" err="1">
                  <a:ln>
                    <a:noFill/>
                  </a:ln>
                  <a:solidFill>
                    <a:srgbClr val="B21E6C"/>
                  </a:solidFill>
                  <a:effectLst/>
                  <a:uLnTx/>
                  <a:uFillTx/>
                  <a:latin typeface="Verdana" panose="020B0604030504040204" pitchFamily="34" charset="0"/>
                  <a:ea typeface="Verdana" panose="020B0604030504040204" pitchFamily="34" charset="0"/>
                  <a:cs typeface="+mn-cs"/>
                </a:rPr>
                <a:t>ebalancing</a:t>
              </a:r>
              <a:r>
                <a:rPr kumimoji="0" lang="en-GB" sz="1400" b="1" i="0" u="none" strike="noStrike" kern="1200" cap="none" spc="0" normalizeH="0" baseline="0" noProof="0" dirty="0">
                  <a:ln>
                    <a:noFill/>
                  </a:ln>
                  <a:solidFill>
                    <a:srgbClr val="B21E6C"/>
                  </a:solidFill>
                  <a:effectLst/>
                  <a:uLnTx/>
                  <a:uFillTx/>
                  <a:latin typeface="Verdana" panose="020B0604030504040204" pitchFamily="34" charset="0"/>
                  <a:ea typeface="Verdana" panose="020B0604030504040204" pitchFamily="34" charset="0"/>
                  <a:cs typeface="+mn-cs"/>
                </a:rPr>
                <a:t> </a:t>
              </a:r>
              <a:r>
                <a:rPr kumimoji="0" lang="en-GB" sz="1400" b="1" i="1" u="none" strike="noStrike" kern="1200" cap="none" spc="0" normalizeH="0" baseline="0" noProof="0" dirty="0">
                  <a:ln>
                    <a:noFill/>
                  </a:ln>
                  <a:solidFill>
                    <a:srgbClr val="B21E6C"/>
                  </a:solidFill>
                  <a:effectLst/>
                  <a:uLnTx/>
                  <a:uFillTx/>
                  <a:latin typeface="Verdana" panose="020B0604030504040204" pitchFamily="34" charset="0"/>
                  <a:ea typeface="Verdana" panose="020B0604030504040204" pitchFamily="34" charset="0"/>
                  <a:cs typeface="+mn-cs"/>
                </a:rPr>
                <a:t>BMPR-II</a:t>
              </a:r>
              <a:r>
                <a:rPr kumimoji="0" lang="en-GB" sz="1400" b="1" i="0" u="none" strike="noStrike" kern="1200" cap="none" spc="0" normalizeH="0" baseline="0" noProof="0" dirty="0">
                  <a:ln>
                    <a:noFill/>
                  </a:ln>
                  <a:solidFill>
                    <a:srgbClr val="B21E6C"/>
                  </a:solidFill>
                  <a:effectLst/>
                  <a:uLnTx/>
                  <a:uFillTx/>
                  <a:latin typeface="Verdana" panose="020B0604030504040204" pitchFamily="34" charset="0"/>
                  <a:ea typeface="Verdana" panose="020B0604030504040204" pitchFamily="34" charset="0"/>
                  <a:cs typeface="+mn-cs"/>
                </a:rPr>
                <a:t>/</a:t>
              </a:r>
              <a:r>
                <a:rPr kumimoji="0" lang="en-GB" sz="1400" b="1" i="0" u="none" strike="noStrike" kern="1200" cap="none" spc="0" normalizeH="0" baseline="0" noProof="0" dirty="0" err="1">
                  <a:ln>
                    <a:noFill/>
                  </a:ln>
                  <a:solidFill>
                    <a:srgbClr val="B21E6C"/>
                  </a:solidFill>
                  <a:effectLst/>
                  <a:uLnTx/>
                  <a:uFillTx/>
                  <a:latin typeface="Verdana" panose="020B0604030504040204" pitchFamily="34" charset="0"/>
                  <a:ea typeface="Verdana" panose="020B0604030504040204" pitchFamily="34" charset="0"/>
                  <a:cs typeface="+mn-cs"/>
                </a:rPr>
                <a:t>ActRII</a:t>
              </a:r>
              <a:r>
                <a:rPr kumimoji="0" lang="en-GB" sz="1400" b="1" i="0" u="none" strike="noStrike" kern="1200" cap="none" spc="0" normalizeH="0" baseline="0" noProof="0" dirty="0">
                  <a:ln>
                    <a:noFill/>
                  </a:ln>
                  <a:solidFill>
                    <a:srgbClr val="B21E6C"/>
                  </a:solidFill>
                  <a:effectLst/>
                  <a:uLnTx/>
                  <a:uFillTx/>
                  <a:latin typeface="Verdana" panose="020B0604030504040204" pitchFamily="34" charset="0"/>
                  <a:ea typeface="Verdana" panose="020B0604030504040204" pitchFamily="34" charset="0"/>
                  <a:cs typeface="+mn-cs"/>
                </a:rPr>
                <a:t> in PAH</a:t>
              </a:r>
              <a:r>
                <a:rPr kumimoji="0" lang="en-GB" sz="1400" b="1" i="0" u="none" strike="noStrike" kern="1200" cap="none" spc="0" normalizeH="0" baseline="30000" noProof="0" dirty="0">
                  <a:ln>
                    <a:noFill/>
                  </a:ln>
                  <a:solidFill>
                    <a:srgbClr val="B21E6C"/>
                  </a:solidFill>
                  <a:effectLst/>
                  <a:uLnTx/>
                  <a:uFillTx/>
                  <a:latin typeface="Verdana" panose="020B0604030504040204" pitchFamily="34" charset="0"/>
                  <a:ea typeface="Verdana" panose="020B0604030504040204" pitchFamily="34" charset="0"/>
                  <a:cs typeface="+mn-cs"/>
                </a:rPr>
                <a:t>1</a:t>
              </a:r>
            </a:p>
          </p:txBody>
        </p:sp>
        <p:grpSp>
          <p:nvGrpSpPr>
            <p:cNvPr id="237" name="Group 236">
              <a:extLst>
                <a:ext uri="{FF2B5EF4-FFF2-40B4-BE49-F238E27FC236}">
                  <a16:creationId xmlns:a16="http://schemas.microsoft.com/office/drawing/2014/main" id="{3D21C4C9-F40A-401C-AE54-B5EDF75BCE3A}"/>
                </a:ext>
              </a:extLst>
            </p:cNvPr>
            <p:cNvGrpSpPr/>
            <p:nvPr/>
          </p:nvGrpSpPr>
          <p:grpSpPr>
            <a:xfrm>
              <a:off x="7776679" y="3118250"/>
              <a:ext cx="224518" cy="712181"/>
              <a:chOff x="7177855" y="2702477"/>
              <a:chExt cx="192512" cy="610656"/>
            </a:xfrm>
            <a:solidFill>
              <a:srgbClr val="0070C0"/>
            </a:solidFill>
          </p:grpSpPr>
          <p:sp>
            <p:nvSpPr>
              <p:cNvPr id="238" name="Can 583">
                <a:extLst>
                  <a:ext uri="{FF2B5EF4-FFF2-40B4-BE49-F238E27FC236}">
                    <a16:creationId xmlns:a16="http://schemas.microsoft.com/office/drawing/2014/main" id="{D6DF55B9-6103-4008-934B-699EBE2122F0}"/>
                  </a:ext>
                </a:extLst>
              </p:cNvPr>
              <p:cNvSpPr/>
              <p:nvPr/>
            </p:nvSpPr>
            <p:spPr>
              <a:xfrm>
                <a:off x="7295740" y="2931487"/>
                <a:ext cx="74627" cy="381520"/>
              </a:xfrm>
              <a:prstGeom prst="can">
                <a:avLst/>
              </a:prstGeom>
              <a:grpFill/>
              <a:ln>
                <a:solidFill>
                  <a:srgbClr val="0034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39" name="Can 584">
                <a:extLst>
                  <a:ext uri="{FF2B5EF4-FFF2-40B4-BE49-F238E27FC236}">
                    <a16:creationId xmlns:a16="http://schemas.microsoft.com/office/drawing/2014/main" id="{DFA7321F-5345-4F5C-936C-4EAB28DD4B14}"/>
                  </a:ext>
                </a:extLst>
              </p:cNvPr>
              <p:cNvSpPr/>
              <p:nvPr/>
            </p:nvSpPr>
            <p:spPr>
              <a:xfrm>
                <a:off x="7295740" y="2931488"/>
                <a:ext cx="74627" cy="230591"/>
              </a:xfrm>
              <a:prstGeom prst="can">
                <a:avLst/>
              </a:prstGeom>
              <a:grpFill/>
              <a:ln>
                <a:solidFill>
                  <a:srgbClr val="0034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40" name="Can 587">
                <a:extLst>
                  <a:ext uri="{FF2B5EF4-FFF2-40B4-BE49-F238E27FC236}">
                    <a16:creationId xmlns:a16="http://schemas.microsoft.com/office/drawing/2014/main" id="{16E18E6E-4364-431E-9439-0762934B4142}"/>
                  </a:ext>
                </a:extLst>
              </p:cNvPr>
              <p:cNvSpPr/>
              <p:nvPr/>
            </p:nvSpPr>
            <p:spPr>
              <a:xfrm>
                <a:off x="7177855" y="2718086"/>
                <a:ext cx="74627" cy="595047"/>
              </a:xfrm>
              <a:prstGeom prst="can">
                <a:avLst/>
              </a:prstGeom>
              <a:grpFill/>
              <a:ln>
                <a:solidFill>
                  <a:srgbClr val="0034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41" name="Can 588">
                <a:extLst>
                  <a:ext uri="{FF2B5EF4-FFF2-40B4-BE49-F238E27FC236}">
                    <a16:creationId xmlns:a16="http://schemas.microsoft.com/office/drawing/2014/main" id="{B758D979-A779-4C1E-9BF6-F3409BC18657}"/>
                  </a:ext>
                </a:extLst>
              </p:cNvPr>
              <p:cNvSpPr/>
              <p:nvPr/>
            </p:nvSpPr>
            <p:spPr>
              <a:xfrm>
                <a:off x="7177855" y="2705740"/>
                <a:ext cx="74627" cy="482889"/>
              </a:xfrm>
              <a:prstGeom prst="can">
                <a:avLst/>
              </a:prstGeom>
              <a:grpFill/>
              <a:ln>
                <a:solidFill>
                  <a:srgbClr val="0034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42" name="Can 589">
                <a:extLst>
                  <a:ext uri="{FF2B5EF4-FFF2-40B4-BE49-F238E27FC236}">
                    <a16:creationId xmlns:a16="http://schemas.microsoft.com/office/drawing/2014/main" id="{392035DD-8A05-40A8-85A4-CDDD4DDD9A5B}"/>
                  </a:ext>
                </a:extLst>
              </p:cNvPr>
              <p:cNvSpPr/>
              <p:nvPr/>
            </p:nvSpPr>
            <p:spPr>
              <a:xfrm>
                <a:off x="7177855" y="2702477"/>
                <a:ext cx="74627" cy="351033"/>
              </a:xfrm>
              <a:prstGeom prst="can">
                <a:avLst/>
              </a:prstGeom>
              <a:grpFill/>
              <a:ln>
                <a:solidFill>
                  <a:srgbClr val="0034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43" name="Can 590">
                <a:extLst>
                  <a:ext uri="{FF2B5EF4-FFF2-40B4-BE49-F238E27FC236}">
                    <a16:creationId xmlns:a16="http://schemas.microsoft.com/office/drawing/2014/main" id="{A18028D4-5E01-4114-9957-BEA3C7BF4B6A}"/>
                  </a:ext>
                </a:extLst>
              </p:cNvPr>
              <p:cNvSpPr/>
              <p:nvPr/>
            </p:nvSpPr>
            <p:spPr>
              <a:xfrm>
                <a:off x="7177855" y="2711386"/>
                <a:ext cx="74627" cy="206444"/>
              </a:xfrm>
              <a:prstGeom prst="can">
                <a:avLst/>
              </a:prstGeom>
              <a:grpFill/>
              <a:ln>
                <a:solidFill>
                  <a:srgbClr val="0034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grpSp>
          <p:nvGrpSpPr>
            <p:cNvPr id="244" name="Group 243">
              <a:extLst>
                <a:ext uri="{FF2B5EF4-FFF2-40B4-BE49-F238E27FC236}">
                  <a16:creationId xmlns:a16="http://schemas.microsoft.com/office/drawing/2014/main" id="{785D2EC4-A23F-4E60-B1B2-C55C687886B6}"/>
                </a:ext>
              </a:extLst>
            </p:cNvPr>
            <p:cNvGrpSpPr/>
            <p:nvPr/>
          </p:nvGrpSpPr>
          <p:grpSpPr>
            <a:xfrm flipH="1">
              <a:off x="8108963" y="3118250"/>
              <a:ext cx="224518" cy="712181"/>
              <a:chOff x="7177855" y="2702477"/>
              <a:chExt cx="192512" cy="610656"/>
            </a:xfrm>
            <a:solidFill>
              <a:schemeClr val="tx1">
                <a:lumMod val="50000"/>
                <a:lumOff val="50000"/>
              </a:schemeClr>
            </a:solidFill>
          </p:grpSpPr>
          <p:sp>
            <p:nvSpPr>
              <p:cNvPr id="245" name="Can 583">
                <a:extLst>
                  <a:ext uri="{FF2B5EF4-FFF2-40B4-BE49-F238E27FC236}">
                    <a16:creationId xmlns:a16="http://schemas.microsoft.com/office/drawing/2014/main" id="{795CF7FB-61A1-4686-8F96-77AC863DC9E6}"/>
                  </a:ext>
                </a:extLst>
              </p:cNvPr>
              <p:cNvSpPr/>
              <p:nvPr/>
            </p:nvSpPr>
            <p:spPr>
              <a:xfrm>
                <a:off x="7295740" y="2931487"/>
                <a:ext cx="74627" cy="381520"/>
              </a:xfrm>
              <a:prstGeom prst="can">
                <a:avLst/>
              </a:prstGeom>
              <a:grp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46" name="Can 584">
                <a:extLst>
                  <a:ext uri="{FF2B5EF4-FFF2-40B4-BE49-F238E27FC236}">
                    <a16:creationId xmlns:a16="http://schemas.microsoft.com/office/drawing/2014/main" id="{7C354CE8-AB35-4D95-8CB5-DC58F7EFA3F8}"/>
                  </a:ext>
                </a:extLst>
              </p:cNvPr>
              <p:cNvSpPr/>
              <p:nvPr/>
            </p:nvSpPr>
            <p:spPr>
              <a:xfrm>
                <a:off x="7295740" y="2931488"/>
                <a:ext cx="74627" cy="230591"/>
              </a:xfrm>
              <a:prstGeom prst="can">
                <a:avLst/>
              </a:prstGeom>
              <a:grp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47" name="Can 587">
                <a:extLst>
                  <a:ext uri="{FF2B5EF4-FFF2-40B4-BE49-F238E27FC236}">
                    <a16:creationId xmlns:a16="http://schemas.microsoft.com/office/drawing/2014/main" id="{737D8CCC-9522-4FDA-B32F-D18A75506BE9}"/>
                  </a:ext>
                </a:extLst>
              </p:cNvPr>
              <p:cNvSpPr/>
              <p:nvPr/>
            </p:nvSpPr>
            <p:spPr>
              <a:xfrm>
                <a:off x="7177855" y="2718086"/>
                <a:ext cx="74627" cy="595047"/>
              </a:xfrm>
              <a:prstGeom prst="can">
                <a:avLst/>
              </a:prstGeom>
              <a:grp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48" name="Can 588">
                <a:extLst>
                  <a:ext uri="{FF2B5EF4-FFF2-40B4-BE49-F238E27FC236}">
                    <a16:creationId xmlns:a16="http://schemas.microsoft.com/office/drawing/2014/main" id="{3925FB13-75DA-4D80-93EA-06C064942C36}"/>
                  </a:ext>
                </a:extLst>
              </p:cNvPr>
              <p:cNvSpPr/>
              <p:nvPr/>
            </p:nvSpPr>
            <p:spPr>
              <a:xfrm>
                <a:off x="7177855" y="2705740"/>
                <a:ext cx="74627" cy="482889"/>
              </a:xfrm>
              <a:prstGeom prst="can">
                <a:avLst/>
              </a:prstGeom>
              <a:grp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49" name="Can 589">
                <a:extLst>
                  <a:ext uri="{FF2B5EF4-FFF2-40B4-BE49-F238E27FC236}">
                    <a16:creationId xmlns:a16="http://schemas.microsoft.com/office/drawing/2014/main" id="{C82054EC-FC83-4F96-8BB7-6F895BC4C042}"/>
                  </a:ext>
                </a:extLst>
              </p:cNvPr>
              <p:cNvSpPr/>
              <p:nvPr/>
            </p:nvSpPr>
            <p:spPr>
              <a:xfrm>
                <a:off x="7177855" y="2702477"/>
                <a:ext cx="74627" cy="351033"/>
              </a:xfrm>
              <a:prstGeom prst="can">
                <a:avLst/>
              </a:prstGeom>
              <a:grp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50" name="Can 590">
                <a:extLst>
                  <a:ext uri="{FF2B5EF4-FFF2-40B4-BE49-F238E27FC236}">
                    <a16:creationId xmlns:a16="http://schemas.microsoft.com/office/drawing/2014/main" id="{B7888143-DA18-41B2-A7F9-F00647E1DFBD}"/>
                  </a:ext>
                </a:extLst>
              </p:cNvPr>
              <p:cNvSpPr/>
              <p:nvPr/>
            </p:nvSpPr>
            <p:spPr>
              <a:xfrm>
                <a:off x="7177855" y="2711386"/>
                <a:ext cx="74627" cy="206444"/>
              </a:xfrm>
              <a:prstGeom prst="can">
                <a:avLst/>
              </a:prstGeom>
              <a:grpFill/>
              <a:ln>
                <a:solidFill>
                  <a:schemeClr val="tx1">
                    <a:lumMod val="90000"/>
                    <a:lumOff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grpSp>
          <p:nvGrpSpPr>
            <p:cNvPr id="251" name="Group 250">
              <a:extLst>
                <a:ext uri="{FF2B5EF4-FFF2-40B4-BE49-F238E27FC236}">
                  <a16:creationId xmlns:a16="http://schemas.microsoft.com/office/drawing/2014/main" id="{E2D4B80A-F235-49AB-B81B-FC2B4FFB482E}"/>
                </a:ext>
              </a:extLst>
            </p:cNvPr>
            <p:cNvGrpSpPr/>
            <p:nvPr/>
          </p:nvGrpSpPr>
          <p:grpSpPr>
            <a:xfrm>
              <a:off x="9871617" y="3118250"/>
              <a:ext cx="224518" cy="712181"/>
              <a:chOff x="7177855" y="2702477"/>
              <a:chExt cx="192512" cy="610656"/>
            </a:xfrm>
            <a:solidFill>
              <a:schemeClr val="accent3"/>
            </a:solidFill>
          </p:grpSpPr>
          <p:sp>
            <p:nvSpPr>
              <p:cNvPr id="252" name="Can 583">
                <a:extLst>
                  <a:ext uri="{FF2B5EF4-FFF2-40B4-BE49-F238E27FC236}">
                    <a16:creationId xmlns:a16="http://schemas.microsoft.com/office/drawing/2014/main" id="{9BA3892B-F7A4-4499-8215-D3DA7F60C555}"/>
                  </a:ext>
                </a:extLst>
              </p:cNvPr>
              <p:cNvSpPr/>
              <p:nvPr/>
            </p:nvSpPr>
            <p:spPr>
              <a:xfrm>
                <a:off x="7295740" y="2931487"/>
                <a:ext cx="74627" cy="381520"/>
              </a:xfrm>
              <a:prstGeom prst="can">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53" name="Can 584">
                <a:extLst>
                  <a:ext uri="{FF2B5EF4-FFF2-40B4-BE49-F238E27FC236}">
                    <a16:creationId xmlns:a16="http://schemas.microsoft.com/office/drawing/2014/main" id="{A470D487-1693-45AC-B6EB-86D61192372F}"/>
                  </a:ext>
                </a:extLst>
              </p:cNvPr>
              <p:cNvSpPr/>
              <p:nvPr/>
            </p:nvSpPr>
            <p:spPr>
              <a:xfrm>
                <a:off x="7295740" y="2931488"/>
                <a:ext cx="74627" cy="230591"/>
              </a:xfrm>
              <a:prstGeom prst="can">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54" name="Can 587">
                <a:extLst>
                  <a:ext uri="{FF2B5EF4-FFF2-40B4-BE49-F238E27FC236}">
                    <a16:creationId xmlns:a16="http://schemas.microsoft.com/office/drawing/2014/main" id="{232BF6FF-6FC3-4ADC-BA1E-04E853EA0F35}"/>
                  </a:ext>
                </a:extLst>
              </p:cNvPr>
              <p:cNvSpPr/>
              <p:nvPr/>
            </p:nvSpPr>
            <p:spPr>
              <a:xfrm>
                <a:off x="7177855" y="2718086"/>
                <a:ext cx="74627" cy="595047"/>
              </a:xfrm>
              <a:prstGeom prst="can">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55" name="Can 588">
                <a:extLst>
                  <a:ext uri="{FF2B5EF4-FFF2-40B4-BE49-F238E27FC236}">
                    <a16:creationId xmlns:a16="http://schemas.microsoft.com/office/drawing/2014/main" id="{2705F455-3EB8-4550-8D72-6987926F22FC}"/>
                  </a:ext>
                </a:extLst>
              </p:cNvPr>
              <p:cNvSpPr/>
              <p:nvPr/>
            </p:nvSpPr>
            <p:spPr>
              <a:xfrm>
                <a:off x="7177855" y="2705740"/>
                <a:ext cx="74627" cy="482889"/>
              </a:xfrm>
              <a:prstGeom prst="can">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56" name="Can 589">
                <a:extLst>
                  <a:ext uri="{FF2B5EF4-FFF2-40B4-BE49-F238E27FC236}">
                    <a16:creationId xmlns:a16="http://schemas.microsoft.com/office/drawing/2014/main" id="{64AA5291-18D2-4C2F-9143-82C02965DF2D}"/>
                  </a:ext>
                </a:extLst>
              </p:cNvPr>
              <p:cNvSpPr/>
              <p:nvPr/>
            </p:nvSpPr>
            <p:spPr>
              <a:xfrm>
                <a:off x="7177855" y="2702477"/>
                <a:ext cx="74627" cy="351033"/>
              </a:xfrm>
              <a:prstGeom prst="can">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57" name="Can 590">
                <a:extLst>
                  <a:ext uri="{FF2B5EF4-FFF2-40B4-BE49-F238E27FC236}">
                    <a16:creationId xmlns:a16="http://schemas.microsoft.com/office/drawing/2014/main" id="{54034E5B-D413-48F1-A653-A0593B06C688}"/>
                  </a:ext>
                </a:extLst>
              </p:cNvPr>
              <p:cNvSpPr/>
              <p:nvPr/>
            </p:nvSpPr>
            <p:spPr>
              <a:xfrm>
                <a:off x="7177855" y="2711386"/>
                <a:ext cx="74627" cy="206444"/>
              </a:xfrm>
              <a:prstGeom prst="can">
                <a:avLst/>
              </a:prstGeom>
              <a:grp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grpSp>
          <p:nvGrpSpPr>
            <p:cNvPr id="258" name="Group 257">
              <a:extLst>
                <a:ext uri="{FF2B5EF4-FFF2-40B4-BE49-F238E27FC236}">
                  <a16:creationId xmlns:a16="http://schemas.microsoft.com/office/drawing/2014/main" id="{3693E16C-EA42-4F22-A5B6-3129D62D3DCD}"/>
                </a:ext>
              </a:extLst>
            </p:cNvPr>
            <p:cNvGrpSpPr/>
            <p:nvPr/>
          </p:nvGrpSpPr>
          <p:grpSpPr>
            <a:xfrm flipH="1">
              <a:off x="10203901" y="3118250"/>
              <a:ext cx="224518" cy="712181"/>
              <a:chOff x="7177855" y="2702477"/>
              <a:chExt cx="192512" cy="610656"/>
            </a:xfrm>
            <a:solidFill>
              <a:schemeClr val="accent6"/>
            </a:solidFill>
          </p:grpSpPr>
          <p:sp>
            <p:nvSpPr>
              <p:cNvPr id="259" name="Can 583">
                <a:extLst>
                  <a:ext uri="{FF2B5EF4-FFF2-40B4-BE49-F238E27FC236}">
                    <a16:creationId xmlns:a16="http://schemas.microsoft.com/office/drawing/2014/main" id="{893902C7-BAD1-40E2-8F62-B0AC47F18C0B}"/>
                  </a:ext>
                </a:extLst>
              </p:cNvPr>
              <p:cNvSpPr/>
              <p:nvPr/>
            </p:nvSpPr>
            <p:spPr>
              <a:xfrm>
                <a:off x="7295740" y="2931487"/>
                <a:ext cx="74627" cy="381520"/>
              </a:xfrm>
              <a:prstGeom prst="can">
                <a:avLst/>
              </a:prstGeom>
              <a:grp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60" name="Can 584">
                <a:extLst>
                  <a:ext uri="{FF2B5EF4-FFF2-40B4-BE49-F238E27FC236}">
                    <a16:creationId xmlns:a16="http://schemas.microsoft.com/office/drawing/2014/main" id="{0EC91B18-2316-4816-BA90-7A66A7A0A9B9}"/>
                  </a:ext>
                </a:extLst>
              </p:cNvPr>
              <p:cNvSpPr/>
              <p:nvPr/>
            </p:nvSpPr>
            <p:spPr>
              <a:xfrm>
                <a:off x="7295740" y="2931488"/>
                <a:ext cx="74627" cy="230591"/>
              </a:xfrm>
              <a:prstGeom prst="can">
                <a:avLst/>
              </a:prstGeom>
              <a:grp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61" name="Can 587">
                <a:extLst>
                  <a:ext uri="{FF2B5EF4-FFF2-40B4-BE49-F238E27FC236}">
                    <a16:creationId xmlns:a16="http://schemas.microsoft.com/office/drawing/2014/main" id="{E21732E5-4D37-4100-97D4-925B25FE2E8E}"/>
                  </a:ext>
                </a:extLst>
              </p:cNvPr>
              <p:cNvSpPr/>
              <p:nvPr/>
            </p:nvSpPr>
            <p:spPr>
              <a:xfrm>
                <a:off x="7177855" y="2718086"/>
                <a:ext cx="74627" cy="595047"/>
              </a:xfrm>
              <a:prstGeom prst="can">
                <a:avLst/>
              </a:prstGeom>
              <a:grp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62" name="Can 588">
                <a:extLst>
                  <a:ext uri="{FF2B5EF4-FFF2-40B4-BE49-F238E27FC236}">
                    <a16:creationId xmlns:a16="http://schemas.microsoft.com/office/drawing/2014/main" id="{C8DE6BDB-BFA9-4E34-BA22-4D478A3984AB}"/>
                  </a:ext>
                </a:extLst>
              </p:cNvPr>
              <p:cNvSpPr/>
              <p:nvPr/>
            </p:nvSpPr>
            <p:spPr>
              <a:xfrm>
                <a:off x="7177855" y="2705740"/>
                <a:ext cx="74627" cy="482889"/>
              </a:xfrm>
              <a:prstGeom prst="can">
                <a:avLst/>
              </a:prstGeom>
              <a:grp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63" name="Can 589">
                <a:extLst>
                  <a:ext uri="{FF2B5EF4-FFF2-40B4-BE49-F238E27FC236}">
                    <a16:creationId xmlns:a16="http://schemas.microsoft.com/office/drawing/2014/main" id="{BA707EA3-7D2E-4273-92A8-15F618BECD2F}"/>
                  </a:ext>
                </a:extLst>
              </p:cNvPr>
              <p:cNvSpPr/>
              <p:nvPr/>
            </p:nvSpPr>
            <p:spPr>
              <a:xfrm>
                <a:off x="7177855" y="2702477"/>
                <a:ext cx="74627" cy="351033"/>
              </a:xfrm>
              <a:prstGeom prst="can">
                <a:avLst/>
              </a:prstGeom>
              <a:grp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264" name="Can 590">
                <a:extLst>
                  <a:ext uri="{FF2B5EF4-FFF2-40B4-BE49-F238E27FC236}">
                    <a16:creationId xmlns:a16="http://schemas.microsoft.com/office/drawing/2014/main" id="{74A5F1A6-7E70-4267-9DEB-C39191233182}"/>
                  </a:ext>
                </a:extLst>
              </p:cNvPr>
              <p:cNvSpPr/>
              <p:nvPr/>
            </p:nvSpPr>
            <p:spPr>
              <a:xfrm>
                <a:off x="7177855" y="2711386"/>
                <a:ext cx="74627" cy="206444"/>
              </a:xfrm>
              <a:prstGeom prst="can">
                <a:avLst/>
              </a:prstGeom>
              <a:grpFill/>
              <a:ln>
                <a:solidFill>
                  <a:schemeClr val="accent6">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sp>
          <p:nvSpPr>
            <p:cNvPr id="265" name="Rectangle: Rounded Corners 264">
              <a:extLst>
                <a:ext uri="{FF2B5EF4-FFF2-40B4-BE49-F238E27FC236}">
                  <a16:creationId xmlns:a16="http://schemas.microsoft.com/office/drawing/2014/main" id="{B9D72AD6-27DB-42E4-888F-4295EDE2A540}"/>
                </a:ext>
              </a:extLst>
            </p:cNvPr>
            <p:cNvSpPr/>
            <p:nvPr/>
          </p:nvSpPr>
          <p:spPr bwMode="auto">
            <a:xfrm>
              <a:off x="7504072" y="4351657"/>
              <a:ext cx="1114201" cy="347477"/>
            </a:xfrm>
            <a:prstGeom prst="roundRect">
              <a:avLst>
                <a:gd name="adj" fmla="val 50000"/>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rPr>
                <a:t>pSMAD1/5/8</a:t>
              </a:r>
            </a:p>
          </p:txBody>
        </p:sp>
        <p:sp>
          <p:nvSpPr>
            <p:cNvPr id="266" name="Rectangle: Rounded Corners 265">
              <a:extLst>
                <a:ext uri="{FF2B5EF4-FFF2-40B4-BE49-F238E27FC236}">
                  <a16:creationId xmlns:a16="http://schemas.microsoft.com/office/drawing/2014/main" id="{6850791C-AE87-422E-91A6-4E627320B218}"/>
                </a:ext>
              </a:extLst>
            </p:cNvPr>
            <p:cNvSpPr/>
            <p:nvPr/>
          </p:nvSpPr>
          <p:spPr bwMode="auto">
            <a:xfrm>
              <a:off x="9599931" y="4351657"/>
              <a:ext cx="1114201" cy="347477"/>
            </a:xfrm>
            <a:prstGeom prst="roundRect">
              <a:avLst>
                <a:gd name="adj" fmla="val 50000"/>
              </a:avLst>
            </a:prstGeom>
            <a:solidFill>
              <a:srgbClr val="C00000"/>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rPr>
                <a:t>pSMAD2/3</a:t>
              </a:r>
            </a:p>
          </p:txBody>
        </p:sp>
        <p:sp>
          <p:nvSpPr>
            <p:cNvPr id="267" name="Rectangle: Rounded Corners 266">
              <a:extLst>
                <a:ext uri="{FF2B5EF4-FFF2-40B4-BE49-F238E27FC236}">
                  <a16:creationId xmlns:a16="http://schemas.microsoft.com/office/drawing/2014/main" id="{942DF7EC-A070-4841-9ADE-E051DE436D50}"/>
                </a:ext>
              </a:extLst>
            </p:cNvPr>
            <p:cNvSpPr/>
            <p:nvPr/>
          </p:nvSpPr>
          <p:spPr bwMode="auto">
            <a:xfrm>
              <a:off x="8661381" y="4351657"/>
              <a:ext cx="911046" cy="347477"/>
            </a:xfrm>
            <a:prstGeom prst="roundRect">
              <a:avLst>
                <a:gd name="adj" fmla="val 50000"/>
              </a:avLst>
            </a:prstGeom>
            <a:solidFill>
              <a:srgbClr val="FFC000"/>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itchFamily="34" charset="0"/>
                </a:rPr>
                <a:t>SMAD4</a:t>
              </a:r>
            </a:p>
          </p:txBody>
        </p:sp>
        <p:sp>
          <p:nvSpPr>
            <p:cNvPr id="268" name="TextBox 267">
              <a:extLst>
                <a:ext uri="{FF2B5EF4-FFF2-40B4-BE49-F238E27FC236}">
                  <a16:creationId xmlns:a16="http://schemas.microsoft.com/office/drawing/2014/main" id="{B9026239-2168-4633-A528-97E463EB2F72}"/>
                </a:ext>
              </a:extLst>
            </p:cNvPr>
            <p:cNvSpPr txBox="1"/>
            <p:nvPr/>
          </p:nvSpPr>
          <p:spPr>
            <a:xfrm>
              <a:off x="9659764" y="2599082"/>
              <a:ext cx="967882"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2F2F2">
                      <a:lumMod val="10000"/>
                    </a:srgbClr>
                  </a:solidFill>
                  <a:effectLst/>
                  <a:uLnTx/>
                  <a:uFillTx/>
                  <a:latin typeface="Verdana" panose="020B0604030504040204" pitchFamily="34" charset="0"/>
                  <a:ea typeface="Verdana" panose="020B0604030504040204" pitchFamily="34" charset="0"/>
                  <a:cs typeface="Arial" pitchFamily="34" charset="0"/>
                </a:rPr>
                <a:t>Activins </a:t>
              </a:r>
              <a:br>
                <a:rPr kumimoji="0" lang="en-GB" sz="1100" b="1" i="0" u="none" strike="noStrike" kern="1200" cap="none" spc="0" normalizeH="0" baseline="0" noProof="0">
                  <a:ln>
                    <a:noFill/>
                  </a:ln>
                  <a:solidFill>
                    <a:srgbClr val="F2F2F2">
                      <a:lumMod val="10000"/>
                    </a:srgbClr>
                  </a:solidFill>
                  <a:effectLst/>
                  <a:uLnTx/>
                  <a:uFillTx/>
                  <a:latin typeface="Verdana" panose="020B0604030504040204" pitchFamily="34" charset="0"/>
                  <a:ea typeface="Verdana" panose="020B0604030504040204" pitchFamily="34" charset="0"/>
                  <a:cs typeface="Arial" pitchFamily="34" charset="0"/>
                </a:rPr>
              </a:br>
              <a:r>
                <a:rPr kumimoji="0" lang="en-GB" sz="1100" b="1" i="0" u="none" strike="noStrike" kern="1200" cap="none" spc="0" normalizeH="0" baseline="0" noProof="0">
                  <a:ln>
                    <a:noFill/>
                  </a:ln>
                  <a:solidFill>
                    <a:srgbClr val="F2F2F2">
                      <a:lumMod val="10000"/>
                    </a:srgbClr>
                  </a:solidFill>
                  <a:effectLst/>
                  <a:uLnTx/>
                  <a:uFillTx/>
                  <a:latin typeface="Verdana" panose="020B0604030504040204" pitchFamily="34" charset="0"/>
                  <a:ea typeface="Verdana" panose="020B0604030504040204" pitchFamily="34" charset="0"/>
                  <a:cs typeface="Arial" pitchFamily="34" charset="0"/>
                </a:rPr>
                <a:t>and GDFs</a:t>
              </a:r>
            </a:p>
          </p:txBody>
        </p:sp>
        <p:sp>
          <p:nvSpPr>
            <p:cNvPr id="269" name="Rectangle: Rounded Corners 268">
              <a:extLst>
                <a:ext uri="{FF2B5EF4-FFF2-40B4-BE49-F238E27FC236}">
                  <a16:creationId xmlns:a16="http://schemas.microsoft.com/office/drawing/2014/main" id="{B88A4553-92D1-4342-AD25-6207A820FCB8}"/>
                </a:ext>
              </a:extLst>
            </p:cNvPr>
            <p:cNvSpPr/>
            <p:nvPr/>
          </p:nvSpPr>
          <p:spPr bwMode="auto">
            <a:xfrm>
              <a:off x="10055013" y="3033634"/>
              <a:ext cx="194455" cy="194455"/>
            </a:xfrm>
            <a:prstGeom prst="roundRect">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70" name="Rectangle: Rounded Corners 269">
              <a:extLst>
                <a:ext uri="{FF2B5EF4-FFF2-40B4-BE49-F238E27FC236}">
                  <a16:creationId xmlns:a16="http://schemas.microsoft.com/office/drawing/2014/main" id="{D76D4F23-5E32-40A4-AACF-0BC97568B539}"/>
                </a:ext>
              </a:extLst>
            </p:cNvPr>
            <p:cNvSpPr/>
            <p:nvPr/>
          </p:nvSpPr>
          <p:spPr bwMode="auto">
            <a:xfrm>
              <a:off x="10575511" y="2594342"/>
              <a:ext cx="194455" cy="194455"/>
            </a:xfrm>
            <a:prstGeom prst="roundRect">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71" name="Rectangle: Rounded Corners 270">
              <a:extLst>
                <a:ext uri="{FF2B5EF4-FFF2-40B4-BE49-F238E27FC236}">
                  <a16:creationId xmlns:a16="http://schemas.microsoft.com/office/drawing/2014/main" id="{D33DA78A-9638-4BAB-B9A3-E69D26839382}"/>
                </a:ext>
              </a:extLst>
            </p:cNvPr>
            <p:cNvSpPr/>
            <p:nvPr/>
          </p:nvSpPr>
          <p:spPr bwMode="auto">
            <a:xfrm>
              <a:off x="7528769" y="4944066"/>
              <a:ext cx="1784069" cy="232675"/>
            </a:xfrm>
            <a:prstGeom prst="roundRect">
              <a:avLst/>
            </a:prstGeom>
            <a:solidFill>
              <a:schemeClr val="accent3">
                <a:lumMod val="20000"/>
                <a:lumOff val="80000"/>
              </a:schemeClr>
            </a:solidFill>
            <a:ln w="12700" cap="flat" cmpd="sng" algn="ctr">
              <a:solidFill>
                <a:srgbClr val="000000"/>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Gremlin-1 and noggin</a:t>
              </a:r>
            </a:p>
          </p:txBody>
        </p:sp>
        <p:sp>
          <p:nvSpPr>
            <p:cNvPr id="272" name="Freeform: Shape 271">
              <a:extLst>
                <a:ext uri="{FF2B5EF4-FFF2-40B4-BE49-F238E27FC236}">
                  <a16:creationId xmlns:a16="http://schemas.microsoft.com/office/drawing/2014/main" id="{E2888915-6F3C-415F-86C5-4F3550DE79EC}"/>
                </a:ext>
              </a:extLst>
            </p:cNvPr>
            <p:cNvSpPr/>
            <p:nvPr/>
          </p:nvSpPr>
          <p:spPr bwMode="auto">
            <a:xfrm>
              <a:off x="9355751" y="4792867"/>
              <a:ext cx="799293" cy="273920"/>
            </a:xfrm>
            <a:custGeom>
              <a:avLst/>
              <a:gdLst>
                <a:gd name="connsiteX0" fmla="*/ 1033669 w 1033669"/>
                <a:gd name="connsiteY0" fmla="*/ 0 h 612251"/>
                <a:gd name="connsiteX1" fmla="*/ 1033669 w 1033669"/>
                <a:gd name="connsiteY1" fmla="*/ 612251 h 612251"/>
                <a:gd name="connsiteX2" fmla="*/ 0 w 1033669"/>
                <a:gd name="connsiteY2" fmla="*/ 612251 h 612251"/>
              </a:gdLst>
              <a:ahLst/>
              <a:cxnLst>
                <a:cxn ang="0">
                  <a:pos x="connsiteX0" y="connsiteY0"/>
                </a:cxn>
                <a:cxn ang="0">
                  <a:pos x="connsiteX1" y="connsiteY1"/>
                </a:cxn>
                <a:cxn ang="0">
                  <a:pos x="connsiteX2" y="connsiteY2"/>
                </a:cxn>
              </a:cxnLst>
              <a:rect l="l" t="t" r="r" b="b"/>
              <a:pathLst>
                <a:path w="1033669" h="612251">
                  <a:moveTo>
                    <a:pt x="1033669" y="0"/>
                  </a:moveTo>
                  <a:lnTo>
                    <a:pt x="1033669" y="612251"/>
                  </a:lnTo>
                  <a:lnTo>
                    <a:pt x="0" y="612251"/>
                  </a:lnTo>
                </a:path>
              </a:pathLst>
            </a:custGeom>
            <a:noFill/>
            <a:ln w="25400" cap="rnd" cmpd="sng" algn="ctr">
              <a:solidFill>
                <a:srgbClr val="000000"/>
              </a:solidFill>
              <a:prstDash val="sysDash"/>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cxnSp>
          <p:nvCxnSpPr>
            <p:cNvPr id="273" name="Straight Arrow Connector 272">
              <a:extLst>
                <a:ext uri="{FF2B5EF4-FFF2-40B4-BE49-F238E27FC236}">
                  <a16:creationId xmlns:a16="http://schemas.microsoft.com/office/drawing/2014/main" id="{EE85895F-50CC-432C-BFA5-BA7E7A045569}"/>
                </a:ext>
              </a:extLst>
            </p:cNvPr>
            <p:cNvCxnSpPr/>
            <p:nvPr/>
          </p:nvCxnSpPr>
          <p:spPr>
            <a:xfrm>
              <a:off x="10155044" y="3914359"/>
              <a:ext cx="0" cy="377867"/>
            </a:xfrm>
            <a:prstGeom prst="straightConnector1">
              <a:avLst/>
            </a:prstGeom>
            <a:ln w="41275" cap="rnd">
              <a:solidFill>
                <a:schemeClr val="bg2">
                  <a:lumMod val="10000"/>
                </a:schemeClr>
              </a:solidFill>
              <a:prstDash val="sysDot"/>
              <a:tailEnd type="triangle"/>
            </a:ln>
          </p:spPr>
          <p:style>
            <a:lnRef idx="1">
              <a:schemeClr val="accent1"/>
            </a:lnRef>
            <a:fillRef idx="0">
              <a:schemeClr val="accent1"/>
            </a:fillRef>
            <a:effectRef idx="0">
              <a:schemeClr val="accent1"/>
            </a:effectRef>
            <a:fontRef idx="minor">
              <a:schemeClr val="tx1"/>
            </a:fontRef>
          </p:style>
        </p:cxnSp>
        <p:sp>
          <p:nvSpPr>
            <p:cNvPr id="274" name="Freeform: Shape 273">
              <a:extLst>
                <a:ext uri="{FF2B5EF4-FFF2-40B4-BE49-F238E27FC236}">
                  <a16:creationId xmlns:a16="http://schemas.microsoft.com/office/drawing/2014/main" id="{DE4EFC24-2134-4E25-8D33-3DFA3000996B}"/>
                </a:ext>
              </a:extLst>
            </p:cNvPr>
            <p:cNvSpPr/>
            <p:nvPr/>
          </p:nvSpPr>
          <p:spPr bwMode="auto">
            <a:xfrm>
              <a:off x="7104146" y="2825683"/>
              <a:ext cx="352383" cy="2241102"/>
            </a:xfrm>
            <a:custGeom>
              <a:avLst/>
              <a:gdLst>
                <a:gd name="connsiteX0" fmla="*/ 302149 w 302149"/>
                <a:gd name="connsiteY0" fmla="*/ 1908313 h 1908313"/>
                <a:gd name="connsiteX1" fmla="*/ 0 w 302149"/>
                <a:gd name="connsiteY1" fmla="*/ 1908313 h 1908313"/>
                <a:gd name="connsiteX2" fmla="*/ 0 w 302149"/>
                <a:gd name="connsiteY2" fmla="*/ 0 h 1908313"/>
                <a:gd name="connsiteX3" fmla="*/ 286246 w 302149"/>
                <a:gd name="connsiteY3" fmla="*/ 0 h 1908313"/>
              </a:gdLst>
              <a:ahLst/>
              <a:cxnLst>
                <a:cxn ang="0">
                  <a:pos x="connsiteX0" y="connsiteY0"/>
                </a:cxn>
                <a:cxn ang="0">
                  <a:pos x="connsiteX1" y="connsiteY1"/>
                </a:cxn>
                <a:cxn ang="0">
                  <a:pos x="connsiteX2" y="connsiteY2"/>
                </a:cxn>
                <a:cxn ang="0">
                  <a:pos x="connsiteX3" y="connsiteY3"/>
                </a:cxn>
              </a:cxnLst>
              <a:rect l="l" t="t" r="r" b="b"/>
              <a:pathLst>
                <a:path w="302149" h="1908313">
                  <a:moveTo>
                    <a:pt x="302149" y="1908313"/>
                  </a:moveTo>
                  <a:lnTo>
                    <a:pt x="0" y="1908313"/>
                  </a:lnTo>
                  <a:lnTo>
                    <a:pt x="0" y="0"/>
                  </a:lnTo>
                  <a:lnTo>
                    <a:pt x="286246" y="0"/>
                  </a:lnTo>
                </a:path>
              </a:pathLst>
            </a:custGeom>
            <a:noFill/>
            <a:ln w="25400" cap="rnd" cmpd="sng" algn="ctr">
              <a:solidFill>
                <a:srgbClr val="000000"/>
              </a:solidFill>
              <a:prstDash val="sysDash"/>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cxnSp>
          <p:nvCxnSpPr>
            <p:cNvPr id="275" name="Straight Connector 274">
              <a:extLst>
                <a:ext uri="{FF2B5EF4-FFF2-40B4-BE49-F238E27FC236}">
                  <a16:creationId xmlns:a16="http://schemas.microsoft.com/office/drawing/2014/main" id="{CD4E222B-FB36-4D03-BEB9-C3F480053966}"/>
                </a:ext>
              </a:extLst>
            </p:cNvPr>
            <p:cNvCxnSpPr/>
            <p:nvPr/>
          </p:nvCxnSpPr>
          <p:spPr bwMode="auto">
            <a:xfrm>
              <a:off x="7452039" y="2751496"/>
              <a:ext cx="0" cy="148372"/>
            </a:xfrm>
            <a:prstGeom prst="line">
              <a:avLst/>
            </a:prstGeom>
            <a:solidFill>
              <a:srgbClr val="C0C0C0"/>
            </a:solidFill>
            <a:ln w="25400" cap="rnd" cmpd="sng" algn="ctr">
              <a:solidFill>
                <a:srgbClr val="000000"/>
              </a:solidFill>
              <a:prstDash val="solid"/>
              <a:round/>
              <a:headEnd type="none" w="med" len="med"/>
              <a:tailEnd type="none" w="med" len="med"/>
            </a:ln>
            <a:effectLst/>
          </p:spPr>
        </p:cxnSp>
        <p:sp>
          <p:nvSpPr>
            <p:cNvPr id="276" name="Rectangle: Rounded Corners 275">
              <a:extLst>
                <a:ext uri="{FF2B5EF4-FFF2-40B4-BE49-F238E27FC236}">
                  <a16:creationId xmlns:a16="http://schemas.microsoft.com/office/drawing/2014/main" id="{B7094634-A9B0-48D7-A0E9-7D4BAB9021DC}"/>
                </a:ext>
              </a:extLst>
            </p:cNvPr>
            <p:cNvSpPr/>
            <p:nvPr/>
          </p:nvSpPr>
          <p:spPr bwMode="auto">
            <a:xfrm>
              <a:off x="9534713" y="2589529"/>
              <a:ext cx="194455" cy="194455"/>
            </a:xfrm>
            <a:prstGeom prst="roundRect">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77" name="Rectangle: Rounded Corners 276">
              <a:extLst>
                <a:ext uri="{FF2B5EF4-FFF2-40B4-BE49-F238E27FC236}">
                  <a16:creationId xmlns:a16="http://schemas.microsoft.com/office/drawing/2014/main" id="{29D94074-E752-4724-A6F7-4D137206B29A}"/>
                </a:ext>
              </a:extLst>
            </p:cNvPr>
            <p:cNvSpPr/>
            <p:nvPr/>
          </p:nvSpPr>
          <p:spPr bwMode="auto">
            <a:xfrm>
              <a:off x="7591072" y="2557295"/>
              <a:ext cx="194455" cy="194455"/>
            </a:xfrm>
            <a:prstGeom prst="roundRect">
              <a:avLst/>
            </a:prstGeom>
            <a:solidFill>
              <a:schemeClr val="accent4"/>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78" name="Rectangle: Rounded Corners 277">
              <a:extLst>
                <a:ext uri="{FF2B5EF4-FFF2-40B4-BE49-F238E27FC236}">
                  <a16:creationId xmlns:a16="http://schemas.microsoft.com/office/drawing/2014/main" id="{7DDF2671-9B42-49D7-92A2-226179E1720F}"/>
                </a:ext>
              </a:extLst>
            </p:cNvPr>
            <p:cNvSpPr/>
            <p:nvPr/>
          </p:nvSpPr>
          <p:spPr bwMode="auto">
            <a:xfrm>
              <a:off x="10619510" y="2932510"/>
              <a:ext cx="194455" cy="194455"/>
            </a:xfrm>
            <a:prstGeom prst="roundRect">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grpSp>
          <p:nvGrpSpPr>
            <p:cNvPr id="279" name="Group 278">
              <a:extLst>
                <a:ext uri="{FF2B5EF4-FFF2-40B4-BE49-F238E27FC236}">
                  <a16:creationId xmlns:a16="http://schemas.microsoft.com/office/drawing/2014/main" id="{3342273C-B8E5-4D03-A365-590E06BBB1BC}"/>
                </a:ext>
              </a:extLst>
            </p:cNvPr>
            <p:cNvGrpSpPr/>
            <p:nvPr/>
          </p:nvGrpSpPr>
          <p:grpSpPr>
            <a:xfrm>
              <a:off x="8089027" y="3469444"/>
              <a:ext cx="263861" cy="263861"/>
              <a:chOff x="7425809" y="5590903"/>
              <a:chExt cx="263861" cy="263861"/>
            </a:xfrm>
          </p:grpSpPr>
          <p:sp>
            <p:nvSpPr>
              <p:cNvPr id="280" name="Oval 279">
                <a:extLst>
                  <a:ext uri="{FF2B5EF4-FFF2-40B4-BE49-F238E27FC236}">
                    <a16:creationId xmlns:a16="http://schemas.microsoft.com/office/drawing/2014/main" id="{A5126098-FDAC-45A5-91A8-3C0CB8D8C566}"/>
                  </a:ext>
                </a:extLst>
              </p:cNvPr>
              <p:cNvSpPr/>
              <p:nvPr/>
            </p:nvSpPr>
            <p:spPr bwMode="auto">
              <a:xfrm>
                <a:off x="7425809" y="5590903"/>
                <a:ext cx="263861" cy="263861"/>
              </a:xfrm>
              <a:prstGeom prst="ellipse">
                <a:avLst/>
              </a:prstGeom>
              <a:solidFill>
                <a:schemeClr val="bg1">
                  <a:alpha val="50000"/>
                </a:schemeClr>
              </a:solidFill>
              <a:ln w="254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pic>
            <p:nvPicPr>
              <p:cNvPr id="281" name="Graphic 280" descr="Close with solid fill">
                <a:extLst>
                  <a:ext uri="{FF2B5EF4-FFF2-40B4-BE49-F238E27FC236}">
                    <a16:creationId xmlns:a16="http://schemas.microsoft.com/office/drawing/2014/main" id="{1731853F-9CE3-41C2-9F9B-19AB3E20230D}"/>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449739" y="5614833"/>
                <a:ext cx="216000" cy="216000"/>
              </a:xfrm>
              <a:prstGeom prst="rect">
                <a:avLst/>
              </a:prstGeom>
            </p:spPr>
          </p:pic>
        </p:grpSp>
        <p:sp>
          <p:nvSpPr>
            <p:cNvPr id="282" name="Freeform: Shape 281">
              <a:extLst>
                <a:ext uri="{FF2B5EF4-FFF2-40B4-BE49-F238E27FC236}">
                  <a16:creationId xmlns:a16="http://schemas.microsoft.com/office/drawing/2014/main" id="{E192445B-D70F-4725-AC50-95DC19D22904}"/>
                </a:ext>
              </a:extLst>
            </p:cNvPr>
            <p:cNvSpPr/>
            <p:nvPr/>
          </p:nvSpPr>
          <p:spPr bwMode="auto">
            <a:xfrm rot="5400000">
              <a:off x="9355015" y="2511736"/>
              <a:ext cx="313338" cy="350040"/>
            </a:xfrm>
            <a:custGeom>
              <a:avLst/>
              <a:gdLst>
                <a:gd name="connsiteX0" fmla="*/ 52224 w 313338"/>
                <a:gd name="connsiteY0" fmla="*/ 0 h 350040"/>
                <a:gd name="connsiteX1" fmla="*/ 59442 w 313338"/>
                <a:gd name="connsiteY1" fmla="*/ 0 h 350040"/>
                <a:gd name="connsiteX2" fmla="*/ 59442 w 313338"/>
                <a:gd name="connsiteY2" fmla="*/ 116154 h 350040"/>
                <a:gd name="connsiteX3" fmla="*/ 91852 w 313338"/>
                <a:gd name="connsiteY3" fmla="*/ 148564 h 350040"/>
                <a:gd name="connsiteX4" fmla="*/ 221487 w 313338"/>
                <a:gd name="connsiteY4" fmla="*/ 148564 h 350040"/>
                <a:gd name="connsiteX5" fmla="*/ 253897 w 313338"/>
                <a:gd name="connsiteY5" fmla="*/ 116154 h 350040"/>
                <a:gd name="connsiteX6" fmla="*/ 253897 w 313338"/>
                <a:gd name="connsiteY6" fmla="*/ 0 h 350040"/>
                <a:gd name="connsiteX7" fmla="*/ 261114 w 313338"/>
                <a:gd name="connsiteY7" fmla="*/ 0 h 350040"/>
                <a:gd name="connsiteX8" fmla="*/ 313338 w 313338"/>
                <a:gd name="connsiteY8" fmla="*/ 52224 h 350040"/>
                <a:gd name="connsiteX9" fmla="*/ 313338 w 313338"/>
                <a:gd name="connsiteY9" fmla="*/ 193806 h 350040"/>
                <a:gd name="connsiteX10" fmla="*/ 241750 w 313338"/>
                <a:gd name="connsiteY10" fmla="*/ 193806 h 350040"/>
                <a:gd name="connsiteX11" fmla="*/ 209340 w 313338"/>
                <a:gd name="connsiteY11" fmla="*/ 226216 h 350040"/>
                <a:gd name="connsiteX12" fmla="*/ 209340 w 313338"/>
                <a:gd name="connsiteY12" fmla="*/ 350040 h 350040"/>
                <a:gd name="connsiteX13" fmla="*/ 93300 w 313338"/>
                <a:gd name="connsiteY13" fmla="*/ 350040 h 350040"/>
                <a:gd name="connsiteX14" fmla="*/ 93300 w 313338"/>
                <a:gd name="connsiteY14" fmla="*/ 226216 h 350040"/>
                <a:gd name="connsiteX15" fmla="*/ 60890 w 313338"/>
                <a:gd name="connsiteY15" fmla="*/ 193806 h 350040"/>
                <a:gd name="connsiteX16" fmla="*/ 0 w 313338"/>
                <a:gd name="connsiteY16" fmla="*/ 193806 h 350040"/>
                <a:gd name="connsiteX17" fmla="*/ 0 w 313338"/>
                <a:gd name="connsiteY17" fmla="*/ 52224 h 350040"/>
                <a:gd name="connsiteX18" fmla="*/ 52224 w 313338"/>
                <a:gd name="connsiteY18" fmla="*/ 0 h 35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3338" h="350040">
                  <a:moveTo>
                    <a:pt x="52224" y="0"/>
                  </a:moveTo>
                  <a:lnTo>
                    <a:pt x="59442" y="0"/>
                  </a:lnTo>
                  <a:lnTo>
                    <a:pt x="59442" y="116154"/>
                  </a:lnTo>
                  <a:cubicBezTo>
                    <a:pt x="59442" y="134054"/>
                    <a:pt x="73952" y="148564"/>
                    <a:pt x="91852" y="148564"/>
                  </a:cubicBezTo>
                  <a:lnTo>
                    <a:pt x="221487" y="148564"/>
                  </a:lnTo>
                  <a:cubicBezTo>
                    <a:pt x="239387" y="148564"/>
                    <a:pt x="253897" y="134054"/>
                    <a:pt x="253897" y="116154"/>
                  </a:cubicBezTo>
                  <a:lnTo>
                    <a:pt x="253897" y="0"/>
                  </a:lnTo>
                  <a:lnTo>
                    <a:pt x="261114" y="0"/>
                  </a:lnTo>
                  <a:cubicBezTo>
                    <a:pt x="289957" y="0"/>
                    <a:pt x="313338" y="23381"/>
                    <a:pt x="313338" y="52224"/>
                  </a:cubicBezTo>
                  <a:lnTo>
                    <a:pt x="313338" y="193806"/>
                  </a:lnTo>
                  <a:lnTo>
                    <a:pt x="241750" y="193806"/>
                  </a:lnTo>
                  <a:cubicBezTo>
                    <a:pt x="223850" y="193806"/>
                    <a:pt x="209340" y="208316"/>
                    <a:pt x="209340" y="226216"/>
                  </a:cubicBezTo>
                  <a:lnTo>
                    <a:pt x="209340" y="350040"/>
                  </a:lnTo>
                  <a:lnTo>
                    <a:pt x="93300" y="350040"/>
                  </a:lnTo>
                  <a:lnTo>
                    <a:pt x="93300" y="226216"/>
                  </a:lnTo>
                  <a:cubicBezTo>
                    <a:pt x="93300" y="208316"/>
                    <a:pt x="78790" y="193806"/>
                    <a:pt x="60890" y="193806"/>
                  </a:cubicBezTo>
                  <a:lnTo>
                    <a:pt x="0" y="193806"/>
                  </a:lnTo>
                  <a:lnTo>
                    <a:pt x="0" y="52224"/>
                  </a:lnTo>
                  <a:cubicBezTo>
                    <a:pt x="0" y="23381"/>
                    <a:pt x="23381" y="0"/>
                    <a:pt x="52224" y="0"/>
                  </a:cubicBezTo>
                  <a:close/>
                </a:path>
              </a:pathLst>
            </a:custGeom>
            <a:solidFill>
              <a:srgbClr val="C00000"/>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83" name="Rectangle: Rounded Corners 282">
              <a:extLst>
                <a:ext uri="{FF2B5EF4-FFF2-40B4-BE49-F238E27FC236}">
                  <a16:creationId xmlns:a16="http://schemas.microsoft.com/office/drawing/2014/main" id="{D501F1D2-E938-4556-9391-0E07EA6B8BD1}"/>
                </a:ext>
              </a:extLst>
            </p:cNvPr>
            <p:cNvSpPr/>
            <p:nvPr/>
          </p:nvSpPr>
          <p:spPr bwMode="auto">
            <a:xfrm rot="20325424">
              <a:off x="9570376" y="2919380"/>
              <a:ext cx="194455" cy="194455"/>
            </a:xfrm>
            <a:prstGeom prst="roundRect">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84" name="Freeform: Shape 283">
              <a:extLst>
                <a:ext uri="{FF2B5EF4-FFF2-40B4-BE49-F238E27FC236}">
                  <a16:creationId xmlns:a16="http://schemas.microsoft.com/office/drawing/2014/main" id="{416F4406-A498-4935-A1F1-4CC21D5CD5BF}"/>
                </a:ext>
              </a:extLst>
            </p:cNvPr>
            <p:cNvSpPr/>
            <p:nvPr/>
          </p:nvSpPr>
          <p:spPr bwMode="auto">
            <a:xfrm rot="4125424">
              <a:off x="9396975" y="2887647"/>
              <a:ext cx="313338" cy="350040"/>
            </a:xfrm>
            <a:custGeom>
              <a:avLst/>
              <a:gdLst>
                <a:gd name="connsiteX0" fmla="*/ 52224 w 313338"/>
                <a:gd name="connsiteY0" fmla="*/ 0 h 350040"/>
                <a:gd name="connsiteX1" fmla="*/ 59442 w 313338"/>
                <a:gd name="connsiteY1" fmla="*/ 0 h 350040"/>
                <a:gd name="connsiteX2" fmla="*/ 59442 w 313338"/>
                <a:gd name="connsiteY2" fmla="*/ 116154 h 350040"/>
                <a:gd name="connsiteX3" fmla="*/ 91852 w 313338"/>
                <a:gd name="connsiteY3" fmla="*/ 148564 h 350040"/>
                <a:gd name="connsiteX4" fmla="*/ 221487 w 313338"/>
                <a:gd name="connsiteY4" fmla="*/ 148564 h 350040"/>
                <a:gd name="connsiteX5" fmla="*/ 253897 w 313338"/>
                <a:gd name="connsiteY5" fmla="*/ 116154 h 350040"/>
                <a:gd name="connsiteX6" fmla="*/ 253897 w 313338"/>
                <a:gd name="connsiteY6" fmla="*/ 0 h 350040"/>
                <a:gd name="connsiteX7" fmla="*/ 261114 w 313338"/>
                <a:gd name="connsiteY7" fmla="*/ 0 h 350040"/>
                <a:gd name="connsiteX8" fmla="*/ 313338 w 313338"/>
                <a:gd name="connsiteY8" fmla="*/ 52224 h 350040"/>
                <a:gd name="connsiteX9" fmla="*/ 313338 w 313338"/>
                <a:gd name="connsiteY9" fmla="*/ 193806 h 350040"/>
                <a:gd name="connsiteX10" fmla="*/ 241750 w 313338"/>
                <a:gd name="connsiteY10" fmla="*/ 193806 h 350040"/>
                <a:gd name="connsiteX11" fmla="*/ 209340 w 313338"/>
                <a:gd name="connsiteY11" fmla="*/ 226216 h 350040"/>
                <a:gd name="connsiteX12" fmla="*/ 209340 w 313338"/>
                <a:gd name="connsiteY12" fmla="*/ 350040 h 350040"/>
                <a:gd name="connsiteX13" fmla="*/ 93300 w 313338"/>
                <a:gd name="connsiteY13" fmla="*/ 350040 h 350040"/>
                <a:gd name="connsiteX14" fmla="*/ 93300 w 313338"/>
                <a:gd name="connsiteY14" fmla="*/ 226216 h 350040"/>
                <a:gd name="connsiteX15" fmla="*/ 60890 w 313338"/>
                <a:gd name="connsiteY15" fmla="*/ 193806 h 350040"/>
                <a:gd name="connsiteX16" fmla="*/ 0 w 313338"/>
                <a:gd name="connsiteY16" fmla="*/ 193806 h 350040"/>
                <a:gd name="connsiteX17" fmla="*/ 0 w 313338"/>
                <a:gd name="connsiteY17" fmla="*/ 52224 h 350040"/>
                <a:gd name="connsiteX18" fmla="*/ 52224 w 313338"/>
                <a:gd name="connsiteY18" fmla="*/ 0 h 35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3338" h="350040">
                  <a:moveTo>
                    <a:pt x="52224" y="0"/>
                  </a:moveTo>
                  <a:lnTo>
                    <a:pt x="59442" y="0"/>
                  </a:lnTo>
                  <a:lnTo>
                    <a:pt x="59442" y="116154"/>
                  </a:lnTo>
                  <a:cubicBezTo>
                    <a:pt x="59442" y="134054"/>
                    <a:pt x="73952" y="148564"/>
                    <a:pt x="91852" y="148564"/>
                  </a:cubicBezTo>
                  <a:lnTo>
                    <a:pt x="221487" y="148564"/>
                  </a:lnTo>
                  <a:cubicBezTo>
                    <a:pt x="239387" y="148564"/>
                    <a:pt x="253897" y="134054"/>
                    <a:pt x="253897" y="116154"/>
                  </a:cubicBezTo>
                  <a:lnTo>
                    <a:pt x="253897" y="0"/>
                  </a:lnTo>
                  <a:lnTo>
                    <a:pt x="261114" y="0"/>
                  </a:lnTo>
                  <a:cubicBezTo>
                    <a:pt x="289957" y="0"/>
                    <a:pt x="313338" y="23381"/>
                    <a:pt x="313338" y="52224"/>
                  </a:cubicBezTo>
                  <a:lnTo>
                    <a:pt x="313338" y="193806"/>
                  </a:lnTo>
                  <a:lnTo>
                    <a:pt x="241750" y="193806"/>
                  </a:lnTo>
                  <a:cubicBezTo>
                    <a:pt x="223850" y="193806"/>
                    <a:pt x="209340" y="208316"/>
                    <a:pt x="209340" y="226216"/>
                  </a:cubicBezTo>
                  <a:lnTo>
                    <a:pt x="209340" y="350040"/>
                  </a:lnTo>
                  <a:lnTo>
                    <a:pt x="93300" y="350040"/>
                  </a:lnTo>
                  <a:lnTo>
                    <a:pt x="93300" y="226216"/>
                  </a:lnTo>
                  <a:cubicBezTo>
                    <a:pt x="93300" y="208316"/>
                    <a:pt x="78790" y="193806"/>
                    <a:pt x="60890" y="193806"/>
                  </a:cubicBezTo>
                  <a:lnTo>
                    <a:pt x="0" y="193806"/>
                  </a:lnTo>
                  <a:lnTo>
                    <a:pt x="0" y="52224"/>
                  </a:lnTo>
                  <a:cubicBezTo>
                    <a:pt x="0" y="23381"/>
                    <a:pt x="23381" y="0"/>
                    <a:pt x="52224" y="0"/>
                  </a:cubicBezTo>
                  <a:close/>
                </a:path>
              </a:pathLst>
            </a:custGeom>
            <a:solidFill>
              <a:srgbClr val="C00000"/>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85" name="Freeform: Shape 284">
              <a:extLst>
                <a:ext uri="{FF2B5EF4-FFF2-40B4-BE49-F238E27FC236}">
                  <a16:creationId xmlns:a16="http://schemas.microsoft.com/office/drawing/2014/main" id="{2F207640-CC19-46FE-94CE-8ABDA956AB0F}"/>
                </a:ext>
              </a:extLst>
            </p:cNvPr>
            <p:cNvSpPr/>
            <p:nvPr/>
          </p:nvSpPr>
          <p:spPr bwMode="auto">
            <a:xfrm rot="16200000">
              <a:off x="10689009" y="2848557"/>
              <a:ext cx="313338" cy="350040"/>
            </a:xfrm>
            <a:custGeom>
              <a:avLst/>
              <a:gdLst>
                <a:gd name="connsiteX0" fmla="*/ 52224 w 313338"/>
                <a:gd name="connsiteY0" fmla="*/ 0 h 350040"/>
                <a:gd name="connsiteX1" fmla="*/ 59442 w 313338"/>
                <a:gd name="connsiteY1" fmla="*/ 0 h 350040"/>
                <a:gd name="connsiteX2" fmla="*/ 59442 w 313338"/>
                <a:gd name="connsiteY2" fmla="*/ 116154 h 350040"/>
                <a:gd name="connsiteX3" fmla="*/ 91852 w 313338"/>
                <a:gd name="connsiteY3" fmla="*/ 148564 h 350040"/>
                <a:gd name="connsiteX4" fmla="*/ 221487 w 313338"/>
                <a:gd name="connsiteY4" fmla="*/ 148564 h 350040"/>
                <a:gd name="connsiteX5" fmla="*/ 253897 w 313338"/>
                <a:gd name="connsiteY5" fmla="*/ 116154 h 350040"/>
                <a:gd name="connsiteX6" fmla="*/ 253897 w 313338"/>
                <a:gd name="connsiteY6" fmla="*/ 0 h 350040"/>
                <a:gd name="connsiteX7" fmla="*/ 261114 w 313338"/>
                <a:gd name="connsiteY7" fmla="*/ 0 h 350040"/>
                <a:gd name="connsiteX8" fmla="*/ 313338 w 313338"/>
                <a:gd name="connsiteY8" fmla="*/ 52224 h 350040"/>
                <a:gd name="connsiteX9" fmla="*/ 313338 w 313338"/>
                <a:gd name="connsiteY9" fmla="*/ 193806 h 350040"/>
                <a:gd name="connsiteX10" fmla="*/ 241750 w 313338"/>
                <a:gd name="connsiteY10" fmla="*/ 193806 h 350040"/>
                <a:gd name="connsiteX11" fmla="*/ 209340 w 313338"/>
                <a:gd name="connsiteY11" fmla="*/ 226216 h 350040"/>
                <a:gd name="connsiteX12" fmla="*/ 209340 w 313338"/>
                <a:gd name="connsiteY12" fmla="*/ 350040 h 350040"/>
                <a:gd name="connsiteX13" fmla="*/ 93300 w 313338"/>
                <a:gd name="connsiteY13" fmla="*/ 350040 h 350040"/>
                <a:gd name="connsiteX14" fmla="*/ 93300 w 313338"/>
                <a:gd name="connsiteY14" fmla="*/ 226216 h 350040"/>
                <a:gd name="connsiteX15" fmla="*/ 60890 w 313338"/>
                <a:gd name="connsiteY15" fmla="*/ 193806 h 350040"/>
                <a:gd name="connsiteX16" fmla="*/ 0 w 313338"/>
                <a:gd name="connsiteY16" fmla="*/ 193806 h 350040"/>
                <a:gd name="connsiteX17" fmla="*/ 0 w 313338"/>
                <a:gd name="connsiteY17" fmla="*/ 52224 h 350040"/>
                <a:gd name="connsiteX18" fmla="*/ 52224 w 313338"/>
                <a:gd name="connsiteY18" fmla="*/ 0 h 35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13338" h="350040">
                  <a:moveTo>
                    <a:pt x="52224" y="0"/>
                  </a:moveTo>
                  <a:lnTo>
                    <a:pt x="59442" y="0"/>
                  </a:lnTo>
                  <a:lnTo>
                    <a:pt x="59442" y="116154"/>
                  </a:lnTo>
                  <a:cubicBezTo>
                    <a:pt x="59442" y="134054"/>
                    <a:pt x="73952" y="148564"/>
                    <a:pt x="91852" y="148564"/>
                  </a:cubicBezTo>
                  <a:lnTo>
                    <a:pt x="221487" y="148564"/>
                  </a:lnTo>
                  <a:cubicBezTo>
                    <a:pt x="239387" y="148564"/>
                    <a:pt x="253897" y="134054"/>
                    <a:pt x="253897" y="116154"/>
                  </a:cubicBezTo>
                  <a:lnTo>
                    <a:pt x="253897" y="0"/>
                  </a:lnTo>
                  <a:lnTo>
                    <a:pt x="261114" y="0"/>
                  </a:lnTo>
                  <a:cubicBezTo>
                    <a:pt x="289957" y="0"/>
                    <a:pt x="313338" y="23381"/>
                    <a:pt x="313338" y="52224"/>
                  </a:cubicBezTo>
                  <a:lnTo>
                    <a:pt x="313338" y="193806"/>
                  </a:lnTo>
                  <a:lnTo>
                    <a:pt x="241750" y="193806"/>
                  </a:lnTo>
                  <a:cubicBezTo>
                    <a:pt x="223850" y="193806"/>
                    <a:pt x="209340" y="208316"/>
                    <a:pt x="209340" y="226216"/>
                  </a:cubicBezTo>
                  <a:lnTo>
                    <a:pt x="209340" y="350040"/>
                  </a:lnTo>
                  <a:lnTo>
                    <a:pt x="93300" y="350040"/>
                  </a:lnTo>
                  <a:lnTo>
                    <a:pt x="93300" y="226216"/>
                  </a:lnTo>
                  <a:cubicBezTo>
                    <a:pt x="93300" y="208316"/>
                    <a:pt x="78790" y="193806"/>
                    <a:pt x="60890" y="193806"/>
                  </a:cubicBezTo>
                  <a:lnTo>
                    <a:pt x="0" y="193806"/>
                  </a:lnTo>
                  <a:lnTo>
                    <a:pt x="0" y="52224"/>
                  </a:lnTo>
                  <a:cubicBezTo>
                    <a:pt x="0" y="23381"/>
                    <a:pt x="23381" y="0"/>
                    <a:pt x="52224" y="0"/>
                  </a:cubicBezTo>
                  <a:close/>
                </a:path>
              </a:pathLst>
            </a:custGeom>
            <a:solidFill>
              <a:srgbClr val="C00000"/>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86" name="TextBox 285">
              <a:extLst>
                <a:ext uri="{FF2B5EF4-FFF2-40B4-BE49-F238E27FC236}">
                  <a16:creationId xmlns:a16="http://schemas.microsoft.com/office/drawing/2014/main" id="{A0C743B0-FFBA-4BAE-BB59-0AACB8185865}"/>
                </a:ext>
              </a:extLst>
            </p:cNvPr>
            <p:cNvSpPr txBox="1"/>
            <p:nvPr/>
          </p:nvSpPr>
          <p:spPr>
            <a:xfrm>
              <a:off x="8460392" y="2737098"/>
              <a:ext cx="111451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C00000"/>
                  </a:solidFill>
                  <a:effectLst/>
                  <a:uLnTx/>
                  <a:uFillTx/>
                  <a:latin typeface="Verdana" panose="020B0604030504040204" pitchFamily="34" charset="0"/>
                  <a:ea typeface="Verdana" panose="020B0604030504040204" pitchFamily="34" charset="0"/>
                  <a:cs typeface="Arial" pitchFamily="34" charset="0"/>
                </a:rPr>
                <a:t>Sotatercept</a:t>
              </a:r>
            </a:p>
          </p:txBody>
        </p:sp>
        <p:sp>
          <p:nvSpPr>
            <p:cNvPr id="287" name="Rectangle: Rounded Corners 286">
              <a:extLst>
                <a:ext uri="{FF2B5EF4-FFF2-40B4-BE49-F238E27FC236}">
                  <a16:creationId xmlns:a16="http://schemas.microsoft.com/office/drawing/2014/main" id="{F095145F-87D5-4489-8166-2F0FC33D32FB}"/>
                </a:ext>
              </a:extLst>
            </p:cNvPr>
            <p:cNvSpPr/>
            <p:nvPr/>
          </p:nvSpPr>
          <p:spPr bwMode="auto">
            <a:xfrm rot="1434672">
              <a:off x="8259383" y="2546816"/>
              <a:ext cx="194455" cy="194455"/>
            </a:xfrm>
            <a:prstGeom prst="roundRect">
              <a:avLst/>
            </a:prstGeom>
            <a:solidFill>
              <a:schemeClr val="accent4"/>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88" name="Rectangle: Rounded Corners 287">
              <a:extLst>
                <a:ext uri="{FF2B5EF4-FFF2-40B4-BE49-F238E27FC236}">
                  <a16:creationId xmlns:a16="http://schemas.microsoft.com/office/drawing/2014/main" id="{44091CFA-C705-431B-8B11-0BC5482504CA}"/>
                </a:ext>
              </a:extLst>
            </p:cNvPr>
            <p:cNvSpPr/>
            <p:nvPr/>
          </p:nvSpPr>
          <p:spPr bwMode="auto">
            <a:xfrm>
              <a:off x="7961595" y="3147156"/>
              <a:ext cx="194455" cy="194455"/>
            </a:xfrm>
            <a:prstGeom prst="roundRect">
              <a:avLst/>
            </a:prstGeom>
            <a:solidFill>
              <a:schemeClr val="accent4"/>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89" name="Rectangle: Rounded Corners 288">
              <a:extLst>
                <a:ext uri="{FF2B5EF4-FFF2-40B4-BE49-F238E27FC236}">
                  <a16:creationId xmlns:a16="http://schemas.microsoft.com/office/drawing/2014/main" id="{3F0F1466-4FF8-4BA1-82AD-33E86D94B752}"/>
                </a:ext>
              </a:extLst>
            </p:cNvPr>
            <p:cNvSpPr/>
            <p:nvPr/>
          </p:nvSpPr>
          <p:spPr bwMode="auto">
            <a:xfrm>
              <a:off x="7544322" y="2884484"/>
              <a:ext cx="194455" cy="194455"/>
            </a:xfrm>
            <a:prstGeom prst="roundRect">
              <a:avLst/>
            </a:prstGeom>
            <a:solidFill>
              <a:schemeClr val="accent4"/>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90" name="TextBox 289">
              <a:extLst>
                <a:ext uri="{FF2B5EF4-FFF2-40B4-BE49-F238E27FC236}">
                  <a16:creationId xmlns:a16="http://schemas.microsoft.com/office/drawing/2014/main" id="{A4306A3B-2630-443D-BB8A-4C8DE2EE3BD8}"/>
                </a:ext>
              </a:extLst>
            </p:cNvPr>
            <p:cNvSpPr txBox="1"/>
            <p:nvPr/>
          </p:nvSpPr>
          <p:spPr>
            <a:xfrm>
              <a:off x="8294644" y="3296810"/>
              <a:ext cx="821916"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Arial" pitchFamily="34" charset="0"/>
                </a:rPr>
                <a:t>BMPR-II</a:t>
              </a:r>
            </a:p>
          </p:txBody>
        </p:sp>
        <p:sp>
          <p:nvSpPr>
            <p:cNvPr id="291" name="TextBox 290">
              <a:extLst>
                <a:ext uri="{FF2B5EF4-FFF2-40B4-BE49-F238E27FC236}">
                  <a16:creationId xmlns:a16="http://schemas.microsoft.com/office/drawing/2014/main" id="{9255221A-16D3-46A8-9E97-9F64A51B6B39}"/>
                </a:ext>
              </a:extLst>
            </p:cNvPr>
            <p:cNvSpPr txBox="1"/>
            <p:nvPr/>
          </p:nvSpPr>
          <p:spPr>
            <a:xfrm>
              <a:off x="6994211" y="3142921"/>
              <a:ext cx="891810"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2F2F2">
                      <a:lumMod val="10000"/>
                    </a:srgbClr>
                  </a:solidFill>
                  <a:effectLst/>
                  <a:uLnTx/>
                  <a:uFillTx/>
                  <a:latin typeface="Verdana" panose="020B0604030504040204" pitchFamily="34" charset="0"/>
                  <a:ea typeface="Verdana" panose="020B0604030504040204" pitchFamily="34" charset="0"/>
                  <a:cs typeface="Arial" pitchFamily="34" charset="0"/>
                </a:rPr>
                <a:t>ALK</a:t>
              </a:r>
              <a:br>
                <a:rPr kumimoji="0" lang="en-GB" sz="1000" b="1" i="0" u="none" strike="noStrike" kern="1200" cap="none" spc="0" normalizeH="0" baseline="0" noProof="0">
                  <a:ln>
                    <a:noFill/>
                  </a:ln>
                  <a:solidFill>
                    <a:srgbClr val="F2F2F2">
                      <a:lumMod val="10000"/>
                    </a:srgbClr>
                  </a:solidFill>
                  <a:effectLst/>
                  <a:uLnTx/>
                  <a:uFillTx/>
                  <a:latin typeface="Verdana" panose="020B0604030504040204" pitchFamily="34" charset="0"/>
                  <a:ea typeface="Verdana" panose="020B0604030504040204" pitchFamily="34" charset="0"/>
                  <a:cs typeface="Arial" pitchFamily="34" charset="0"/>
                </a:rPr>
              </a:br>
              <a:r>
                <a:rPr kumimoji="0" lang="en-GB" sz="1000" b="1" i="0" u="none" strike="noStrike" kern="1200" cap="none" spc="0" normalizeH="0" baseline="0" noProof="0">
                  <a:ln>
                    <a:noFill/>
                  </a:ln>
                  <a:solidFill>
                    <a:srgbClr val="F2F2F2">
                      <a:lumMod val="10000"/>
                    </a:srgbClr>
                  </a:solidFill>
                  <a:effectLst/>
                  <a:uLnTx/>
                  <a:uFillTx/>
                  <a:latin typeface="Verdana" panose="020B0604030504040204" pitchFamily="34" charset="0"/>
                  <a:ea typeface="Verdana" panose="020B0604030504040204" pitchFamily="34" charset="0"/>
                  <a:cs typeface="Arial" pitchFamily="34" charset="0"/>
                </a:rPr>
                <a:t>1/2/3/6</a:t>
              </a:r>
            </a:p>
          </p:txBody>
        </p:sp>
        <p:sp>
          <p:nvSpPr>
            <p:cNvPr id="292" name="TextBox 291">
              <a:extLst>
                <a:ext uri="{FF2B5EF4-FFF2-40B4-BE49-F238E27FC236}">
                  <a16:creationId xmlns:a16="http://schemas.microsoft.com/office/drawing/2014/main" id="{662935DB-775C-44FD-9802-6CBC85CE9E47}"/>
                </a:ext>
              </a:extLst>
            </p:cNvPr>
            <p:cNvSpPr txBox="1"/>
            <p:nvPr/>
          </p:nvSpPr>
          <p:spPr>
            <a:xfrm>
              <a:off x="9199795" y="3142921"/>
              <a:ext cx="77321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a:ln>
                    <a:noFill/>
                  </a:ln>
                  <a:solidFill>
                    <a:srgbClr val="F2F2F2">
                      <a:lumMod val="10000"/>
                    </a:srgbClr>
                  </a:solidFill>
                  <a:effectLst/>
                  <a:uLnTx/>
                  <a:uFillTx/>
                  <a:latin typeface="Verdana" panose="020B0604030504040204" pitchFamily="34" charset="0"/>
                  <a:ea typeface="Verdana" panose="020B0604030504040204" pitchFamily="34" charset="0"/>
                  <a:cs typeface="Arial" pitchFamily="34" charset="0"/>
                </a:rPr>
                <a:t>ALK</a:t>
              </a:r>
              <a:br>
                <a:rPr kumimoji="0" lang="en-GB" sz="1000" b="1" i="0" u="none" strike="noStrike" kern="1200" cap="none" spc="0" normalizeH="0" baseline="0" noProof="0">
                  <a:ln>
                    <a:noFill/>
                  </a:ln>
                  <a:solidFill>
                    <a:srgbClr val="F2F2F2">
                      <a:lumMod val="10000"/>
                    </a:srgbClr>
                  </a:solidFill>
                  <a:effectLst/>
                  <a:uLnTx/>
                  <a:uFillTx/>
                  <a:latin typeface="Verdana" panose="020B0604030504040204" pitchFamily="34" charset="0"/>
                  <a:ea typeface="Verdana" panose="020B0604030504040204" pitchFamily="34" charset="0"/>
                  <a:cs typeface="Arial" pitchFamily="34" charset="0"/>
                </a:rPr>
              </a:br>
              <a:r>
                <a:rPr kumimoji="0" lang="en-GB" sz="1000" b="1" i="0" u="none" strike="noStrike" kern="1200" cap="none" spc="0" normalizeH="0" baseline="0" noProof="0">
                  <a:ln>
                    <a:noFill/>
                  </a:ln>
                  <a:solidFill>
                    <a:srgbClr val="F2F2F2">
                      <a:lumMod val="10000"/>
                    </a:srgbClr>
                  </a:solidFill>
                  <a:effectLst/>
                  <a:uLnTx/>
                  <a:uFillTx/>
                  <a:latin typeface="Verdana" panose="020B0604030504040204" pitchFamily="34" charset="0"/>
                  <a:ea typeface="Verdana" panose="020B0604030504040204" pitchFamily="34" charset="0"/>
                  <a:cs typeface="Arial" pitchFamily="34" charset="0"/>
                </a:rPr>
                <a:t>4/5/7</a:t>
              </a:r>
            </a:p>
          </p:txBody>
        </p:sp>
        <p:sp>
          <p:nvSpPr>
            <p:cNvPr id="293" name="Rectangle: Rounded Corners 292">
              <a:extLst>
                <a:ext uri="{FF2B5EF4-FFF2-40B4-BE49-F238E27FC236}">
                  <a16:creationId xmlns:a16="http://schemas.microsoft.com/office/drawing/2014/main" id="{DCA9CEF7-0124-4833-9C2C-B9000B550344}"/>
                </a:ext>
              </a:extLst>
            </p:cNvPr>
            <p:cNvSpPr/>
            <p:nvPr/>
          </p:nvSpPr>
          <p:spPr bwMode="auto">
            <a:xfrm>
              <a:off x="7341173" y="2277803"/>
              <a:ext cx="1429520" cy="232675"/>
            </a:xfrm>
            <a:prstGeom prst="roundRect">
              <a:avLst/>
            </a:prstGeom>
            <a:solidFill>
              <a:schemeClr val="accent5">
                <a:lumMod val="40000"/>
                <a:lumOff val="60000"/>
              </a:schemeClr>
            </a:solidFill>
            <a:ln w="12700" cap="flat" cmpd="sng" algn="ctr">
              <a:solidFill>
                <a:srgbClr val="000000"/>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dirty="0">
                  <a:ln>
                    <a:noFill/>
                  </a:ln>
                  <a:solidFill>
                    <a:srgbClr val="000000"/>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Anti-proliferative</a:t>
              </a:r>
            </a:p>
          </p:txBody>
        </p:sp>
        <p:sp>
          <p:nvSpPr>
            <p:cNvPr id="294" name="Rectangle: Rounded Corners 293">
              <a:extLst>
                <a:ext uri="{FF2B5EF4-FFF2-40B4-BE49-F238E27FC236}">
                  <a16:creationId xmlns:a16="http://schemas.microsoft.com/office/drawing/2014/main" id="{66F28586-6D17-4FBB-BD5A-EF6296748ED6}"/>
                </a:ext>
              </a:extLst>
            </p:cNvPr>
            <p:cNvSpPr/>
            <p:nvPr/>
          </p:nvSpPr>
          <p:spPr bwMode="auto">
            <a:xfrm>
              <a:off x="9428945" y="2277803"/>
              <a:ext cx="1429520" cy="232675"/>
            </a:xfrm>
            <a:prstGeom prst="roundRect">
              <a:avLst/>
            </a:prstGeom>
            <a:solidFill>
              <a:srgbClr val="F7BDA3"/>
            </a:solidFill>
            <a:ln w="12700" cap="flat" cmpd="sng" algn="ctr">
              <a:solidFill>
                <a:srgbClr val="000000"/>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Verdana"/>
                  <a:ea typeface="Verdana"/>
                  <a:cs typeface="ヒラギノ角ゴ ProN W3" pitchFamily="-110" charset="-128"/>
                  <a:sym typeface="Arial" pitchFamily="-110" charset="0"/>
                </a:rPr>
                <a:t>Pro-proliferative</a:t>
              </a:r>
              <a:endParaRPr kumimoji="0" lang="en-US" sz="105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295" name="TextBox 294">
              <a:extLst>
                <a:ext uri="{FF2B5EF4-FFF2-40B4-BE49-F238E27FC236}">
                  <a16:creationId xmlns:a16="http://schemas.microsoft.com/office/drawing/2014/main" id="{85FDFA7C-1024-40C5-88E1-0A1911291BB7}"/>
                </a:ext>
              </a:extLst>
            </p:cNvPr>
            <p:cNvSpPr txBox="1"/>
            <p:nvPr/>
          </p:nvSpPr>
          <p:spPr>
            <a:xfrm>
              <a:off x="10381916" y="3276189"/>
              <a:ext cx="971798"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1" i="0" u="none" strike="noStrike" kern="1200" cap="none" spc="0" normalizeH="0" baseline="0" noProof="0" err="1">
                  <a:ln>
                    <a:noFill/>
                  </a:ln>
                  <a:solidFill>
                    <a:srgbClr val="000000"/>
                  </a:solidFill>
                  <a:effectLst/>
                  <a:uLnTx/>
                  <a:uFillTx/>
                  <a:latin typeface="Verdana" panose="020B0604030504040204" pitchFamily="34" charset="0"/>
                  <a:ea typeface="Verdana" panose="020B0604030504040204" pitchFamily="34" charset="0"/>
                  <a:cs typeface="Arial" pitchFamily="34" charset="0"/>
                </a:rPr>
                <a:t>ActRII</a:t>
              </a:r>
              <a:r>
                <a:rPr kumimoji="0" lang="en-GB" sz="10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itchFamily="34" charset="0"/>
                </a:rPr>
                <a:t>A/B</a:t>
              </a:r>
            </a:p>
          </p:txBody>
        </p:sp>
      </p:grpSp>
      <p:sp>
        <p:nvSpPr>
          <p:cNvPr id="2" name="Title 1">
            <a:extLst>
              <a:ext uri="{FF2B5EF4-FFF2-40B4-BE49-F238E27FC236}">
                <a16:creationId xmlns:a16="http://schemas.microsoft.com/office/drawing/2014/main" id="{2C515BDB-23B9-4A59-915B-33C77C1ACC46}"/>
              </a:ext>
            </a:extLst>
          </p:cNvPr>
          <p:cNvSpPr>
            <a:spLocks noGrp="1"/>
          </p:cNvSpPr>
          <p:nvPr>
            <p:ph type="title"/>
          </p:nvPr>
        </p:nvSpPr>
        <p:spPr>
          <a:xfrm>
            <a:off x="315538" y="110446"/>
            <a:ext cx="11228670" cy="775597"/>
          </a:xfrm>
        </p:spPr>
        <p:txBody>
          <a:bodyPr anchor="ctr">
            <a:noAutofit/>
          </a:bodyPr>
          <a:lstStyle/>
          <a:p>
            <a:r>
              <a:rPr lang="en-GB" noProof="0" dirty="0">
                <a:latin typeface="+mn-lt"/>
              </a:rPr>
              <a:t>Therapeutic Developments in Rebalancing BMPR-II/</a:t>
            </a:r>
            <a:r>
              <a:rPr lang="en-GB" noProof="0" dirty="0" err="1">
                <a:latin typeface="+mn-lt"/>
              </a:rPr>
              <a:t>ActRII</a:t>
            </a:r>
            <a:r>
              <a:rPr lang="en-GB" noProof="0" dirty="0">
                <a:latin typeface="+mn-lt"/>
              </a:rPr>
              <a:t> in PAH</a:t>
            </a:r>
          </a:p>
        </p:txBody>
      </p:sp>
      <p:sp>
        <p:nvSpPr>
          <p:cNvPr id="3" name="Content Placeholder 2">
            <a:extLst>
              <a:ext uri="{FF2B5EF4-FFF2-40B4-BE49-F238E27FC236}">
                <a16:creationId xmlns:a16="http://schemas.microsoft.com/office/drawing/2014/main" id="{027B8877-2B45-43DA-BF46-B30BFFA41648}"/>
              </a:ext>
            </a:extLst>
          </p:cNvPr>
          <p:cNvSpPr>
            <a:spLocks noGrp="1"/>
          </p:cNvSpPr>
          <p:nvPr>
            <p:ph sz="quarter" idx="15"/>
          </p:nvPr>
        </p:nvSpPr>
        <p:spPr>
          <a:xfrm>
            <a:off x="462666" y="1059625"/>
            <a:ext cx="5646894" cy="4701628"/>
          </a:xfrm>
        </p:spPr>
        <p:txBody>
          <a:bodyPr>
            <a:noAutofit/>
          </a:bodyPr>
          <a:lstStyle/>
          <a:p>
            <a:r>
              <a:rPr lang="en-GB" sz="1800" b="1" i="1" noProof="0" dirty="0">
                <a:latin typeface="+mn-lt"/>
              </a:rPr>
              <a:t>Sotatercept</a:t>
            </a:r>
            <a:r>
              <a:rPr lang="en-GB" sz="1800" noProof="0" dirty="0">
                <a:latin typeface="+mn-lt"/>
              </a:rPr>
              <a:t> is a novel, first-in-class fusion protein that acts by rebalancing signalling between pro- and anti-proliferative pathways, thereby reversing the characteristic vascular remodelling seen in PAH</a:t>
            </a:r>
            <a:r>
              <a:rPr lang="en-GB" sz="1800" baseline="30000" noProof="0" dirty="0">
                <a:latin typeface="+mn-lt"/>
              </a:rPr>
              <a:t>1</a:t>
            </a:r>
          </a:p>
          <a:p>
            <a:r>
              <a:rPr lang="en-GB" sz="1800" dirty="0">
                <a:latin typeface="+mn-lt"/>
              </a:rPr>
              <a:t>In the Phase II PULSAR study, sotatercept (0.3 mg/kg or 0.7 mg/kg) decreased PVR* from baseline to Week 24 in patients treated with one, two or three approved PAH drugs</a:t>
            </a:r>
            <a:r>
              <a:rPr lang="en-GB" sz="1800" baseline="30000" dirty="0">
                <a:latin typeface="+mn-lt"/>
              </a:rPr>
              <a:t>1</a:t>
            </a:r>
          </a:p>
          <a:p>
            <a:r>
              <a:rPr lang="en-GB" sz="1800" dirty="0">
                <a:latin typeface="+mn-lt"/>
              </a:rPr>
              <a:t>In PHASE III STELLAR study, difference between the </a:t>
            </a:r>
            <a:r>
              <a:rPr lang="en-GB" sz="1800" dirty="0" err="1">
                <a:latin typeface="+mn-lt"/>
              </a:rPr>
              <a:t>sotatercept</a:t>
            </a:r>
            <a:r>
              <a:rPr lang="en-GB" sz="1800" dirty="0">
                <a:latin typeface="+mn-lt"/>
              </a:rPr>
              <a:t> and placebo groups in the change from baseline at week 24 in the 6MWD was 40.8 m (95% CI, 27.5 to 54.1; P&lt;0.001). The first eight secondary end points were </a:t>
            </a:r>
            <a:r>
              <a:rPr lang="en-GB" sz="1800" dirty="0" err="1">
                <a:latin typeface="+mn-lt"/>
              </a:rPr>
              <a:t>significantky</a:t>
            </a:r>
            <a:r>
              <a:rPr lang="en-GB" sz="1800" dirty="0">
                <a:latin typeface="+mn-lt"/>
              </a:rPr>
              <a:t> improved with </a:t>
            </a:r>
            <a:r>
              <a:rPr lang="en-GB" sz="1800" dirty="0" err="1">
                <a:latin typeface="+mn-lt"/>
              </a:rPr>
              <a:t>sotatercept</a:t>
            </a:r>
            <a:r>
              <a:rPr lang="en-GB" sz="1800" dirty="0">
                <a:latin typeface="+mn-lt"/>
              </a:rPr>
              <a:t> as compared with placebo.</a:t>
            </a:r>
          </a:p>
          <a:p>
            <a:pPr lvl="1"/>
            <a:r>
              <a:rPr lang="en-US" sz="1800" dirty="0">
                <a:latin typeface="+mn-lt"/>
              </a:rPr>
              <a:t>40% patients on prostacyclin infusion and 60% patients on triple therapy</a:t>
            </a:r>
            <a:endParaRPr lang="en-GB" sz="1800" baseline="30000" dirty="0">
              <a:latin typeface="+mn-lt"/>
            </a:endParaRPr>
          </a:p>
          <a:p>
            <a:endParaRPr lang="en-GB" sz="1800" baseline="30000" noProof="0" dirty="0">
              <a:latin typeface="+mn-lt"/>
            </a:endParaRPr>
          </a:p>
        </p:txBody>
      </p:sp>
      <p:sp>
        <p:nvSpPr>
          <p:cNvPr id="5" name="Text Placeholder 4">
            <a:extLst>
              <a:ext uri="{FF2B5EF4-FFF2-40B4-BE49-F238E27FC236}">
                <a16:creationId xmlns:a16="http://schemas.microsoft.com/office/drawing/2014/main" id="{35850DEE-8FC0-4A0C-BFE8-54DDFA93C4FF}"/>
              </a:ext>
            </a:extLst>
          </p:cNvPr>
          <p:cNvSpPr>
            <a:spLocks noGrp="1"/>
          </p:cNvSpPr>
          <p:nvPr>
            <p:ph type="body" sz="quarter" idx="16"/>
          </p:nvPr>
        </p:nvSpPr>
        <p:spPr>
          <a:xfrm>
            <a:off x="52171" y="6289709"/>
            <a:ext cx="11548357" cy="1344791"/>
          </a:xfrm>
        </p:spPr>
        <p:txBody>
          <a:bodyPr anchor="t">
            <a:noAutofit/>
          </a:bodyPr>
          <a:lstStyle/>
          <a:p>
            <a:pPr marL="9525">
              <a:spcBef>
                <a:spcPts val="0"/>
              </a:spcBef>
            </a:pPr>
            <a:r>
              <a:rPr lang="en-GB" sz="1000" noProof="0" dirty="0">
                <a:solidFill>
                  <a:schemeClr val="tx1"/>
                </a:solidFill>
              </a:rPr>
              <a:t>*As measured by right heart catheterisation.</a:t>
            </a:r>
          </a:p>
          <a:p>
            <a:pPr marL="9525">
              <a:spcBef>
                <a:spcPts val="0"/>
              </a:spcBef>
            </a:pPr>
            <a:r>
              <a:rPr lang="en-GB" sz="1000" noProof="0" dirty="0">
                <a:solidFill>
                  <a:schemeClr val="tx1"/>
                </a:solidFill>
              </a:rPr>
              <a:t>6MWD: 6-minute walk distance. </a:t>
            </a:r>
          </a:p>
          <a:p>
            <a:pPr marL="9525">
              <a:spcBef>
                <a:spcPts val="0"/>
              </a:spcBef>
            </a:pPr>
            <a:r>
              <a:rPr lang="en-GB" sz="1000" dirty="0">
                <a:solidFill>
                  <a:schemeClr val="tx1"/>
                </a:solidFill>
              </a:rPr>
              <a:t>1. Humbert M, et al. </a:t>
            </a:r>
            <a:r>
              <a:rPr lang="en-GB" sz="1000" i="1" dirty="0">
                <a:solidFill>
                  <a:schemeClr val="tx1"/>
                </a:solidFill>
              </a:rPr>
              <a:t>N </a:t>
            </a:r>
            <a:r>
              <a:rPr lang="en-GB" sz="1000" i="1" dirty="0" err="1">
                <a:solidFill>
                  <a:schemeClr val="tx1"/>
                </a:solidFill>
              </a:rPr>
              <a:t>Engl</a:t>
            </a:r>
            <a:r>
              <a:rPr lang="en-GB" sz="1000" i="1" dirty="0">
                <a:solidFill>
                  <a:schemeClr val="tx1"/>
                </a:solidFill>
              </a:rPr>
              <a:t> J Med. </a:t>
            </a:r>
            <a:r>
              <a:rPr lang="en-GB" sz="1000" dirty="0">
                <a:solidFill>
                  <a:schemeClr val="tx1"/>
                </a:solidFill>
              </a:rPr>
              <a:t>2021;384:1204-15; 2. Yung LM, et al. </a:t>
            </a:r>
            <a:r>
              <a:rPr lang="en-GB" sz="1000" i="1" dirty="0">
                <a:solidFill>
                  <a:schemeClr val="tx1"/>
                </a:solidFill>
              </a:rPr>
              <a:t>Sci </a:t>
            </a:r>
            <a:r>
              <a:rPr lang="en-GB" sz="1000" i="1" dirty="0" err="1">
                <a:solidFill>
                  <a:schemeClr val="tx1"/>
                </a:solidFill>
              </a:rPr>
              <a:t>Transl</a:t>
            </a:r>
            <a:r>
              <a:rPr lang="en-GB" sz="1000" i="1" dirty="0">
                <a:solidFill>
                  <a:schemeClr val="tx1"/>
                </a:solidFill>
              </a:rPr>
              <a:t> Med.</a:t>
            </a:r>
            <a:r>
              <a:rPr lang="en-GB" sz="1000" dirty="0">
                <a:solidFill>
                  <a:schemeClr val="tx1"/>
                </a:solidFill>
              </a:rPr>
              <a:t> 2020;12:eaaz5660.</a:t>
            </a:r>
            <a:endParaRPr lang="en-US" sz="1000" dirty="0">
              <a:solidFill>
                <a:schemeClr val="tx1"/>
              </a:solidFill>
            </a:endParaRPr>
          </a:p>
          <a:p>
            <a:pPr marL="9525">
              <a:spcBef>
                <a:spcPts val="0"/>
              </a:spcBef>
            </a:pPr>
            <a:endParaRPr lang="en-GB" sz="1000" strike="sngStrike" noProof="0" dirty="0">
              <a:solidFill>
                <a:schemeClr val="tx1"/>
              </a:solidFill>
            </a:endParaRPr>
          </a:p>
        </p:txBody>
      </p:sp>
    </p:spTree>
    <p:extLst>
      <p:ext uri="{BB962C8B-B14F-4D97-AF65-F5344CB8AC3E}">
        <p14:creationId xmlns:p14="http://schemas.microsoft.com/office/powerpoint/2010/main" val="270227298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1EB7C9-D2D2-4300-A123-8029BF6EC52B}"/>
              </a:ext>
            </a:extLst>
          </p:cNvPr>
          <p:cNvSpPr>
            <a:spLocks noGrp="1"/>
          </p:cNvSpPr>
          <p:nvPr>
            <p:ph type="title"/>
          </p:nvPr>
        </p:nvSpPr>
        <p:spPr>
          <a:xfrm>
            <a:off x="605367" y="378458"/>
            <a:ext cx="10145760" cy="387798"/>
          </a:xfrm>
        </p:spPr>
        <p:txBody>
          <a:bodyPr>
            <a:normAutofit fontScale="90000"/>
          </a:bodyPr>
          <a:lstStyle/>
          <a:p>
            <a:r>
              <a:rPr lang="en-GB" noProof="0"/>
              <a:t>Key Phase II/III Studies of </a:t>
            </a:r>
            <a:r>
              <a:rPr lang="en-GB"/>
              <a:t>S</a:t>
            </a:r>
            <a:r>
              <a:rPr lang="en-GB" noProof="0"/>
              <a:t>otatercept*</a:t>
            </a:r>
            <a:endParaRPr lang="en-GB" noProof="0" dirty="0"/>
          </a:p>
        </p:txBody>
      </p:sp>
      <p:sp>
        <p:nvSpPr>
          <p:cNvPr id="14" name="Content Placeholder 13">
            <a:extLst>
              <a:ext uri="{FF2B5EF4-FFF2-40B4-BE49-F238E27FC236}">
                <a16:creationId xmlns:a16="http://schemas.microsoft.com/office/drawing/2014/main" id="{ACB149F3-36B8-0BEC-BBD4-92974FF99245}"/>
              </a:ext>
            </a:extLst>
          </p:cNvPr>
          <p:cNvSpPr>
            <a:spLocks noGrp="1"/>
          </p:cNvSpPr>
          <p:nvPr>
            <p:ph sz="quarter" idx="15"/>
          </p:nvPr>
        </p:nvSpPr>
        <p:spPr>
          <a:xfrm>
            <a:off x="601601" y="1713178"/>
            <a:ext cx="10985780" cy="2824955"/>
          </a:xfrm>
        </p:spPr>
        <p:txBody>
          <a:bodyPr/>
          <a:lstStyle/>
          <a:p>
            <a:endParaRPr lang="en-US" dirty="0"/>
          </a:p>
        </p:txBody>
      </p:sp>
      <p:sp>
        <p:nvSpPr>
          <p:cNvPr id="5" name="Text Placeholder 4">
            <a:extLst>
              <a:ext uri="{FF2B5EF4-FFF2-40B4-BE49-F238E27FC236}">
                <a16:creationId xmlns:a16="http://schemas.microsoft.com/office/drawing/2014/main" id="{B5E1BF24-59B0-4851-BB46-7A680B378733}"/>
              </a:ext>
            </a:extLst>
          </p:cNvPr>
          <p:cNvSpPr>
            <a:spLocks noGrp="1"/>
          </p:cNvSpPr>
          <p:nvPr>
            <p:ph type="body" sz="quarter" idx="16"/>
          </p:nvPr>
        </p:nvSpPr>
        <p:spPr>
          <a:xfrm>
            <a:off x="0" y="6217184"/>
            <a:ext cx="11860900" cy="354013"/>
          </a:xfrm>
        </p:spPr>
        <p:txBody>
          <a:bodyPr anchor="t">
            <a:noAutofit/>
          </a:bodyPr>
          <a:lstStyle/>
          <a:p>
            <a:pPr>
              <a:spcBef>
                <a:spcPts val="0"/>
              </a:spcBef>
            </a:pPr>
            <a:r>
              <a:rPr lang="en-GB" sz="900" noProof="0" dirty="0">
                <a:solidFill>
                  <a:schemeClr val="tx1"/>
                </a:solidFill>
              </a:rPr>
              <a:t>*This slide does not include the full list of ongoing clinical trials </a:t>
            </a:r>
            <a:r>
              <a:rPr lang="en-GB" sz="900" dirty="0">
                <a:solidFill>
                  <a:schemeClr val="tx1"/>
                </a:solidFill>
              </a:rPr>
              <a:t>for </a:t>
            </a:r>
            <a:r>
              <a:rPr lang="en-GB" sz="900" noProof="0" dirty="0" err="1">
                <a:solidFill>
                  <a:schemeClr val="tx1"/>
                </a:solidFill>
              </a:rPr>
              <a:t>sotatercept</a:t>
            </a:r>
            <a:r>
              <a:rPr lang="en-GB" sz="900" noProof="0" dirty="0">
                <a:solidFill>
                  <a:schemeClr val="tx1"/>
                </a:solidFill>
              </a:rPr>
              <a:t>. **See </a:t>
            </a:r>
            <a:r>
              <a:rPr lang="en-GB" sz="900" noProof="0" dirty="0" err="1">
                <a:solidFill>
                  <a:schemeClr val="tx1"/>
                </a:solidFill>
              </a:rPr>
              <a:t>ClinicalTrials.gov</a:t>
            </a:r>
            <a:r>
              <a:rPr lang="en-GB" sz="900" noProof="0" dirty="0">
                <a:solidFill>
                  <a:schemeClr val="tx1"/>
                </a:solidFill>
              </a:rPr>
              <a:t> for a comprehensive list of eligibility criteria.</a:t>
            </a:r>
            <a:br>
              <a:rPr lang="en-GB" sz="900" noProof="0" dirty="0">
                <a:solidFill>
                  <a:schemeClr val="tx1"/>
                </a:solidFill>
              </a:rPr>
            </a:br>
            <a:r>
              <a:rPr lang="en-GB" sz="900" noProof="0" dirty="0">
                <a:solidFill>
                  <a:schemeClr val="tx1"/>
                </a:solidFill>
              </a:rPr>
              <a:t>EOT, end of treatment; FC: functional capacity; </a:t>
            </a:r>
            <a:r>
              <a:rPr lang="en-GB" sz="900" noProof="0" dirty="0" err="1">
                <a:solidFill>
                  <a:schemeClr val="tx1"/>
                </a:solidFill>
              </a:rPr>
              <a:t>s.c</a:t>
            </a:r>
            <a:r>
              <a:rPr lang="en-GB" sz="900" noProof="0" dirty="0">
                <a:solidFill>
                  <a:schemeClr val="tx1"/>
                </a:solidFill>
              </a:rPr>
              <a:t> : subcutaneous; VO</a:t>
            </a:r>
            <a:r>
              <a:rPr lang="en-GB" sz="900" baseline="-25000" noProof="0" dirty="0">
                <a:solidFill>
                  <a:schemeClr val="tx1"/>
                </a:solidFill>
              </a:rPr>
              <a:t>2</a:t>
            </a:r>
            <a:r>
              <a:rPr lang="en-GB" sz="900" noProof="0" dirty="0">
                <a:solidFill>
                  <a:schemeClr val="tx1"/>
                </a:solidFill>
              </a:rPr>
              <a:t>, oxygen up</a:t>
            </a:r>
            <a:r>
              <a:rPr lang="en-GB" sz="900" dirty="0">
                <a:solidFill>
                  <a:schemeClr val="tx1"/>
                </a:solidFill>
              </a:rPr>
              <a:t>take.</a:t>
            </a:r>
          </a:p>
          <a:p>
            <a:pPr>
              <a:spcBef>
                <a:spcPts val="0"/>
              </a:spcBef>
            </a:pPr>
            <a:r>
              <a:rPr lang="en-GB" sz="900" noProof="0" dirty="0">
                <a:solidFill>
                  <a:schemeClr val="tx1"/>
                </a:solidFill>
              </a:rPr>
              <a:t>1. </a:t>
            </a:r>
            <a:r>
              <a:rPr lang="en-GB" sz="900" noProof="0" dirty="0" err="1">
                <a:solidFill>
                  <a:schemeClr val="tx1"/>
                </a:solidFill>
              </a:rPr>
              <a:t>Acceleron</a:t>
            </a:r>
            <a:r>
              <a:rPr lang="en-GB" sz="900" noProof="0" dirty="0">
                <a:solidFill>
                  <a:schemeClr val="tx1"/>
                </a:solidFill>
              </a:rPr>
              <a:t> Pharma, Inc. </a:t>
            </a:r>
            <a:r>
              <a:rPr lang="en-GB" sz="900" dirty="0" err="1">
                <a:solidFill>
                  <a:schemeClr val="tx1"/>
                </a:solidFill>
              </a:rPr>
              <a:t>ClinicalTrials.gov</a:t>
            </a:r>
            <a:r>
              <a:rPr lang="en-GB" sz="900" dirty="0">
                <a:solidFill>
                  <a:schemeClr val="tx1"/>
                </a:solidFill>
              </a:rPr>
              <a:t> Identifier: NCT03738150. Updated February 10, 2023; 2. </a:t>
            </a:r>
            <a:r>
              <a:rPr lang="en-GB" sz="900" dirty="0" err="1">
                <a:solidFill>
                  <a:schemeClr val="tx1"/>
                </a:solidFill>
              </a:rPr>
              <a:t>Acceleron</a:t>
            </a:r>
            <a:r>
              <a:rPr lang="en-GB" sz="900" dirty="0">
                <a:solidFill>
                  <a:schemeClr val="tx1"/>
                </a:solidFill>
              </a:rPr>
              <a:t> Pharma, Inc. </a:t>
            </a:r>
            <a:r>
              <a:rPr lang="en-GB" sz="900" dirty="0" err="1">
                <a:solidFill>
                  <a:schemeClr val="tx1"/>
                </a:solidFill>
              </a:rPr>
              <a:t>NationalTrials.gov</a:t>
            </a:r>
            <a:r>
              <a:rPr lang="en-GB" sz="900" dirty="0">
                <a:solidFill>
                  <a:schemeClr val="tx1"/>
                </a:solidFill>
              </a:rPr>
              <a:t> Identifier: NCT04576988. Updated August 23, 2023; 3. </a:t>
            </a:r>
            <a:r>
              <a:rPr lang="en-GB" sz="900" dirty="0" err="1">
                <a:solidFill>
                  <a:schemeClr val="tx1"/>
                </a:solidFill>
              </a:rPr>
              <a:t>Acceleron</a:t>
            </a:r>
            <a:r>
              <a:rPr lang="en-GB" sz="900" dirty="0">
                <a:solidFill>
                  <a:schemeClr val="tx1"/>
                </a:solidFill>
              </a:rPr>
              <a:t> Pharma, Inc. </a:t>
            </a:r>
            <a:r>
              <a:rPr lang="en-GB" sz="900" dirty="0" err="1">
                <a:solidFill>
                  <a:schemeClr val="tx1"/>
                </a:solidFill>
              </a:rPr>
              <a:t>ClinicalTrials.gov</a:t>
            </a:r>
            <a:r>
              <a:rPr lang="en-GB" sz="900" dirty="0">
                <a:solidFill>
                  <a:schemeClr val="tx1"/>
                </a:solidFill>
              </a:rPr>
              <a:t> Identifier: NCT04896008. Updated August 28, 2023; </a:t>
            </a:r>
            <a:r>
              <a:rPr lang="en-GB" sz="900" dirty="0" err="1">
                <a:solidFill>
                  <a:schemeClr val="tx1"/>
                </a:solidFill>
              </a:rPr>
              <a:t>Acceleron</a:t>
            </a:r>
            <a:r>
              <a:rPr lang="en-GB" sz="900" dirty="0">
                <a:solidFill>
                  <a:schemeClr val="tx1"/>
                </a:solidFill>
              </a:rPr>
              <a:t> Pharma, Inc. </a:t>
            </a:r>
            <a:r>
              <a:rPr lang="en-GB" sz="900" dirty="0" err="1">
                <a:solidFill>
                  <a:schemeClr val="tx1"/>
                </a:solidFill>
              </a:rPr>
              <a:t>ClinicalTrials.gov</a:t>
            </a:r>
            <a:r>
              <a:rPr lang="en-GB" sz="900" dirty="0">
                <a:solidFill>
                  <a:schemeClr val="tx1"/>
                </a:solidFill>
              </a:rPr>
              <a:t> Identifier: NCT04811092. Updated August 28, 2023. </a:t>
            </a:r>
            <a:br>
              <a:rPr lang="en-GB" sz="900" noProof="0" dirty="0">
                <a:solidFill>
                  <a:schemeClr val="tx1"/>
                </a:solidFill>
              </a:rPr>
            </a:br>
            <a:endParaRPr lang="en-GB" sz="900" noProof="0" dirty="0">
              <a:solidFill>
                <a:schemeClr val="tx1"/>
              </a:solidFill>
            </a:endParaRPr>
          </a:p>
        </p:txBody>
      </p:sp>
      <p:graphicFrame>
        <p:nvGraphicFramePr>
          <p:cNvPr id="3" name="Table 5">
            <a:extLst>
              <a:ext uri="{FF2B5EF4-FFF2-40B4-BE49-F238E27FC236}">
                <a16:creationId xmlns:a16="http://schemas.microsoft.com/office/drawing/2014/main" id="{85433508-0246-4D95-AB72-4F3CD38E7031}"/>
              </a:ext>
            </a:extLst>
          </p:cNvPr>
          <p:cNvGraphicFramePr>
            <a:graphicFrameLocks noGrp="1"/>
          </p:cNvGraphicFramePr>
          <p:nvPr/>
        </p:nvGraphicFramePr>
        <p:xfrm>
          <a:off x="159488" y="1249197"/>
          <a:ext cx="11860900" cy="3676694"/>
        </p:xfrm>
        <a:graphic>
          <a:graphicData uri="http://schemas.openxmlformats.org/drawingml/2006/table">
            <a:tbl>
              <a:tblPr firstRow="1" bandRow="1">
                <a:tableStyleId>{5C22544A-7EE6-4342-B048-85BDC9FD1C3A}</a:tableStyleId>
              </a:tblPr>
              <a:tblGrid>
                <a:gridCol w="2367775">
                  <a:extLst>
                    <a:ext uri="{9D8B030D-6E8A-4147-A177-3AD203B41FA5}">
                      <a16:colId xmlns:a16="http://schemas.microsoft.com/office/drawing/2014/main" val="2076898377"/>
                    </a:ext>
                  </a:extLst>
                </a:gridCol>
                <a:gridCol w="2376585">
                  <a:extLst>
                    <a:ext uri="{9D8B030D-6E8A-4147-A177-3AD203B41FA5}">
                      <a16:colId xmlns:a16="http://schemas.microsoft.com/office/drawing/2014/main" val="607693796"/>
                    </a:ext>
                  </a:extLst>
                </a:gridCol>
                <a:gridCol w="2372180">
                  <a:extLst>
                    <a:ext uri="{9D8B030D-6E8A-4147-A177-3AD203B41FA5}">
                      <a16:colId xmlns:a16="http://schemas.microsoft.com/office/drawing/2014/main" val="2425606476"/>
                    </a:ext>
                  </a:extLst>
                </a:gridCol>
                <a:gridCol w="2372180">
                  <a:extLst>
                    <a:ext uri="{9D8B030D-6E8A-4147-A177-3AD203B41FA5}">
                      <a16:colId xmlns:a16="http://schemas.microsoft.com/office/drawing/2014/main" val="2347241317"/>
                    </a:ext>
                  </a:extLst>
                </a:gridCol>
                <a:gridCol w="2372180">
                  <a:extLst>
                    <a:ext uri="{9D8B030D-6E8A-4147-A177-3AD203B41FA5}">
                      <a16:colId xmlns:a16="http://schemas.microsoft.com/office/drawing/2014/main" val="187204312"/>
                    </a:ext>
                  </a:extLst>
                </a:gridCol>
              </a:tblGrid>
              <a:tr h="304338">
                <a:tc>
                  <a:txBody>
                    <a:bodyPr/>
                    <a:lstStyle/>
                    <a:p>
                      <a:endParaRPr lang="en-GB">
                        <a:latin typeface="Verdana" panose="020B0604030504040204" pitchFamily="34" charset="0"/>
                        <a:ea typeface="Verdana" panose="020B0604030504040204" pitchFamily="34" charset="0"/>
                      </a:endParaRPr>
                    </a:p>
                  </a:txBody>
                  <a:tcPr>
                    <a:lnB w="12700" cap="flat" cmpd="sng" algn="ctr">
                      <a:solidFill>
                        <a:schemeClr val="accent2"/>
                      </a:solidFill>
                      <a:prstDash val="solid"/>
                      <a:round/>
                      <a:headEnd type="none" w="med" len="med"/>
                      <a:tailEnd type="none" w="med" len="med"/>
                    </a:lnB>
                    <a:noFill/>
                  </a:tcPr>
                </a:tc>
                <a:tc>
                  <a:txBody>
                    <a:bodyPr/>
                    <a:lstStyle/>
                    <a:p>
                      <a:pPr algn="ctr"/>
                      <a:r>
                        <a:rPr lang="en-GB" sz="1600">
                          <a:solidFill>
                            <a:schemeClr val="tx1"/>
                          </a:solidFill>
                          <a:latin typeface="Verdana" panose="020B0604030504040204" pitchFamily="34" charset="0"/>
                          <a:ea typeface="Verdana" panose="020B0604030504040204" pitchFamily="34" charset="0"/>
                        </a:rPr>
                        <a:t>SPECTRA</a:t>
                      </a:r>
                      <a:r>
                        <a:rPr lang="en-GB" sz="1600" baseline="30000">
                          <a:solidFill>
                            <a:schemeClr val="tx1"/>
                          </a:solidFill>
                          <a:latin typeface="Verdana" panose="020B0604030504040204" pitchFamily="34" charset="0"/>
                          <a:ea typeface="Verdana" panose="020B0604030504040204" pitchFamily="34" charset="0"/>
                        </a:rPr>
                        <a:t>1</a:t>
                      </a:r>
                    </a:p>
                  </a:txBody>
                  <a:tcPr>
                    <a:lnB w="12700" cap="flat" cmpd="sng" algn="ctr">
                      <a:noFill/>
                      <a:prstDash val="solid"/>
                      <a:round/>
                      <a:headEnd type="none" w="med" len="med"/>
                      <a:tailEnd type="none" w="med" len="med"/>
                    </a:lnB>
                    <a:no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rPr>
                        <a:t>STELLAR</a:t>
                      </a:r>
                      <a:r>
                        <a:rPr kumimoji="0" lang="en-GB" sz="1600" b="1" i="0" u="none" strike="noStrike" kern="1200" cap="none" spc="0" normalizeH="0" baseline="30000" noProof="0">
                          <a:ln>
                            <a:noFill/>
                          </a:ln>
                          <a:solidFill>
                            <a:srgbClr val="212121"/>
                          </a:solidFill>
                          <a:effectLst/>
                          <a:uLnTx/>
                          <a:uFillTx/>
                          <a:latin typeface="Verdana" panose="020B0604030504040204" pitchFamily="34" charset="0"/>
                          <a:ea typeface="Verdana" panose="020B0604030504040204" pitchFamily="34" charset="0"/>
                        </a:rPr>
                        <a:t>2</a:t>
                      </a:r>
                    </a:p>
                  </a:txBody>
                  <a:tcPr>
                    <a:lnB w="12700" cap="flat" cmpd="sng" algn="ctr">
                      <a:noFill/>
                      <a:prstDash val="solid"/>
                      <a:round/>
                      <a:headEnd type="none" w="med" len="med"/>
                      <a:tailEnd type="none" w="med" len="med"/>
                    </a:lnB>
                    <a:no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rPr>
                        <a:t>ZENITH</a:t>
                      </a:r>
                      <a:r>
                        <a:rPr kumimoji="0" lang="en-GB" sz="1600" b="1" i="0" u="none" strike="noStrike" kern="1200" cap="none" spc="0" normalizeH="0" baseline="30000" noProof="0">
                          <a:ln>
                            <a:noFill/>
                          </a:ln>
                          <a:solidFill>
                            <a:srgbClr val="212121"/>
                          </a:solidFill>
                          <a:effectLst/>
                          <a:uLnTx/>
                          <a:uFillTx/>
                          <a:latin typeface="Verdana" panose="020B0604030504040204" pitchFamily="34" charset="0"/>
                          <a:ea typeface="Verdana" panose="020B0604030504040204" pitchFamily="34" charset="0"/>
                        </a:rPr>
                        <a:t>3</a:t>
                      </a:r>
                    </a:p>
                  </a:txBody>
                  <a:tcPr>
                    <a:lnB w="12700" cap="flat" cmpd="sng" algn="ctr">
                      <a:noFill/>
                      <a:prstDash val="solid"/>
                      <a:round/>
                      <a:headEnd type="none" w="med" len="med"/>
                      <a:tailEnd type="none" w="med" len="med"/>
                    </a:lnB>
                    <a:noFill/>
                  </a:tcPr>
                </a:tc>
                <a:tc>
                  <a:txBody>
                    <a:bodyPr/>
                    <a:lstStyle/>
                    <a:p>
                      <a:pPr marL="0" marR="0" lvl="0" indent="0" algn="ctr" defTabSz="288024"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rPr>
                        <a:t>HYPERION</a:t>
                      </a:r>
                      <a:r>
                        <a:rPr kumimoji="0" lang="en-GB" sz="1600" b="1" i="0" u="none" strike="noStrike" kern="1200" cap="none" spc="0" normalizeH="0" baseline="30000" noProof="0">
                          <a:ln>
                            <a:noFill/>
                          </a:ln>
                          <a:solidFill>
                            <a:srgbClr val="212121"/>
                          </a:solidFill>
                          <a:effectLst/>
                          <a:uLnTx/>
                          <a:uFillTx/>
                          <a:latin typeface="Verdana" panose="020B0604030504040204" pitchFamily="34" charset="0"/>
                          <a:ea typeface="Verdana" panose="020B0604030504040204" pitchFamily="34" charset="0"/>
                        </a:rPr>
                        <a:t>4</a:t>
                      </a:r>
                    </a:p>
                  </a:txBody>
                  <a:tcPr>
                    <a:lnB w="12700" cap="flat" cmpd="sng" algn="ctr">
                      <a:noFill/>
                      <a:prstDash val="solid"/>
                      <a:round/>
                      <a:headEnd type="none" w="med" len="med"/>
                      <a:tailEnd type="none" w="med" len="med"/>
                    </a:lnB>
                    <a:noFill/>
                  </a:tcPr>
                </a:tc>
                <a:extLst>
                  <a:ext uri="{0D108BD9-81ED-4DB2-BD59-A6C34878D82A}">
                    <a16:rowId xmlns:a16="http://schemas.microsoft.com/office/drawing/2014/main" val="782029147"/>
                  </a:ext>
                </a:extLst>
              </a:tr>
              <a:tr h="807849">
                <a:tc>
                  <a:txBody>
                    <a:bodyPr/>
                    <a:lstStyle/>
                    <a:p>
                      <a:r>
                        <a:rPr lang="en-GB" sz="1400" b="1">
                          <a:solidFill>
                            <a:schemeClr val="bg1"/>
                          </a:solidFill>
                          <a:effectLst>
                            <a:outerShdw blurRad="50800" dist="12700" dir="5400000" algn="ctr" rotWithShape="0">
                              <a:schemeClr val="tx1"/>
                            </a:outerShdw>
                          </a:effectLst>
                          <a:latin typeface="Verdana" panose="020B0604030504040204" pitchFamily="34" charset="0"/>
                          <a:ea typeface="Verdana" panose="020B0604030504040204" pitchFamily="34" charset="0"/>
                        </a:rPr>
                        <a:t>Objective</a:t>
                      </a:r>
                    </a:p>
                  </a:txBody>
                  <a:tcPr marL="9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solidFill>
                  </a:tcPr>
                </a:tc>
                <a:tc>
                  <a:txBody>
                    <a:bodyPr/>
                    <a:lstStyle/>
                    <a:p>
                      <a:r>
                        <a:rPr lang="en-GB" sz="1100" dirty="0">
                          <a:solidFill>
                            <a:schemeClr val="tx1"/>
                          </a:solidFill>
                          <a:latin typeface="Verdana" panose="020B0604030504040204" pitchFamily="34" charset="0"/>
                          <a:ea typeface="Verdana" panose="020B0604030504040204" pitchFamily="34" charset="0"/>
                        </a:rPr>
                        <a:t>Assess efficacy of sotatercept for the treatment of PAH</a:t>
                      </a:r>
                      <a:br>
                        <a:rPr lang="en-GB" sz="1100" dirty="0">
                          <a:solidFill>
                            <a:schemeClr val="tx1"/>
                          </a:solidFill>
                          <a:latin typeface="Verdana" panose="020B0604030504040204" pitchFamily="34" charset="0"/>
                          <a:ea typeface="Verdana" panose="020B0604030504040204" pitchFamily="34" charset="0"/>
                        </a:rPr>
                      </a:br>
                      <a:r>
                        <a:rPr lang="en-GB" sz="1100" dirty="0">
                          <a:solidFill>
                            <a:schemeClr val="tx1"/>
                          </a:solidFill>
                          <a:latin typeface="Verdana" panose="020B0604030504040204" pitchFamily="34" charset="0"/>
                          <a:ea typeface="Verdana" panose="020B0604030504040204" pitchFamily="34" charset="0"/>
                        </a:rPr>
                        <a:t>(estimated enrolment: 19)</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r>
                        <a:rPr lang="en-GB" sz="1100" dirty="0">
                          <a:solidFill>
                            <a:schemeClr val="tx1"/>
                          </a:solidFill>
                          <a:latin typeface="Verdana" panose="020B0604030504040204" pitchFamily="34" charset="0"/>
                          <a:ea typeface="Verdana" panose="020B0604030504040204" pitchFamily="34" charset="0"/>
                        </a:rPr>
                        <a:t>Assess efficacy and safety of sotatercept for the treatment of PAH </a:t>
                      </a:r>
                      <a:br>
                        <a:rPr lang="en-GB" sz="1100" dirty="0">
                          <a:solidFill>
                            <a:schemeClr val="tx1"/>
                          </a:solidFill>
                          <a:latin typeface="Verdana" panose="020B0604030504040204" pitchFamily="34" charset="0"/>
                          <a:ea typeface="Verdana" panose="020B0604030504040204" pitchFamily="34" charset="0"/>
                        </a:rPr>
                      </a:br>
                      <a:r>
                        <a:rPr lang="en-GB" sz="1100" dirty="0">
                          <a:solidFill>
                            <a:schemeClr val="tx1"/>
                          </a:solidFill>
                          <a:latin typeface="Verdana" panose="020B0604030504040204" pitchFamily="34" charset="0"/>
                          <a:ea typeface="Verdana" panose="020B0604030504040204" pitchFamily="34" charset="0"/>
                        </a:rPr>
                        <a:t>(estimated enrolment: 284)</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r>
                        <a:rPr lang="en-GB" sz="1100" dirty="0">
                          <a:solidFill>
                            <a:schemeClr val="tx1"/>
                          </a:solidFill>
                          <a:latin typeface="Verdana" panose="020B0604030504040204" pitchFamily="34" charset="0"/>
                          <a:ea typeface="Verdana" panose="020B0604030504040204" pitchFamily="34" charset="0"/>
                        </a:rPr>
                        <a:t>Assess effect of sotatercept on time to first confirmed morbidity/mortality event (estimated enrolment: 16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r>
                        <a:rPr lang="en-GB" sz="1100" dirty="0">
                          <a:solidFill>
                            <a:schemeClr val="tx1"/>
                          </a:solidFill>
                          <a:latin typeface="Verdana" panose="020B0604030504040204" pitchFamily="34" charset="0"/>
                          <a:ea typeface="Verdana" panose="020B0604030504040204" pitchFamily="34" charset="0"/>
                        </a:rPr>
                        <a:t>Evaluate the effect of sotatercept on time to clinical worsening</a:t>
                      </a:r>
                    </a:p>
                    <a:p>
                      <a:r>
                        <a:rPr lang="en-GB" sz="1100" dirty="0">
                          <a:solidFill>
                            <a:schemeClr val="tx1"/>
                          </a:solidFill>
                          <a:latin typeface="Verdana" panose="020B0604030504040204" pitchFamily="34" charset="0"/>
                          <a:ea typeface="Verdana" panose="020B0604030504040204" pitchFamily="34" charset="0"/>
                        </a:rPr>
                        <a:t>(estimated enrolment: 662)</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381637698"/>
                  </a:ext>
                </a:extLst>
              </a:tr>
              <a:tr h="326463">
                <a:tc>
                  <a:txBody>
                    <a:bodyPr/>
                    <a:lstStyle/>
                    <a:p>
                      <a:r>
                        <a:rPr lang="en-GB" sz="1400" b="1">
                          <a:solidFill>
                            <a:schemeClr val="bg1"/>
                          </a:solidFill>
                          <a:effectLst>
                            <a:outerShdw blurRad="50800" dist="12700" dir="5400000" algn="ctr" rotWithShape="0">
                              <a:schemeClr val="tx1"/>
                            </a:outerShdw>
                          </a:effectLst>
                          <a:latin typeface="Verdana" panose="020B0604030504040204" pitchFamily="34" charset="0"/>
                          <a:ea typeface="Verdana" panose="020B0604030504040204" pitchFamily="34" charset="0"/>
                        </a:rPr>
                        <a:t>Eligibility</a:t>
                      </a:r>
                    </a:p>
                  </a:txBody>
                  <a:tcPr marL="9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solidFill>
                  </a:tcPr>
                </a:tc>
                <a:tc gridSpan="4">
                  <a:txBody>
                    <a:bodyPr/>
                    <a:lstStyle/>
                    <a:p>
                      <a:pPr algn="ctr"/>
                      <a:r>
                        <a:rPr lang="en-GB" sz="1100">
                          <a:solidFill>
                            <a:schemeClr val="tx1"/>
                          </a:solidFill>
                          <a:latin typeface="Verdana" panose="020B0604030504040204" pitchFamily="34" charset="0"/>
                          <a:ea typeface="Verdana" panose="020B0604030504040204" pitchFamily="34" charset="0"/>
                        </a:rPr>
                        <a:t>Adults with PAH receiving PAH-specific background therapy in WHO FC III** </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sz="1200">
                        <a:solidFill>
                          <a:schemeClr val="tx1"/>
                        </a:solidFill>
                        <a:latin typeface="Verdana" panose="020B0604030504040204" pitchFamily="34" charset="0"/>
                        <a:ea typeface="Verdana" panose="020B060403050404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sz="1200">
                        <a:solidFill>
                          <a:schemeClr val="tx1"/>
                        </a:solidFill>
                        <a:latin typeface="Verdana" panose="020B0604030504040204" pitchFamily="34" charset="0"/>
                        <a:ea typeface="Verdana" panose="020B060403050404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endParaRPr lang="en-GB" sz="1200">
                        <a:solidFill>
                          <a:schemeClr val="tx1"/>
                        </a:solidFill>
                        <a:latin typeface="Verdana" panose="020B0604030504040204" pitchFamily="34" charset="0"/>
                        <a:ea typeface="Verdana" panose="020B060403050404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32722152"/>
                  </a:ext>
                </a:extLst>
              </a:tr>
              <a:tr h="913015">
                <a:tc>
                  <a:txBody>
                    <a:bodyPr/>
                    <a:lstStyle/>
                    <a:p>
                      <a:r>
                        <a:rPr lang="en-GB" sz="1400" b="1">
                          <a:solidFill>
                            <a:schemeClr val="bg1"/>
                          </a:solidFill>
                          <a:effectLst>
                            <a:outerShdw blurRad="50800" dist="12700" dir="5400000" algn="ctr" rotWithShape="0">
                              <a:schemeClr val="tx1"/>
                            </a:outerShdw>
                          </a:effectLst>
                          <a:latin typeface="Verdana" panose="020B0604030504040204" pitchFamily="34" charset="0"/>
                          <a:ea typeface="Verdana" panose="020B0604030504040204" pitchFamily="34" charset="0"/>
                        </a:rPr>
                        <a:t>Design</a:t>
                      </a:r>
                    </a:p>
                  </a:txBody>
                  <a:tcPr marL="9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solidFill>
                  </a:tcPr>
                </a:tc>
                <a:tc>
                  <a:txBody>
                    <a:bodyPr/>
                    <a:lstStyle/>
                    <a:p>
                      <a:r>
                        <a:rPr lang="en-GB" sz="1100" dirty="0">
                          <a:solidFill>
                            <a:schemeClr val="tx1"/>
                          </a:solidFill>
                          <a:latin typeface="Verdana" panose="020B0604030504040204" pitchFamily="34" charset="0"/>
                          <a:ea typeface="Verdana" panose="020B0604030504040204" pitchFamily="34" charset="0"/>
                        </a:rPr>
                        <a:t>Open-label. Dosing plus SOC every 3 weeks, starting with 0.3 mg/kg </a:t>
                      </a:r>
                      <a:r>
                        <a:rPr lang="en-GB" sz="1100" dirty="0" err="1">
                          <a:solidFill>
                            <a:schemeClr val="tx1"/>
                          </a:solidFill>
                          <a:latin typeface="Verdana" panose="020B0604030504040204" pitchFamily="34" charset="0"/>
                          <a:ea typeface="Verdana" panose="020B0604030504040204" pitchFamily="34" charset="0"/>
                        </a:rPr>
                        <a:t>s.c.</a:t>
                      </a:r>
                      <a:r>
                        <a:rPr lang="en-GB" sz="1100" dirty="0">
                          <a:solidFill>
                            <a:schemeClr val="tx1"/>
                          </a:solidFill>
                          <a:latin typeface="Verdana" panose="020B0604030504040204" pitchFamily="34" charset="0"/>
                          <a:ea typeface="Verdana" panose="020B0604030504040204" pitchFamily="34" charset="0"/>
                        </a:rPr>
                        <a:t> before increasing to 0.7 mg/kg until EO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gridSpan="3">
                  <a:txBody>
                    <a:bodyPr/>
                    <a:lstStyle/>
                    <a:p>
                      <a:pPr algn="ctr"/>
                      <a:r>
                        <a:rPr lang="en-GB" sz="1100" dirty="0">
                          <a:solidFill>
                            <a:schemeClr val="tx1"/>
                          </a:solidFill>
                          <a:latin typeface="Verdana" panose="020B0604030504040204" pitchFamily="34" charset="0"/>
                          <a:ea typeface="Verdana" panose="020B0604030504040204" pitchFamily="34" charset="0"/>
                        </a:rPr>
                        <a:t>Dosing plus SOC every 3 weeks; randomised 1:1 to placebo or </a:t>
                      </a:r>
                      <a:br>
                        <a:rPr lang="en-GB" sz="1100" dirty="0">
                          <a:solidFill>
                            <a:schemeClr val="tx1"/>
                          </a:solidFill>
                          <a:latin typeface="Verdana" panose="020B0604030504040204" pitchFamily="34" charset="0"/>
                          <a:ea typeface="Verdana" panose="020B0604030504040204" pitchFamily="34" charset="0"/>
                        </a:rPr>
                      </a:br>
                      <a:r>
                        <a:rPr lang="en-GB" sz="1100" dirty="0">
                          <a:solidFill>
                            <a:schemeClr val="tx1"/>
                          </a:solidFill>
                          <a:latin typeface="Verdana" panose="020B0604030504040204" pitchFamily="34" charset="0"/>
                          <a:ea typeface="Verdana" panose="020B0604030504040204" pitchFamily="34" charset="0"/>
                        </a:rPr>
                        <a:t>sotatercept (0.3 mg/kg titrated to 0.7 mg/kg </a:t>
                      </a:r>
                      <a:r>
                        <a:rPr lang="en-GB" sz="1100" dirty="0" err="1">
                          <a:solidFill>
                            <a:schemeClr val="tx1"/>
                          </a:solidFill>
                          <a:latin typeface="Verdana" panose="020B0604030504040204" pitchFamily="34" charset="0"/>
                          <a:ea typeface="Verdana" panose="020B0604030504040204" pitchFamily="34" charset="0"/>
                        </a:rPr>
                        <a:t>s.c.</a:t>
                      </a:r>
                      <a:r>
                        <a:rPr lang="en-GB" sz="1100" dirty="0">
                          <a:solidFill>
                            <a:schemeClr val="tx1"/>
                          </a:solidFill>
                          <a:latin typeface="Verdana" panose="020B0604030504040204" pitchFamily="34" charset="0"/>
                          <a:ea typeface="Verdana" panose="020B0604030504040204" pitchFamily="34" charset="0"/>
                        </a:rPr>
                        <a:t>)</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hMerge="1">
                  <a:txBody>
                    <a:bodyPr/>
                    <a:lstStyle/>
                    <a:p>
                      <a:endParaRPr lang="en-GB" sz="1100">
                        <a:solidFill>
                          <a:schemeClr val="tx1"/>
                        </a:solidFill>
                        <a:latin typeface="Verdana" panose="020B0604030504040204" pitchFamily="34" charset="0"/>
                        <a:ea typeface="Verdana" panose="020B060403050404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marL="0" marR="0" lvl="0" indent="0" algn="l" defTabSz="288024" rtl="0" eaLnBrk="1" fontAlgn="auto" latinLnBrk="0" hangingPunct="1">
                        <a:lnSpc>
                          <a:spcPct val="100000"/>
                        </a:lnSpc>
                        <a:spcBef>
                          <a:spcPts val="0"/>
                        </a:spcBef>
                        <a:spcAft>
                          <a:spcPts val="0"/>
                        </a:spcAft>
                        <a:buClrTx/>
                        <a:buSzTx/>
                        <a:buFontTx/>
                        <a:buNone/>
                        <a:tabLst/>
                        <a:defRPr/>
                      </a:pPr>
                      <a:endParaRPr kumimoji="0" lang="en-GB" sz="11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204890192"/>
                  </a:ext>
                </a:extLst>
              </a:tr>
              <a:tr h="623491">
                <a:tc>
                  <a:txBody>
                    <a:bodyPr/>
                    <a:lstStyle/>
                    <a:p>
                      <a:r>
                        <a:rPr lang="en-GB" sz="1400" b="1">
                          <a:solidFill>
                            <a:schemeClr val="bg1"/>
                          </a:solidFill>
                          <a:effectLst>
                            <a:outerShdw blurRad="50800" dist="12700" dir="5400000" algn="ctr" rotWithShape="0">
                              <a:schemeClr val="tx1"/>
                            </a:outerShdw>
                          </a:effectLst>
                          <a:latin typeface="Verdana" panose="020B0604030504040204" pitchFamily="34" charset="0"/>
                          <a:ea typeface="Verdana" panose="020B0604030504040204" pitchFamily="34" charset="0"/>
                        </a:rPr>
                        <a:t>Primary </a:t>
                      </a:r>
                      <a:br>
                        <a:rPr lang="en-GB" sz="1400" b="1">
                          <a:solidFill>
                            <a:schemeClr val="bg1"/>
                          </a:solidFill>
                          <a:effectLst>
                            <a:outerShdw blurRad="50800" dist="12700" dir="5400000" algn="ctr" rotWithShape="0">
                              <a:schemeClr val="tx1"/>
                            </a:outerShdw>
                          </a:effectLst>
                          <a:latin typeface="Verdana" panose="020B0604030504040204" pitchFamily="34" charset="0"/>
                          <a:ea typeface="Verdana" panose="020B0604030504040204" pitchFamily="34" charset="0"/>
                        </a:rPr>
                      </a:br>
                      <a:r>
                        <a:rPr lang="en-GB" sz="1400" b="1">
                          <a:solidFill>
                            <a:schemeClr val="bg1"/>
                          </a:solidFill>
                          <a:effectLst>
                            <a:outerShdw blurRad="50800" dist="12700" dir="5400000" algn="ctr" rotWithShape="0">
                              <a:schemeClr val="tx1"/>
                            </a:outerShdw>
                          </a:effectLst>
                          <a:latin typeface="Verdana" panose="020B0604030504040204" pitchFamily="34" charset="0"/>
                          <a:ea typeface="Verdana" panose="020B0604030504040204" pitchFamily="34" charset="0"/>
                        </a:rPr>
                        <a:t>endpoint</a:t>
                      </a:r>
                    </a:p>
                  </a:txBody>
                  <a:tcPr marL="9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solidFill>
                  </a:tcPr>
                </a:tc>
                <a:tc>
                  <a:txBody>
                    <a:bodyPr/>
                    <a:lstStyle/>
                    <a:p>
                      <a:pPr marL="0" marR="0" lvl="0" indent="0" algn="l" defTabSz="914400" rtl="0" eaLnBrk="1" fontAlgn="base" latinLnBrk="0" hangingPunct="1">
                        <a:lnSpc>
                          <a:spcPct val="100000"/>
                        </a:lnSpc>
                        <a:spcBef>
                          <a:spcPts val="1800"/>
                        </a:spcBef>
                        <a:spcAft>
                          <a:spcPct val="0"/>
                        </a:spcAft>
                        <a:buClr>
                          <a:srgbClr val="212121"/>
                        </a:buClr>
                        <a:buSzPct val="100000"/>
                        <a:buFont typeface="Arial" pitchFamily="-65" charset="0"/>
                        <a:buNone/>
                        <a:tabLst/>
                        <a:defRPr/>
                      </a:pPr>
                      <a:r>
                        <a:rPr kumimoji="0" lang="en-GB" sz="1100" b="0" i="0" u="none" strike="noStrike" kern="0" cap="none" spc="0" normalizeH="0" baseline="0" noProof="0">
                          <a:ln>
                            <a:noFill/>
                          </a:ln>
                          <a:solidFill>
                            <a:srgbClr val="212121"/>
                          </a:solidFill>
                          <a:effectLst/>
                          <a:uLnTx/>
                          <a:uFillTx/>
                          <a:latin typeface="Verdana" charset="0"/>
                          <a:ea typeface="Verdana" charset="0"/>
                          <a:sym typeface="Arial" pitchFamily="-65" charset="0"/>
                        </a:rPr>
                        <a:t>Change from baseline in peak VO</a:t>
                      </a:r>
                      <a:r>
                        <a:rPr kumimoji="0" lang="en-GB" sz="1100" b="0" i="0" u="none" strike="noStrike" kern="0" cap="none" spc="0" normalizeH="0" baseline="-25000" noProof="0">
                          <a:ln>
                            <a:noFill/>
                          </a:ln>
                          <a:solidFill>
                            <a:srgbClr val="212121"/>
                          </a:solidFill>
                          <a:effectLst/>
                          <a:uLnTx/>
                          <a:uFillTx/>
                          <a:latin typeface="Verdana" charset="0"/>
                          <a:ea typeface="Verdana" charset="0"/>
                          <a:sym typeface="Arial" pitchFamily="-65" charset="0"/>
                        </a:rPr>
                        <a:t>2</a:t>
                      </a:r>
                      <a:r>
                        <a:rPr kumimoji="0" lang="en-GB" sz="1100" b="0" i="0" u="none" strike="noStrike" kern="0" cap="none" spc="0" normalizeH="0" baseline="0" noProof="0">
                          <a:ln>
                            <a:noFill/>
                          </a:ln>
                          <a:solidFill>
                            <a:srgbClr val="212121"/>
                          </a:solidFill>
                          <a:effectLst/>
                          <a:uLnTx/>
                          <a:uFillTx/>
                          <a:latin typeface="Verdana" charset="0"/>
                          <a:ea typeface="Verdana" charset="0"/>
                          <a:sym typeface="Arial" pitchFamily="-65" charset="0"/>
                        </a:rPr>
                        <a:t> max</a:t>
                      </a:r>
                    </a:p>
                    <a:p>
                      <a:endParaRPr lang="en-GB" sz="1100">
                        <a:solidFill>
                          <a:schemeClr val="tx1"/>
                        </a:solidFill>
                        <a:latin typeface="Verdana" panose="020B0604030504040204" pitchFamily="34" charset="0"/>
                        <a:ea typeface="Verdana" panose="020B060403050404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1100">
                          <a:solidFill>
                            <a:schemeClr val="tx1"/>
                          </a:solidFill>
                          <a:latin typeface="Verdana" panose="020B0604030504040204" pitchFamily="34" charset="0"/>
                          <a:ea typeface="Verdana" panose="020B0604030504040204" pitchFamily="34" charset="0"/>
                        </a:rPr>
                        <a:t>Change from baseline in 6MWD at Week 24</a:t>
                      </a:r>
                    </a:p>
                    <a:p>
                      <a:endParaRPr lang="en-GB" sz="1100">
                        <a:solidFill>
                          <a:schemeClr val="tx1"/>
                        </a:solidFill>
                        <a:latin typeface="Verdana" panose="020B0604030504040204" pitchFamily="34" charset="0"/>
                        <a:ea typeface="Verdana" panose="020B0604030504040204" pitchFamily="34" charset="0"/>
                      </a:endParaRP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1100">
                          <a:solidFill>
                            <a:schemeClr val="tx1"/>
                          </a:solidFill>
                          <a:latin typeface="Verdana" panose="020B0604030504040204" pitchFamily="34" charset="0"/>
                          <a:ea typeface="Verdana" panose="020B0604030504040204" pitchFamily="34" charset="0"/>
                        </a:rPr>
                        <a:t>Time to first confirmed morbidity/mortality event from randomisation up to Month 4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r>
                        <a:rPr lang="en-GB" sz="1100" dirty="0">
                          <a:solidFill>
                            <a:schemeClr val="tx1"/>
                          </a:solidFill>
                          <a:latin typeface="Verdana" panose="020B0604030504040204" pitchFamily="34" charset="0"/>
                          <a:ea typeface="Verdana" panose="020B0604030504040204" pitchFamily="34" charset="0"/>
                        </a:rPr>
                        <a:t>Time to clinical worsening from screening up to Month 5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78496833"/>
                  </a:ext>
                </a:extLst>
              </a:tr>
              <a:tr h="623491">
                <a:tc>
                  <a:txBody>
                    <a:bodyPr/>
                    <a:lstStyle/>
                    <a:p>
                      <a:r>
                        <a:rPr lang="en-GB" sz="1400" b="1">
                          <a:solidFill>
                            <a:schemeClr val="bg1"/>
                          </a:solidFill>
                          <a:effectLst>
                            <a:outerShdw blurRad="50800" dist="12700" dir="5400000" algn="ctr" rotWithShape="0">
                              <a:schemeClr val="tx1"/>
                            </a:outerShdw>
                          </a:effectLst>
                          <a:latin typeface="Verdana" panose="020B0604030504040204" pitchFamily="34" charset="0"/>
                          <a:ea typeface="Verdana" panose="020B0604030504040204" pitchFamily="34" charset="0"/>
                        </a:rPr>
                        <a:t>Estimated </a:t>
                      </a:r>
                      <a:br>
                        <a:rPr lang="en-GB" sz="1400" b="1">
                          <a:solidFill>
                            <a:schemeClr val="bg1"/>
                          </a:solidFill>
                          <a:effectLst>
                            <a:outerShdw blurRad="50800" dist="12700" dir="5400000" algn="ctr" rotWithShape="0">
                              <a:schemeClr val="tx1"/>
                            </a:outerShdw>
                          </a:effectLst>
                          <a:latin typeface="Verdana" panose="020B0604030504040204" pitchFamily="34" charset="0"/>
                          <a:ea typeface="Verdana" panose="020B0604030504040204" pitchFamily="34" charset="0"/>
                        </a:rPr>
                      </a:br>
                      <a:r>
                        <a:rPr lang="en-GB" sz="1400" b="1">
                          <a:solidFill>
                            <a:schemeClr val="bg1"/>
                          </a:solidFill>
                          <a:effectLst>
                            <a:outerShdw blurRad="50800" dist="12700" dir="5400000" algn="ctr" rotWithShape="0">
                              <a:schemeClr val="tx1"/>
                            </a:outerShdw>
                          </a:effectLst>
                          <a:latin typeface="Verdana" panose="020B0604030504040204" pitchFamily="34" charset="0"/>
                          <a:ea typeface="Verdana" panose="020B0604030504040204" pitchFamily="34" charset="0"/>
                        </a:rPr>
                        <a:t>completion</a:t>
                      </a:r>
                    </a:p>
                  </a:txBody>
                  <a:tcPr marL="9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accent2"/>
                      </a:solidFill>
                      <a:prstDash val="solid"/>
                      <a:round/>
                      <a:headEnd type="none" w="med" len="med"/>
                      <a:tailEnd type="none" w="med" len="med"/>
                    </a:lnT>
                    <a:lnB w="12700" cap="flat" cmpd="sng" algn="ctr">
                      <a:solidFill>
                        <a:schemeClr val="accent2"/>
                      </a:solidFill>
                      <a:prstDash val="solid"/>
                      <a:round/>
                      <a:headEnd type="none" w="med" len="med"/>
                      <a:tailEnd type="none" w="med" len="med"/>
                    </a:lnB>
                    <a:solidFill>
                      <a:schemeClr val="accent2"/>
                    </a:solidFill>
                  </a:tcPr>
                </a:tc>
                <a:tc>
                  <a:txBody>
                    <a:bodyPr/>
                    <a:lstStyle/>
                    <a:p>
                      <a:r>
                        <a:rPr lang="en-GB" sz="1100" b="1" dirty="0">
                          <a:solidFill>
                            <a:srgbClr val="C00000"/>
                          </a:solidFill>
                          <a:latin typeface="Verdana" panose="020B0604030504040204" pitchFamily="34" charset="0"/>
                          <a:ea typeface="Verdana" panose="020B0604030504040204" pitchFamily="34" charset="0"/>
                        </a:rPr>
                        <a:t>COMPLETE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r>
                        <a:rPr lang="en-GB" sz="1100" b="1" dirty="0">
                          <a:solidFill>
                            <a:srgbClr val="C00000"/>
                          </a:solidFill>
                          <a:latin typeface="Verdana" panose="020B0604030504040204" pitchFamily="34" charset="0"/>
                          <a:ea typeface="Verdana" panose="020B0604030504040204" pitchFamily="34" charset="0"/>
                        </a:rPr>
                        <a:t>COMPLETED</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r>
                        <a:rPr lang="en-GB" sz="1100">
                          <a:solidFill>
                            <a:schemeClr val="tx1"/>
                          </a:solidFill>
                          <a:latin typeface="Verdana" panose="020B0604030504040204" pitchFamily="34" charset="0"/>
                          <a:ea typeface="Verdana" panose="020B0604030504040204" pitchFamily="34" charset="0"/>
                        </a:rPr>
                        <a:t>2026</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tc>
                  <a:txBody>
                    <a:bodyPr/>
                    <a:lstStyle/>
                    <a:p>
                      <a:r>
                        <a:rPr lang="en-GB" sz="1100" dirty="0">
                          <a:solidFill>
                            <a:schemeClr val="tx1"/>
                          </a:solidFill>
                          <a:latin typeface="Verdana" panose="020B0604030504040204" pitchFamily="34" charset="0"/>
                          <a:ea typeface="Verdana" panose="020B0604030504040204" pitchFamily="34" charset="0"/>
                        </a:rPr>
                        <a:t>2028</a:t>
                      </a:r>
                    </a:p>
                  </a:txBody>
                  <a:tcP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4">
                        <a:lumMod val="20000"/>
                        <a:lumOff val="80000"/>
                      </a:schemeClr>
                    </a:solidFill>
                  </a:tcPr>
                </a:tc>
                <a:extLst>
                  <a:ext uri="{0D108BD9-81ED-4DB2-BD59-A6C34878D82A}">
                    <a16:rowId xmlns:a16="http://schemas.microsoft.com/office/drawing/2014/main" val="197507290"/>
                  </a:ext>
                </a:extLst>
              </a:tr>
            </a:tbl>
          </a:graphicData>
        </a:graphic>
      </p:graphicFrame>
      <p:pic>
        <p:nvPicPr>
          <p:cNvPr id="7" name="Graphic 6" descr="Target with solid fill">
            <a:extLst>
              <a:ext uri="{FF2B5EF4-FFF2-40B4-BE49-F238E27FC236}">
                <a16:creationId xmlns:a16="http://schemas.microsoft.com/office/drawing/2014/main" id="{7FE96561-D661-42D0-9AD5-B2570EA8664C}"/>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527238" y="1734673"/>
            <a:ext cx="445415" cy="445415"/>
          </a:xfrm>
          <a:prstGeom prst="rect">
            <a:avLst/>
          </a:prstGeom>
        </p:spPr>
      </p:pic>
      <p:pic>
        <p:nvPicPr>
          <p:cNvPr id="9" name="Graphic 8" descr="Users with solid fill">
            <a:extLst>
              <a:ext uri="{FF2B5EF4-FFF2-40B4-BE49-F238E27FC236}">
                <a16:creationId xmlns:a16="http://schemas.microsoft.com/office/drawing/2014/main" id="{B4424617-B9D7-41AB-9BD6-032166D087EE}"/>
              </a:ext>
            </a:extLst>
          </p:cNvPr>
          <p:cNvPicPr>
            <a:picLocks noChangeAspect="1"/>
          </p:cNvPicPr>
          <p:nvPr/>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527238" y="2314588"/>
            <a:ext cx="445415" cy="445415"/>
          </a:xfrm>
          <a:prstGeom prst="rect">
            <a:avLst/>
          </a:prstGeom>
        </p:spPr>
      </p:pic>
      <p:pic>
        <p:nvPicPr>
          <p:cNvPr id="11" name="Graphic 10" descr="Daily calendar with solid fill">
            <a:extLst>
              <a:ext uri="{FF2B5EF4-FFF2-40B4-BE49-F238E27FC236}">
                <a16:creationId xmlns:a16="http://schemas.microsoft.com/office/drawing/2014/main" id="{5765ED6C-E9C3-42B9-A4CB-E40F1DE0977A}"/>
              </a:ext>
            </a:extLst>
          </p:cNvPr>
          <p:cNvPicPr>
            <a:picLocks noChangeAspect="1"/>
          </p:cNvPicPr>
          <p:nvPr/>
        </p:nvPicPr>
        <p:blipFill>
          <a:blip r:embed="rId6" cstate="screen">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500277" y="4360405"/>
            <a:ext cx="472376" cy="472376"/>
          </a:xfrm>
          <a:prstGeom prst="rect">
            <a:avLst/>
          </a:prstGeom>
        </p:spPr>
      </p:pic>
      <p:pic>
        <p:nvPicPr>
          <p:cNvPr id="13" name="Graphic 12" descr="Lightbulb and gear with solid fill">
            <a:extLst>
              <a:ext uri="{FF2B5EF4-FFF2-40B4-BE49-F238E27FC236}">
                <a16:creationId xmlns:a16="http://schemas.microsoft.com/office/drawing/2014/main" id="{F3BD23FB-26D4-4066-B704-3CB7FA0D8AFD}"/>
              </a:ext>
            </a:extLst>
          </p:cNvPr>
          <p:cNvPicPr>
            <a:picLocks noChangeAspect="1"/>
          </p:cNvPicPr>
          <p:nvPr/>
        </p:nvPicPr>
        <p:blipFill>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500277" y="2894503"/>
            <a:ext cx="472376" cy="472376"/>
          </a:xfrm>
          <a:prstGeom prst="rect">
            <a:avLst/>
          </a:prstGeom>
        </p:spPr>
      </p:pic>
      <p:pic>
        <p:nvPicPr>
          <p:cNvPr id="15" name="Graphic 14" descr="Magnifying glass with solid fill">
            <a:extLst>
              <a:ext uri="{FF2B5EF4-FFF2-40B4-BE49-F238E27FC236}">
                <a16:creationId xmlns:a16="http://schemas.microsoft.com/office/drawing/2014/main" id="{96C00495-ED2D-4B2F-8E47-A24FF940703C}"/>
              </a:ext>
            </a:extLst>
          </p:cNvPr>
          <p:cNvPicPr>
            <a:picLocks noChangeAspect="1"/>
          </p:cNvPicPr>
          <p:nvPr/>
        </p:nvPicPr>
        <p:blipFill>
          <a:blip r:embed="rId10" cstate="screen">
            <a:extLst>
              <a:ext uri="{28A0092B-C50C-407E-A947-70E740481C1C}">
                <a14:useLocalDpi xmlns:a14="http://schemas.microsoft.com/office/drawing/2010/main"/>
              </a:ext>
              <a:ext uri="{96DAC541-7B7A-43D3-8B79-37D633B846F1}">
                <asvg:svgBlip xmlns:asvg="http://schemas.microsoft.com/office/drawing/2016/SVG/main" r:embed="rId11"/>
              </a:ext>
            </a:extLst>
          </a:blip>
          <a:stretch>
            <a:fillRect/>
          </a:stretch>
        </p:blipFill>
        <p:spPr>
          <a:xfrm>
            <a:off x="552926" y="3737599"/>
            <a:ext cx="419727" cy="419727"/>
          </a:xfrm>
          <a:prstGeom prst="rect">
            <a:avLst/>
          </a:prstGeom>
        </p:spPr>
      </p:pic>
    </p:spTree>
    <p:extLst>
      <p:ext uri="{BB962C8B-B14F-4D97-AF65-F5344CB8AC3E}">
        <p14:creationId xmlns:p14="http://schemas.microsoft.com/office/powerpoint/2010/main" val="59534011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E540275-C3D0-118B-0C7A-8D7CA3EA0115}"/>
              </a:ext>
            </a:extLst>
          </p:cNvPr>
          <p:cNvGrpSpPr/>
          <p:nvPr/>
        </p:nvGrpSpPr>
        <p:grpSpPr>
          <a:xfrm>
            <a:off x="0" y="0"/>
            <a:ext cx="12192000" cy="6858000"/>
            <a:chOff x="0" y="0"/>
            <a:chExt cx="12192000" cy="6858000"/>
          </a:xfrm>
        </p:grpSpPr>
        <p:pic>
          <p:nvPicPr>
            <p:cNvPr id="4" name="Picture 3" descr="A blue and white blurry background&#10;&#10;Description automatically generated">
              <a:extLst>
                <a:ext uri="{FF2B5EF4-FFF2-40B4-BE49-F238E27FC236}">
                  <a16:creationId xmlns:a16="http://schemas.microsoft.com/office/drawing/2014/main" id="{E3873AAA-5686-2004-DFF9-433FCB6BD2D6}"/>
                </a:ext>
              </a:extLst>
            </p:cNvPr>
            <p:cNvPicPr>
              <a:picLocks noChangeAspect="1"/>
            </p:cNvPicPr>
            <p:nvPr/>
          </p:nvPicPr>
          <p:blipFill>
            <a:blip r:embed="rId2"/>
            <a:stretch>
              <a:fillRect/>
            </a:stretch>
          </p:blipFill>
          <p:spPr>
            <a:xfrm>
              <a:off x="0" y="0"/>
              <a:ext cx="12192000" cy="6858000"/>
            </a:xfrm>
            <a:prstGeom prst="rect">
              <a:avLst/>
            </a:prstGeom>
          </p:spPr>
        </p:pic>
        <p:sp>
          <p:nvSpPr>
            <p:cNvPr id="5" name="Rounded Rectangle 4">
              <a:extLst>
                <a:ext uri="{FF2B5EF4-FFF2-40B4-BE49-F238E27FC236}">
                  <a16:creationId xmlns:a16="http://schemas.microsoft.com/office/drawing/2014/main" id="{5051F619-2039-1DDC-821B-59C1F603027C}"/>
                </a:ext>
              </a:extLst>
            </p:cNvPr>
            <p:cNvSpPr/>
            <p:nvPr/>
          </p:nvSpPr>
          <p:spPr>
            <a:xfrm>
              <a:off x="371153" y="358028"/>
              <a:ext cx="11483788" cy="6141944"/>
            </a:xfrm>
            <a:prstGeom prst="roundRect">
              <a:avLst>
                <a:gd name="adj" fmla="val 5617"/>
              </a:avLst>
            </a:prstGeom>
            <a:gradFill flip="none" rotWithShape="1">
              <a:gsLst>
                <a:gs pos="99000">
                  <a:srgbClr val="173057"/>
                </a:gs>
                <a:gs pos="0">
                  <a:srgbClr val="0258A6">
                    <a:lumMod val="100000"/>
                  </a:srgb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 name="Title 1">
            <a:extLst>
              <a:ext uri="{FF2B5EF4-FFF2-40B4-BE49-F238E27FC236}">
                <a16:creationId xmlns:a16="http://schemas.microsoft.com/office/drawing/2014/main" id="{0CE0695D-746F-FFD6-B476-A80EB4E0F332}"/>
              </a:ext>
            </a:extLst>
          </p:cNvPr>
          <p:cNvSpPr>
            <a:spLocks noGrp="1"/>
          </p:cNvSpPr>
          <p:nvPr>
            <p:ph type="title"/>
          </p:nvPr>
        </p:nvSpPr>
        <p:spPr>
          <a:xfrm>
            <a:off x="662101" y="2579356"/>
            <a:ext cx="10744200" cy="1520032"/>
          </a:xfrm>
        </p:spPr>
        <p:txBody>
          <a:bodyPr>
            <a:normAutofit/>
          </a:bodyPr>
          <a:lstStyle/>
          <a:p>
            <a:pPr algn="ctr"/>
            <a:r>
              <a:rPr lang="en-US" sz="6600" dirty="0">
                <a:solidFill>
                  <a:schemeClr val="bg1"/>
                </a:solidFill>
              </a:rPr>
              <a:t>Imatinib and </a:t>
            </a:r>
            <a:r>
              <a:rPr lang="en-US" sz="6600" dirty="0" err="1">
                <a:solidFill>
                  <a:schemeClr val="bg1"/>
                </a:solidFill>
              </a:rPr>
              <a:t>Seralutinib</a:t>
            </a:r>
            <a:endParaRPr lang="en-US" sz="6600" dirty="0">
              <a:solidFill>
                <a:schemeClr val="bg1"/>
              </a:solidFill>
            </a:endParaRPr>
          </a:p>
        </p:txBody>
      </p:sp>
    </p:spTree>
    <p:extLst>
      <p:ext uri="{BB962C8B-B14F-4D97-AF65-F5344CB8AC3E}">
        <p14:creationId xmlns:p14="http://schemas.microsoft.com/office/powerpoint/2010/main" val="330987746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12" name="Group 611">
            <a:extLst>
              <a:ext uri="{FF2B5EF4-FFF2-40B4-BE49-F238E27FC236}">
                <a16:creationId xmlns:a16="http://schemas.microsoft.com/office/drawing/2014/main" id="{41FDD7D2-8EE3-F042-9FBA-69892796C6F0}"/>
              </a:ext>
            </a:extLst>
          </p:cNvPr>
          <p:cNvGrpSpPr>
            <a:grpSpLocks noChangeAspect="1"/>
          </p:cNvGrpSpPr>
          <p:nvPr/>
        </p:nvGrpSpPr>
        <p:grpSpPr>
          <a:xfrm>
            <a:off x="6029667" y="1487904"/>
            <a:ext cx="5990720" cy="4176953"/>
            <a:chOff x="6709354" y="1795075"/>
            <a:chExt cx="5183347" cy="3614023"/>
          </a:xfrm>
        </p:grpSpPr>
        <p:grpSp>
          <p:nvGrpSpPr>
            <p:cNvPr id="6" name="Group 5">
              <a:extLst>
                <a:ext uri="{FF2B5EF4-FFF2-40B4-BE49-F238E27FC236}">
                  <a16:creationId xmlns:a16="http://schemas.microsoft.com/office/drawing/2014/main" id="{502DE8DF-B83C-4A33-8EF2-6966C4555DC2}"/>
                </a:ext>
              </a:extLst>
            </p:cNvPr>
            <p:cNvGrpSpPr/>
            <p:nvPr/>
          </p:nvGrpSpPr>
          <p:grpSpPr>
            <a:xfrm>
              <a:off x="6709354" y="1811283"/>
              <a:ext cx="5183347" cy="3597815"/>
              <a:chOff x="6195004" y="1811283"/>
              <a:chExt cx="5183347" cy="3597815"/>
            </a:xfrm>
          </p:grpSpPr>
          <p:sp>
            <p:nvSpPr>
              <p:cNvPr id="7" name="Rectangle 6">
                <a:extLst>
                  <a:ext uri="{FF2B5EF4-FFF2-40B4-BE49-F238E27FC236}">
                    <a16:creationId xmlns:a16="http://schemas.microsoft.com/office/drawing/2014/main" id="{B480A08A-88BE-4495-89C0-C261AC313B01}"/>
                  </a:ext>
                </a:extLst>
              </p:cNvPr>
              <p:cNvSpPr/>
              <p:nvPr/>
            </p:nvSpPr>
            <p:spPr>
              <a:xfrm>
                <a:off x="6195004" y="1811286"/>
                <a:ext cx="5133177" cy="3594256"/>
              </a:xfrm>
              <a:prstGeom prst="rect">
                <a:avLst/>
              </a:prstGeom>
              <a:solidFill>
                <a:schemeClr val="bg2"/>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8" name="Rectangle 7">
                <a:extLst>
                  <a:ext uri="{FF2B5EF4-FFF2-40B4-BE49-F238E27FC236}">
                    <a16:creationId xmlns:a16="http://schemas.microsoft.com/office/drawing/2014/main" id="{FF314EE2-BE0E-4F2A-9924-661141702B93}"/>
                  </a:ext>
                </a:extLst>
              </p:cNvPr>
              <p:cNvSpPr/>
              <p:nvPr/>
            </p:nvSpPr>
            <p:spPr>
              <a:xfrm>
                <a:off x="6195004" y="1811283"/>
                <a:ext cx="5133177" cy="862783"/>
              </a:xfrm>
              <a:prstGeom prst="rect">
                <a:avLst/>
              </a:prstGeom>
              <a:solidFill>
                <a:srgbClr val="99CCFF">
                  <a:alpha val="20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9" name="Rectangle 8">
                <a:extLst>
                  <a:ext uri="{FF2B5EF4-FFF2-40B4-BE49-F238E27FC236}">
                    <a16:creationId xmlns:a16="http://schemas.microsoft.com/office/drawing/2014/main" id="{B5D076B9-0562-4350-B27E-204967F896E0}"/>
                  </a:ext>
                </a:extLst>
              </p:cNvPr>
              <p:cNvSpPr/>
              <p:nvPr/>
            </p:nvSpPr>
            <p:spPr>
              <a:xfrm>
                <a:off x="6195004" y="2933116"/>
                <a:ext cx="5133177" cy="2475982"/>
              </a:xfrm>
              <a:prstGeom prst="rect">
                <a:avLst/>
              </a:prstGeom>
              <a:solidFill>
                <a:srgbClr val="FFC000">
                  <a:alpha val="10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10" name="Rectangle: Rounded Corners 9">
                <a:extLst>
                  <a:ext uri="{FF2B5EF4-FFF2-40B4-BE49-F238E27FC236}">
                    <a16:creationId xmlns:a16="http://schemas.microsoft.com/office/drawing/2014/main" id="{47D0DD32-EE02-4C1B-A0AC-F67DFB98A5F7}"/>
                  </a:ext>
                </a:extLst>
              </p:cNvPr>
              <p:cNvSpPr/>
              <p:nvPr/>
            </p:nvSpPr>
            <p:spPr bwMode="auto">
              <a:xfrm>
                <a:off x="7704173" y="4665556"/>
                <a:ext cx="551750" cy="208629"/>
              </a:xfrm>
              <a:prstGeom prst="roundRect">
                <a:avLst>
                  <a:gd name="adj" fmla="val 27467"/>
                </a:avLst>
              </a:prstGeom>
              <a:solidFill>
                <a:schemeClr val="accent5">
                  <a:lumMod val="50000"/>
                </a:schemeClr>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rPr>
                  <a:t>RAF</a:t>
                </a:r>
              </a:p>
            </p:txBody>
          </p:sp>
          <p:sp>
            <p:nvSpPr>
              <p:cNvPr id="11" name="Rectangle: Rounded Corners 10">
                <a:extLst>
                  <a:ext uri="{FF2B5EF4-FFF2-40B4-BE49-F238E27FC236}">
                    <a16:creationId xmlns:a16="http://schemas.microsoft.com/office/drawing/2014/main" id="{A53DF9EA-4CFD-4288-810B-AA7FB6CE6B2D}"/>
                  </a:ext>
                </a:extLst>
              </p:cNvPr>
              <p:cNvSpPr/>
              <p:nvPr/>
            </p:nvSpPr>
            <p:spPr bwMode="auto">
              <a:xfrm>
                <a:off x="8328680" y="4665556"/>
                <a:ext cx="551750" cy="208629"/>
              </a:xfrm>
              <a:prstGeom prst="roundRect">
                <a:avLst>
                  <a:gd name="adj" fmla="val 27467"/>
                </a:avLst>
              </a:prstGeom>
              <a:solidFill>
                <a:schemeClr val="accent5">
                  <a:lumMod val="50000"/>
                </a:schemeClr>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rPr>
                  <a:t>MEK</a:t>
                </a:r>
              </a:p>
            </p:txBody>
          </p:sp>
          <p:sp>
            <p:nvSpPr>
              <p:cNvPr id="12" name="Rectangle: Rounded Corners 11">
                <a:extLst>
                  <a:ext uri="{FF2B5EF4-FFF2-40B4-BE49-F238E27FC236}">
                    <a16:creationId xmlns:a16="http://schemas.microsoft.com/office/drawing/2014/main" id="{16AA7E10-9491-4508-8581-D85409DB03A8}"/>
                  </a:ext>
                </a:extLst>
              </p:cNvPr>
              <p:cNvSpPr/>
              <p:nvPr/>
            </p:nvSpPr>
            <p:spPr bwMode="auto">
              <a:xfrm>
                <a:off x="8953187" y="4665556"/>
                <a:ext cx="551750" cy="208629"/>
              </a:xfrm>
              <a:prstGeom prst="roundRect">
                <a:avLst>
                  <a:gd name="adj" fmla="val 27467"/>
                </a:avLst>
              </a:prstGeom>
              <a:solidFill>
                <a:schemeClr val="accent5">
                  <a:lumMod val="50000"/>
                </a:schemeClr>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Arial" pitchFamily="34" charset="0"/>
                  </a:rPr>
                  <a:t>ERK</a:t>
                </a:r>
              </a:p>
            </p:txBody>
          </p:sp>
          <p:sp>
            <p:nvSpPr>
              <p:cNvPr id="13" name="Rectangle: Rounded Corners 12">
                <a:extLst>
                  <a:ext uri="{FF2B5EF4-FFF2-40B4-BE49-F238E27FC236}">
                    <a16:creationId xmlns:a16="http://schemas.microsoft.com/office/drawing/2014/main" id="{1B96C27A-102B-4EB6-8473-B3B9D6A81C25}"/>
                  </a:ext>
                </a:extLst>
              </p:cNvPr>
              <p:cNvSpPr/>
              <p:nvPr/>
            </p:nvSpPr>
            <p:spPr bwMode="auto">
              <a:xfrm>
                <a:off x="6255359" y="4168492"/>
                <a:ext cx="832168" cy="186852"/>
              </a:xfrm>
              <a:prstGeom prst="roundRect">
                <a:avLst>
                  <a:gd name="adj" fmla="val 50000"/>
                </a:avLst>
              </a:prstGeom>
              <a:solidFill>
                <a:srgbClr val="C00000"/>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rPr>
                  <a:t>RAS-GDP</a:t>
                </a:r>
              </a:p>
            </p:txBody>
          </p:sp>
          <p:sp>
            <p:nvSpPr>
              <p:cNvPr id="14" name="Rectangle: Rounded Corners 13">
                <a:extLst>
                  <a:ext uri="{FF2B5EF4-FFF2-40B4-BE49-F238E27FC236}">
                    <a16:creationId xmlns:a16="http://schemas.microsoft.com/office/drawing/2014/main" id="{0BE5DF3A-D84E-432F-9BF6-E95D8FD6F1C8}"/>
                  </a:ext>
                </a:extLst>
              </p:cNvPr>
              <p:cNvSpPr/>
              <p:nvPr/>
            </p:nvSpPr>
            <p:spPr bwMode="auto">
              <a:xfrm>
                <a:off x="7264875" y="4168492"/>
                <a:ext cx="832168" cy="186852"/>
              </a:xfrm>
              <a:prstGeom prst="roundRect">
                <a:avLst>
                  <a:gd name="adj" fmla="val 50000"/>
                </a:avLst>
              </a:prstGeom>
              <a:solidFill>
                <a:srgbClr val="C00000"/>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rPr>
                  <a:t>RAS-GTP</a:t>
                </a:r>
              </a:p>
            </p:txBody>
          </p:sp>
          <p:sp>
            <p:nvSpPr>
              <p:cNvPr id="15" name="Arc 14">
                <a:extLst>
                  <a:ext uri="{FF2B5EF4-FFF2-40B4-BE49-F238E27FC236}">
                    <a16:creationId xmlns:a16="http://schemas.microsoft.com/office/drawing/2014/main" id="{C9642242-89EC-449F-8755-25738AE1788C}"/>
                  </a:ext>
                </a:extLst>
              </p:cNvPr>
              <p:cNvSpPr/>
              <p:nvPr/>
            </p:nvSpPr>
            <p:spPr bwMode="auto">
              <a:xfrm>
                <a:off x="6658801" y="3981352"/>
                <a:ext cx="1077540" cy="331590"/>
              </a:xfrm>
              <a:prstGeom prst="arc">
                <a:avLst>
                  <a:gd name="adj1" fmla="val 10861372"/>
                  <a:gd name="adj2" fmla="val 21540221"/>
                </a:avLst>
              </a:prstGeom>
              <a:noFill/>
              <a:ln w="19050" cap="flat" cmpd="sng" algn="ctr">
                <a:solidFill>
                  <a:srgbClr val="000000"/>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6" name="Arc 15">
                <a:extLst>
                  <a:ext uri="{FF2B5EF4-FFF2-40B4-BE49-F238E27FC236}">
                    <a16:creationId xmlns:a16="http://schemas.microsoft.com/office/drawing/2014/main" id="{5AFA5413-2C04-4C96-B447-EEB9F760CA09}"/>
                  </a:ext>
                </a:extLst>
              </p:cNvPr>
              <p:cNvSpPr/>
              <p:nvPr/>
            </p:nvSpPr>
            <p:spPr bwMode="auto">
              <a:xfrm rot="10800000">
                <a:off x="6658285" y="4218277"/>
                <a:ext cx="1077540" cy="331590"/>
              </a:xfrm>
              <a:prstGeom prst="arc">
                <a:avLst>
                  <a:gd name="adj1" fmla="val 10861372"/>
                  <a:gd name="adj2" fmla="val 21540221"/>
                </a:avLst>
              </a:prstGeom>
              <a:noFill/>
              <a:ln w="19050" cap="flat" cmpd="sng" algn="ctr">
                <a:solidFill>
                  <a:srgbClr val="000000"/>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7" name="Arc 16">
                <a:extLst>
                  <a:ext uri="{FF2B5EF4-FFF2-40B4-BE49-F238E27FC236}">
                    <a16:creationId xmlns:a16="http://schemas.microsoft.com/office/drawing/2014/main" id="{538A8071-75E2-4BB5-BF3D-3BC5D1AAA0E6}"/>
                  </a:ext>
                </a:extLst>
              </p:cNvPr>
              <p:cNvSpPr/>
              <p:nvPr/>
            </p:nvSpPr>
            <p:spPr bwMode="auto">
              <a:xfrm>
                <a:off x="8604555" y="4494090"/>
                <a:ext cx="647763" cy="331590"/>
              </a:xfrm>
              <a:prstGeom prst="arc">
                <a:avLst>
                  <a:gd name="adj1" fmla="val 10861372"/>
                  <a:gd name="adj2" fmla="val 1742"/>
                </a:avLst>
              </a:prstGeom>
              <a:noFill/>
              <a:ln w="19050" cap="flat" cmpd="sng" algn="ctr">
                <a:solidFill>
                  <a:srgbClr val="000000"/>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8" name="Arc 17">
                <a:extLst>
                  <a:ext uri="{FF2B5EF4-FFF2-40B4-BE49-F238E27FC236}">
                    <a16:creationId xmlns:a16="http://schemas.microsoft.com/office/drawing/2014/main" id="{82BD8796-7AAD-4968-8AF6-7ED4F393F020}"/>
                  </a:ext>
                </a:extLst>
              </p:cNvPr>
              <p:cNvSpPr/>
              <p:nvPr/>
            </p:nvSpPr>
            <p:spPr bwMode="auto">
              <a:xfrm rot="10800000">
                <a:off x="7999156" y="4717449"/>
                <a:ext cx="647763" cy="331590"/>
              </a:xfrm>
              <a:prstGeom prst="arc">
                <a:avLst>
                  <a:gd name="adj1" fmla="val 10861372"/>
                  <a:gd name="adj2" fmla="val 1742"/>
                </a:avLst>
              </a:prstGeom>
              <a:noFill/>
              <a:ln w="19050" cap="flat" cmpd="sng" algn="ctr">
                <a:solidFill>
                  <a:srgbClr val="000000"/>
                </a:solidFill>
                <a:prstDash val="solid"/>
                <a:round/>
                <a:headEnd type="triangl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cxnSp>
            <p:nvCxnSpPr>
              <p:cNvPr id="19" name="Straight Arrow Connector 18">
                <a:extLst>
                  <a:ext uri="{FF2B5EF4-FFF2-40B4-BE49-F238E27FC236}">
                    <a16:creationId xmlns:a16="http://schemas.microsoft.com/office/drawing/2014/main" id="{CA45E39A-B598-4D1C-BD81-69AD16D88B67}"/>
                  </a:ext>
                </a:extLst>
              </p:cNvPr>
              <p:cNvCxnSpPr>
                <a:cxnSpLocks/>
              </p:cNvCxnSpPr>
              <p:nvPr/>
            </p:nvCxnSpPr>
            <p:spPr bwMode="auto">
              <a:xfrm>
                <a:off x="7976888" y="4355344"/>
                <a:ext cx="0" cy="312698"/>
              </a:xfrm>
              <a:prstGeom prst="straightConnector1">
                <a:avLst/>
              </a:prstGeom>
              <a:solidFill>
                <a:srgbClr val="C0C0C0"/>
              </a:solidFill>
              <a:ln w="19050" cap="flat" cmpd="sng" algn="ctr">
                <a:solidFill>
                  <a:srgbClr val="000000"/>
                </a:solidFill>
                <a:prstDash val="solid"/>
                <a:round/>
                <a:headEnd type="none" w="med" len="med"/>
                <a:tailEnd type="triangle"/>
              </a:ln>
              <a:effectLst/>
            </p:spPr>
          </p:cxnSp>
          <p:sp>
            <p:nvSpPr>
              <p:cNvPr id="20" name="Rectangle: Rounded Corners 19">
                <a:extLst>
                  <a:ext uri="{FF2B5EF4-FFF2-40B4-BE49-F238E27FC236}">
                    <a16:creationId xmlns:a16="http://schemas.microsoft.com/office/drawing/2014/main" id="{CB3A8821-1722-4FBE-ABA7-EA4E17C1025C}"/>
                  </a:ext>
                </a:extLst>
              </p:cNvPr>
              <p:cNvSpPr/>
              <p:nvPr/>
            </p:nvSpPr>
            <p:spPr bwMode="auto">
              <a:xfrm>
                <a:off x="6924443" y="3543509"/>
                <a:ext cx="497561" cy="222726"/>
              </a:xfrm>
              <a:prstGeom prst="roundRect">
                <a:avLst/>
              </a:prstGeom>
              <a:solidFill>
                <a:schemeClr val="accent4"/>
              </a:solidFill>
              <a:ln w="12700" cap="flat" cmpd="sng" algn="ctr">
                <a:solidFill>
                  <a:srgbClr val="000000"/>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SHC</a:t>
                </a:r>
              </a:p>
            </p:txBody>
          </p:sp>
          <p:sp>
            <p:nvSpPr>
              <p:cNvPr id="21" name="Oval 20">
                <a:extLst>
                  <a:ext uri="{FF2B5EF4-FFF2-40B4-BE49-F238E27FC236}">
                    <a16:creationId xmlns:a16="http://schemas.microsoft.com/office/drawing/2014/main" id="{5B4210D6-6FEB-4F90-919A-F01D017C08C9}"/>
                  </a:ext>
                </a:extLst>
              </p:cNvPr>
              <p:cNvSpPr/>
              <p:nvPr/>
            </p:nvSpPr>
            <p:spPr bwMode="auto">
              <a:xfrm>
                <a:off x="7583931" y="3573181"/>
                <a:ext cx="523344" cy="258792"/>
              </a:xfrm>
              <a:prstGeom prst="ellipse">
                <a:avLst/>
              </a:prstGeom>
              <a:solidFill>
                <a:schemeClr val="accent2"/>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Grb2</a:t>
                </a:r>
              </a:p>
            </p:txBody>
          </p:sp>
          <p:sp>
            <p:nvSpPr>
              <p:cNvPr id="22" name="Oval 21">
                <a:extLst>
                  <a:ext uri="{FF2B5EF4-FFF2-40B4-BE49-F238E27FC236}">
                    <a16:creationId xmlns:a16="http://schemas.microsoft.com/office/drawing/2014/main" id="{7CDCF786-9D2D-4DA3-936C-1AE4C9EBAFE7}"/>
                  </a:ext>
                </a:extLst>
              </p:cNvPr>
              <p:cNvSpPr/>
              <p:nvPr/>
            </p:nvSpPr>
            <p:spPr bwMode="auto">
              <a:xfrm>
                <a:off x="7233460" y="3733087"/>
                <a:ext cx="523344" cy="258792"/>
              </a:xfrm>
              <a:prstGeom prst="ellipse">
                <a:avLst/>
              </a:prstGeom>
              <a:solidFill>
                <a:schemeClr val="accent6"/>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SOS</a:t>
                </a:r>
              </a:p>
            </p:txBody>
          </p:sp>
          <p:sp>
            <p:nvSpPr>
              <p:cNvPr id="23" name="TextBox 22">
                <a:extLst>
                  <a:ext uri="{FF2B5EF4-FFF2-40B4-BE49-F238E27FC236}">
                    <a16:creationId xmlns:a16="http://schemas.microsoft.com/office/drawing/2014/main" id="{014E91A5-30BD-4EEE-9657-3D64545418BC}"/>
                  </a:ext>
                </a:extLst>
              </p:cNvPr>
              <p:cNvSpPr txBox="1"/>
              <p:nvPr/>
            </p:nvSpPr>
            <p:spPr>
              <a:xfrm>
                <a:off x="7370484" y="4860887"/>
                <a:ext cx="714486" cy="430887"/>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itchFamily="34" charset="0"/>
                  </a:rPr>
                  <a:t>MAPK</a:t>
                </a:r>
                <a:br>
                  <a:rPr kumimoji="0" lang="en-GB" sz="11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itchFamily="34" charset="0"/>
                  </a:rPr>
                </a:br>
                <a:r>
                  <a:rPr kumimoji="0" lang="en-GB" sz="11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itchFamily="34" charset="0"/>
                  </a:rPr>
                  <a:t>cascade</a:t>
                </a:r>
              </a:p>
            </p:txBody>
          </p:sp>
          <p:sp>
            <p:nvSpPr>
              <p:cNvPr id="24" name="Rectangle: Rounded Corners 23">
                <a:extLst>
                  <a:ext uri="{FF2B5EF4-FFF2-40B4-BE49-F238E27FC236}">
                    <a16:creationId xmlns:a16="http://schemas.microsoft.com/office/drawing/2014/main" id="{F8357570-127B-49A4-BA2D-3D20A4EB67BA}"/>
                  </a:ext>
                </a:extLst>
              </p:cNvPr>
              <p:cNvSpPr/>
              <p:nvPr/>
            </p:nvSpPr>
            <p:spPr bwMode="auto">
              <a:xfrm>
                <a:off x="8530015" y="3592056"/>
                <a:ext cx="551750" cy="222727"/>
              </a:xfrm>
              <a:prstGeom prst="roundRect">
                <a:avLst>
                  <a:gd name="adj" fmla="val 6870"/>
                </a:avLst>
              </a:prstGeom>
              <a:solidFill>
                <a:srgbClr val="0070C0"/>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rPr>
                  <a:t>PI3K</a:t>
                </a:r>
              </a:p>
            </p:txBody>
          </p:sp>
          <p:sp>
            <p:nvSpPr>
              <p:cNvPr id="25" name="Rectangle: Rounded Corners 24">
                <a:extLst>
                  <a:ext uri="{FF2B5EF4-FFF2-40B4-BE49-F238E27FC236}">
                    <a16:creationId xmlns:a16="http://schemas.microsoft.com/office/drawing/2014/main" id="{FAF70915-DC6E-43D4-8306-84D3094658D0}"/>
                  </a:ext>
                </a:extLst>
              </p:cNvPr>
              <p:cNvSpPr/>
              <p:nvPr/>
            </p:nvSpPr>
            <p:spPr bwMode="auto">
              <a:xfrm>
                <a:off x="9486395" y="3592056"/>
                <a:ext cx="784213" cy="222727"/>
              </a:xfrm>
              <a:prstGeom prst="roundRect">
                <a:avLst>
                  <a:gd name="adj" fmla="val 6870"/>
                </a:avLst>
              </a:prstGeom>
              <a:solidFill>
                <a:schemeClr val="accent6">
                  <a:lumMod val="75000"/>
                </a:schemeClr>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rPr>
                  <a:t>AKT/PKB</a:t>
                </a:r>
              </a:p>
            </p:txBody>
          </p:sp>
          <p:sp>
            <p:nvSpPr>
              <p:cNvPr id="26" name="Rectangle: Rounded Corners 25">
                <a:extLst>
                  <a:ext uri="{FF2B5EF4-FFF2-40B4-BE49-F238E27FC236}">
                    <a16:creationId xmlns:a16="http://schemas.microsoft.com/office/drawing/2014/main" id="{1CD9BAA1-0C90-4BC2-AF1B-CD66C1645BA1}"/>
                  </a:ext>
                </a:extLst>
              </p:cNvPr>
              <p:cNvSpPr/>
              <p:nvPr/>
            </p:nvSpPr>
            <p:spPr bwMode="auto">
              <a:xfrm>
                <a:off x="10318509" y="4027827"/>
                <a:ext cx="551750" cy="222727"/>
              </a:xfrm>
              <a:prstGeom prst="roundRect">
                <a:avLst>
                  <a:gd name="adj" fmla="val 6870"/>
                </a:avLst>
              </a:prstGeom>
              <a:solidFill>
                <a:schemeClr val="accent6">
                  <a:lumMod val="75000"/>
                </a:schemeClr>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rPr>
                  <a:t>mTOR</a:t>
                </a:r>
              </a:p>
            </p:txBody>
          </p:sp>
          <p:sp>
            <p:nvSpPr>
              <p:cNvPr id="27" name="Oval 26">
                <a:extLst>
                  <a:ext uri="{FF2B5EF4-FFF2-40B4-BE49-F238E27FC236}">
                    <a16:creationId xmlns:a16="http://schemas.microsoft.com/office/drawing/2014/main" id="{CCF73154-86A7-491A-BE76-0D535E6951FB}"/>
                  </a:ext>
                </a:extLst>
              </p:cNvPr>
              <p:cNvSpPr/>
              <p:nvPr/>
            </p:nvSpPr>
            <p:spPr bwMode="auto">
              <a:xfrm>
                <a:off x="9477972" y="3777446"/>
                <a:ext cx="165204" cy="165204"/>
              </a:xfrm>
              <a:prstGeom prst="ellipse">
                <a:avLst/>
              </a:prstGeom>
              <a:solidFill>
                <a:srgbClr val="FF5050"/>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P</a:t>
                </a:r>
              </a:p>
            </p:txBody>
          </p:sp>
          <p:sp>
            <p:nvSpPr>
              <p:cNvPr id="28" name="Oval 27">
                <a:extLst>
                  <a:ext uri="{FF2B5EF4-FFF2-40B4-BE49-F238E27FC236}">
                    <a16:creationId xmlns:a16="http://schemas.microsoft.com/office/drawing/2014/main" id="{F31E6F67-140F-4124-9A7C-1978DB1C9136}"/>
                  </a:ext>
                </a:extLst>
              </p:cNvPr>
              <p:cNvSpPr/>
              <p:nvPr/>
            </p:nvSpPr>
            <p:spPr bwMode="auto">
              <a:xfrm>
                <a:off x="10105404" y="3454355"/>
                <a:ext cx="165204" cy="165204"/>
              </a:xfrm>
              <a:prstGeom prst="ellipse">
                <a:avLst/>
              </a:prstGeom>
              <a:solidFill>
                <a:srgbClr val="FF5050"/>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P</a:t>
                </a:r>
              </a:p>
            </p:txBody>
          </p:sp>
          <p:cxnSp>
            <p:nvCxnSpPr>
              <p:cNvPr id="29" name="Straight Arrow Connector 28">
                <a:extLst>
                  <a:ext uri="{FF2B5EF4-FFF2-40B4-BE49-F238E27FC236}">
                    <a16:creationId xmlns:a16="http://schemas.microsoft.com/office/drawing/2014/main" id="{B7529180-D94F-43FB-B984-C2D5A0D79881}"/>
                  </a:ext>
                </a:extLst>
              </p:cNvPr>
              <p:cNvCxnSpPr>
                <a:cxnSpLocks/>
              </p:cNvCxnSpPr>
              <p:nvPr/>
            </p:nvCxnSpPr>
            <p:spPr bwMode="auto">
              <a:xfrm rot="16200000">
                <a:off x="8318645" y="3546229"/>
                <a:ext cx="0" cy="312698"/>
              </a:xfrm>
              <a:prstGeom prst="straightConnector1">
                <a:avLst/>
              </a:prstGeom>
              <a:solidFill>
                <a:srgbClr val="C0C0C0"/>
              </a:solidFill>
              <a:ln w="19050" cap="flat" cmpd="sng" algn="ctr">
                <a:solidFill>
                  <a:srgbClr val="000000"/>
                </a:solidFill>
                <a:prstDash val="solid"/>
                <a:round/>
                <a:headEnd type="none" w="med" len="med"/>
                <a:tailEnd type="triangle"/>
              </a:ln>
              <a:effectLst/>
            </p:spPr>
          </p:cxnSp>
          <p:cxnSp>
            <p:nvCxnSpPr>
              <p:cNvPr id="30" name="Straight Arrow Connector 29">
                <a:extLst>
                  <a:ext uri="{FF2B5EF4-FFF2-40B4-BE49-F238E27FC236}">
                    <a16:creationId xmlns:a16="http://schemas.microsoft.com/office/drawing/2014/main" id="{636D5A2A-A0EE-4D47-8555-B82DD027C2AE}"/>
                  </a:ext>
                </a:extLst>
              </p:cNvPr>
              <p:cNvCxnSpPr>
                <a:cxnSpLocks/>
              </p:cNvCxnSpPr>
              <p:nvPr/>
            </p:nvCxnSpPr>
            <p:spPr bwMode="auto">
              <a:xfrm rot="16200000">
                <a:off x="9293135" y="3546229"/>
                <a:ext cx="0" cy="312698"/>
              </a:xfrm>
              <a:prstGeom prst="straightConnector1">
                <a:avLst/>
              </a:prstGeom>
              <a:solidFill>
                <a:srgbClr val="C0C0C0"/>
              </a:solidFill>
              <a:ln w="19050" cap="flat" cmpd="sng" algn="ctr">
                <a:solidFill>
                  <a:srgbClr val="000000"/>
                </a:solidFill>
                <a:prstDash val="solid"/>
                <a:round/>
                <a:headEnd type="none" w="med" len="med"/>
                <a:tailEnd type="triangle"/>
              </a:ln>
              <a:effectLst/>
            </p:spPr>
          </p:cxnSp>
          <p:cxnSp>
            <p:nvCxnSpPr>
              <p:cNvPr id="31" name="Connector: Elbow 30">
                <a:extLst>
                  <a:ext uri="{FF2B5EF4-FFF2-40B4-BE49-F238E27FC236}">
                    <a16:creationId xmlns:a16="http://schemas.microsoft.com/office/drawing/2014/main" id="{771A1F0A-77B6-4037-A40D-F05B297F7A4E}"/>
                  </a:ext>
                </a:extLst>
              </p:cNvPr>
              <p:cNvCxnSpPr>
                <a:cxnSpLocks/>
                <a:endCxn id="26" idx="0"/>
              </p:cNvCxnSpPr>
              <p:nvPr/>
            </p:nvCxnSpPr>
            <p:spPr bwMode="auto">
              <a:xfrm rot="16200000" flipH="1">
                <a:off x="10302442" y="3735885"/>
                <a:ext cx="330858" cy="253025"/>
              </a:xfrm>
              <a:prstGeom prst="bentConnector3">
                <a:avLst>
                  <a:gd name="adj1" fmla="val 2621"/>
                </a:avLst>
              </a:prstGeom>
              <a:solidFill>
                <a:srgbClr val="C0C0C0"/>
              </a:solidFill>
              <a:ln w="19050" cap="flat" cmpd="sng" algn="ctr">
                <a:solidFill>
                  <a:srgbClr val="000000"/>
                </a:solidFill>
                <a:prstDash val="solid"/>
                <a:round/>
                <a:headEnd type="none" w="med" len="med"/>
                <a:tailEnd type="triangle"/>
              </a:ln>
              <a:effectLst/>
            </p:spPr>
          </p:cxnSp>
          <p:grpSp>
            <p:nvGrpSpPr>
              <p:cNvPr id="32" name="Group 31">
                <a:extLst>
                  <a:ext uri="{FF2B5EF4-FFF2-40B4-BE49-F238E27FC236}">
                    <a16:creationId xmlns:a16="http://schemas.microsoft.com/office/drawing/2014/main" id="{4B29167A-35CD-4F76-A4DC-9DA9EDDAEEB0}"/>
                  </a:ext>
                </a:extLst>
              </p:cNvPr>
              <p:cNvGrpSpPr/>
              <p:nvPr/>
            </p:nvGrpSpPr>
            <p:grpSpPr>
              <a:xfrm>
                <a:off x="9917413" y="4533302"/>
                <a:ext cx="1377719" cy="699884"/>
                <a:chOff x="8222071" y="1604129"/>
                <a:chExt cx="1377719" cy="699884"/>
              </a:xfrm>
            </p:grpSpPr>
            <p:sp>
              <p:nvSpPr>
                <p:cNvPr id="299" name="Oval 298">
                  <a:extLst>
                    <a:ext uri="{FF2B5EF4-FFF2-40B4-BE49-F238E27FC236}">
                      <a16:creationId xmlns:a16="http://schemas.microsoft.com/office/drawing/2014/main" id="{D4D322B6-B4D2-479E-96BB-7E247050C4B5}"/>
                    </a:ext>
                  </a:extLst>
                </p:cNvPr>
                <p:cNvSpPr/>
                <p:nvPr/>
              </p:nvSpPr>
              <p:spPr bwMode="auto">
                <a:xfrm>
                  <a:off x="8256548" y="1604129"/>
                  <a:ext cx="1320648" cy="699884"/>
                </a:xfrm>
                <a:prstGeom prst="ellipse">
                  <a:avLst/>
                </a:prstGeom>
                <a:solidFill>
                  <a:srgbClr val="F7BDA3">
                    <a:alpha val="40000"/>
                  </a:srgbClr>
                </a:solidFill>
                <a:ln w="19050" cap="flat" cmpd="sng" algn="ctr">
                  <a:solidFill>
                    <a:srgbClr val="000000"/>
                  </a:solidFill>
                  <a:prstDash val="solid"/>
                  <a:round/>
                  <a:headEnd type="none" w="med" len="med"/>
                  <a:tailEnd type="none" w="med" len="med"/>
                </a:ln>
                <a:effectLst/>
              </p:spPr>
              <p:txBody>
                <a:bodyPr vert="horz" wrap="square" lIns="0" tIns="0" rIns="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300" name="TextBox 299">
                  <a:extLst>
                    <a:ext uri="{FF2B5EF4-FFF2-40B4-BE49-F238E27FC236}">
                      <a16:creationId xmlns:a16="http://schemas.microsoft.com/office/drawing/2014/main" id="{4C85E729-76CC-42E0-A54B-5F08AA3380CB}"/>
                    </a:ext>
                  </a:extLst>
                </p:cNvPr>
                <p:cNvSpPr txBox="1"/>
                <p:nvPr/>
              </p:nvSpPr>
              <p:spPr>
                <a:xfrm>
                  <a:off x="8222071" y="1723238"/>
                  <a:ext cx="1377719" cy="46166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Nucleus gene transcription</a:t>
                  </a:r>
                </a:p>
              </p:txBody>
            </p:sp>
          </p:grpSp>
          <p:grpSp>
            <p:nvGrpSpPr>
              <p:cNvPr id="33" name="Group 32">
                <a:extLst>
                  <a:ext uri="{FF2B5EF4-FFF2-40B4-BE49-F238E27FC236}">
                    <a16:creationId xmlns:a16="http://schemas.microsoft.com/office/drawing/2014/main" id="{6AB2D497-A5DE-447C-B214-E049B999746C}"/>
                  </a:ext>
                </a:extLst>
              </p:cNvPr>
              <p:cNvGrpSpPr/>
              <p:nvPr/>
            </p:nvGrpSpPr>
            <p:grpSpPr>
              <a:xfrm>
                <a:off x="6452768" y="1884146"/>
                <a:ext cx="1543892" cy="675396"/>
                <a:chOff x="4815354" y="1927615"/>
                <a:chExt cx="1543892" cy="675396"/>
              </a:xfrm>
            </p:grpSpPr>
            <p:sp>
              <p:nvSpPr>
                <p:cNvPr id="293" name="Oval 292">
                  <a:extLst>
                    <a:ext uri="{FF2B5EF4-FFF2-40B4-BE49-F238E27FC236}">
                      <a16:creationId xmlns:a16="http://schemas.microsoft.com/office/drawing/2014/main" id="{F0C0E85B-EABE-4442-AB5A-B4EEC59611CE}"/>
                    </a:ext>
                  </a:extLst>
                </p:cNvPr>
                <p:cNvSpPr/>
                <p:nvPr/>
              </p:nvSpPr>
              <p:spPr bwMode="auto">
                <a:xfrm>
                  <a:off x="5358138" y="1927615"/>
                  <a:ext cx="204636" cy="301219"/>
                </a:xfrm>
                <a:prstGeom prst="ellipse">
                  <a:avLst/>
                </a:prstGeom>
                <a:solidFill>
                  <a:srgbClr val="FFC000"/>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A</a:t>
                  </a:r>
                </a:p>
              </p:txBody>
            </p:sp>
            <p:sp>
              <p:nvSpPr>
                <p:cNvPr id="294" name="Oval 293">
                  <a:extLst>
                    <a:ext uri="{FF2B5EF4-FFF2-40B4-BE49-F238E27FC236}">
                      <a16:creationId xmlns:a16="http://schemas.microsoft.com/office/drawing/2014/main" id="{5EE8F865-B86A-49E5-ACD2-3DDF094417BD}"/>
                    </a:ext>
                  </a:extLst>
                </p:cNvPr>
                <p:cNvSpPr/>
                <p:nvPr/>
              </p:nvSpPr>
              <p:spPr bwMode="auto">
                <a:xfrm>
                  <a:off x="5525965" y="1927615"/>
                  <a:ext cx="204636" cy="301219"/>
                </a:xfrm>
                <a:prstGeom prst="ellipse">
                  <a:avLst/>
                </a:prstGeom>
                <a:solidFill>
                  <a:schemeClr val="accent2">
                    <a:lumMod val="20000"/>
                    <a:lumOff val="80000"/>
                  </a:schemeClr>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B</a:t>
                  </a:r>
                </a:p>
              </p:txBody>
            </p:sp>
            <p:sp>
              <p:nvSpPr>
                <p:cNvPr id="295" name="Oval 294">
                  <a:extLst>
                    <a:ext uri="{FF2B5EF4-FFF2-40B4-BE49-F238E27FC236}">
                      <a16:creationId xmlns:a16="http://schemas.microsoft.com/office/drawing/2014/main" id="{A1C75755-4F03-4BFF-A16B-F494C531394A}"/>
                    </a:ext>
                  </a:extLst>
                </p:cNvPr>
                <p:cNvSpPr/>
                <p:nvPr/>
              </p:nvSpPr>
              <p:spPr bwMode="auto">
                <a:xfrm>
                  <a:off x="5986783" y="1993126"/>
                  <a:ext cx="204636" cy="301219"/>
                </a:xfrm>
                <a:prstGeom prst="ellipse">
                  <a:avLst/>
                </a:prstGeom>
                <a:solidFill>
                  <a:srgbClr val="FFC000"/>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A</a:t>
                  </a:r>
                </a:p>
              </p:txBody>
            </p:sp>
            <p:sp>
              <p:nvSpPr>
                <p:cNvPr id="296" name="Oval 295">
                  <a:extLst>
                    <a:ext uri="{FF2B5EF4-FFF2-40B4-BE49-F238E27FC236}">
                      <a16:creationId xmlns:a16="http://schemas.microsoft.com/office/drawing/2014/main" id="{1FB5D1C0-C666-461A-9AC9-1A74827030C6}"/>
                    </a:ext>
                  </a:extLst>
                </p:cNvPr>
                <p:cNvSpPr/>
                <p:nvPr/>
              </p:nvSpPr>
              <p:spPr bwMode="auto">
                <a:xfrm>
                  <a:off x="6154610" y="1993126"/>
                  <a:ext cx="204636" cy="301219"/>
                </a:xfrm>
                <a:prstGeom prst="ellipse">
                  <a:avLst/>
                </a:prstGeom>
                <a:solidFill>
                  <a:schemeClr val="accent2">
                    <a:lumMod val="20000"/>
                    <a:lumOff val="80000"/>
                  </a:schemeClr>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B</a:t>
                  </a:r>
                </a:p>
              </p:txBody>
            </p:sp>
            <p:sp>
              <p:nvSpPr>
                <p:cNvPr id="297" name="Oval 296">
                  <a:extLst>
                    <a:ext uri="{FF2B5EF4-FFF2-40B4-BE49-F238E27FC236}">
                      <a16:creationId xmlns:a16="http://schemas.microsoft.com/office/drawing/2014/main" id="{ADE882D9-8509-40E9-8DCA-ACF97CA020A3}"/>
                    </a:ext>
                  </a:extLst>
                </p:cNvPr>
                <p:cNvSpPr/>
                <p:nvPr/>
              </p:nvSpPr>
              <p:spPr bwMode="auto">
                <a:xfrm>
                  <a:off x="4815354" y="2301792"/>
                  <a:ext cx="204636" cy="301219"/>
                </a:xfrm>
                <a:prstGeom prst="ellipse">
                  <a:avLst/>
                </a:prstGeom>
                <a:solidFill>
                  <a:srgbClr val="FFC000"/>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A</a:t>
                  </a:r>
                </a:p>
              </p:txBody>
            </p:sp>
            <p:sp>
              <p:nvSpPr>
                <p:cNvPr id="298" name="Oval 297">
                  <a:extLst>
                    <a:ext uri="{FF2B5EF4-FFF2-40B4-BE49-F238E27FC236}">
                      <a16:creationId xmlns:a16="http://schemas.microsoft.com/office/drawing/2014/main" id="{82A2C1A8-2B47-4783-800B-0F1D13C1453C}"/>
                    </a:ext>
                  </a:extLst>
                </p:cNvPr>
                <p:cNvSpPr/>
                <p:nvPr/>
              </p:nvSpPr>
              <p:spPr bwMode="auto">
                <a:xfrm>
                  <a:off x="4983181" y="2301792"/>
                  <a:ext cx="204636" cy="301219"/>
                </a:xfrm>
                <a:prstGeom prst="ellipse">
                  <a:avLst/>
                </a:prstGeom>
                <a:solidFill>
                  <a:schemeClr val="accent2">
                    <a:lumMod val="20000"/>
                    <a:lumOff val="80000"/>
                  </a:schemeClr>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B</a:t>
                  </a:r>
                </a:p>
              </p:txBody>
            </p:sp>
          </p:grpSp>
          <p:sp>
            <p:nvSpPr>
              <p:cNvPr id="34" name="TextBox 33">
                <a:extLst>
                  <a:ext uri="{FF2B5EF4-FFF2-40B4-BE49-F238E27FC236}">
                    <a16:creationId xmlns:a16="http://schemas.microsoft.com/office/drawing/2014/main" id="{AF12EC2D-A983-4A4F-9442-6353BA7F3294}"/>
                  </a:ext>
                </a:extLst>
              </p:cNvPr>
              <p:cNvSpPr txBox="1"/>
              <p:nvPr/>
            </p:nvSpPr>
            <p:spPr>
              <a:xfrm>
                <a:off x="6390710" y="1824612"/>
                <a:ext cx="73653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Arial" pitchFamily="34" charset="0"/>
                  </a:rPr>
                  <a:t>PDGF</a:t>
                </a:r>
              </a:p>
            </p:txBody>
          </p:sp>
          <p:cxnSp>
            <p:nvCxnSpPr>
              <p:cNvPr id="35" name="Straight Arrow Connector 34">
                <a:extLst>
                  <a:ext uri="{FF2B5EF4-FFF2-40B4-BE49-F238E27FC236}">
                    <a16:creationId xmlns:a16="http://schemas.microsoft.com/office/drawing/2014/main" id="{6E451351-E163-44E6-8BD8-65207009CE4C}"/>
                  </a:ext>
                </a:extLst>
              </p:cNvPr>
              <p:cNvCxnSpPr>
                <a:cxnSpLocks/>
              </p:cNvCxnSpPr>
              <p:nvPr/>
            </p:nvCxnSpPr>
            <p:spPr bwMode="auto">
              <a:xfrm>
                <a:off x="9559777" y="4782135"/>
                <a:ext cx="305896" cy="78752"/>
              </a:xfrm>
              <a:prstGeom prst="straightConnector1">
                <a:avLst/>
              </a:prstGeom>
              <a:solidFill>
                <a:srgbClr val="C0C0C0"/>
              </a:solidFill>
              <a:ln w="19050" cap="flat" cmpd="sng" algn="ctr">
                <a:solidFill>
                  <a:srgbClr val="000000"/>
                </a:solidFill>
                <a:prstDash val="solid"/>
                <a:round/>
                <a:headEnd type="none" w="med" len="med"/>
                <a:tailEnd type="triangle"/>
              </a:ln>
              <a:effectLst/>
            </p:spPr>
          </p:cxnSp>
          <p:grpSp>
            <p:nvGrpSpPr>
              <p:cNvPr id="36" name="Group 35">
                <a:extLst>
                  <a:ext uri="{FF2B5EF4-FFF2-40B4-BE49-F238E27FC236}">
                    <a16:creationId xmlns:a16="http://schemas.microsoft.com/office/drawing/2014/main" id="{7FD3A34B-759D-44A4-8D88-533796C9E2B6}"/>
                  </a:ext>
                </a:extLst>
              </p:cNvPr>
              <p:cNvGrpSpPr/>
              <p:nvPr/>
            </p:nvGrpSpPr>
            <p:grpSpPr>
              <a:xfrm>
                <a:off x="6202017" y="2655624"/>
                <a:ext cx="5126249" cy="308031"/>
                <a:chOff x="206302" y="1563885"/>
                <a:chExt cx="2583493" cy="417598"/>
              </a:xfrm>
            </p:grpSpPr>
            <p:grpSp>
              <p:nvGrpSpPr>
                <p:cNvPr id="68" name="Group 67">
                  <a:extLst>
                    <a:ext uri="{FF2B5EF4-FFF2-40B4-BE49-F238E27FC236}">
                      <a16:creationId xmlns:a16="http://schemas.microsoft.com/office/drawing/2014/main" id="{F234767C-1359-4FA1-AF3D-E304BB7B3404}"/>
                    </a:ext>
                  </a:extLst>
                </p:cNvPr>
                <p:cNvGrpSpPr/>
                <p:nvPr/>
              </p:nvGrpSpPr>
              <p:grpSpPr>
                <a:xfrm>
                  <a:off x="206302" y="1563885"/>
                  <a:ext cx="1761030" cy="417598"/>
                  <a:chOff x="1951282" y="1702132"/>
                  <a:chExt cx="1761030" cy="417598"/>
                </a:xfrm>
              </p:grpSpPr>
              <p:grpSp>
                <p:nvGrpSpPr>
                  <p:cNvPr id="147" name="Group 146">
                    <a:extLst>
                      <a:ext uri="{FF2B5EF4-FFF2-40B4-BE49-F238E27FC236}">
                        <a16:creationId xmlns:a16="http://schemas.microsoft.com/office/drawing/2014/main" id="{500D216B-CCFE-4C60-A795-0D3A0B0F2C11}"/>
                      </a:ext>
                    </a:extLst>
                  </p:cNvPr>
                  <p:cNvGrpSpPr/>
                  <p:nvPr/>
                </p:nvGrpSpPr>
                <p:grpSpPr>
                  <a:xfrm>
                    <a:off x="1951282" y="1702132"/>
                    <a:ext cx="1760976" cy="200517"/>
                    <a:chOff x="2731292" y="3253268"/>
                    <a:chExt cx="2704814" cy="291856"/>
                  </a:xfrm>
                  <a:solidFill>
                    <a:schemeClr val="bg1"/>
                  </a:solidFill>
                </p:grpSpPr>
                <p:sp>
                  <p:nvSpPr>
                    <p:cNvPr id="221" name="Freeform 247">
                      <a:extLst>
                        <a:ext uri="{FF2B5EF4-FFF2-40B4-BE49-F238E27FC236}">
                          <a16:creationId xmlns:a16="http://schemas.microsoft.com/office/drawing/2014/main" id="{26BDCF75-3AB2-4D96-BD54-42092CB2761D}"/>
                        </a:ext>
                      </a:extLst>
                    </p:cNvPr>
                    <p:cNvSpPr/>
                    <p:nvPr/>
                  </p:nvSpPr>
                  <p:spPr>
                    <a:xfrm>
                      <a:off x="2839294" y="3326342"/>
                      <a:ext cx="45720"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2" name="Oval 221">
                      <a:extLst>
                        <a:ext uri="{FF2B5EF4-FFF2-40B4-BE49-F238E27FC236}">
                          <a16:creationId xmlns:a16="http://schemas.microsoft.com/office/drawing/2014/main" id="{1DB00996-AEE8-4BA6-BE40-807820357651}"/>
                        </a:ext>
                      </a:extLst>
                    </p:cNvPr>
                    <p:cNvSpPr/>
                    <p:nvPr/>
                  </p:nvSpPr>
                  <p:spPr>
                    <a:xfrm>
                      <a:off x="2839294"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3" name="Freeform 249">
                      <a:extLst>
                        <a:ext uri="{FF2B5EF4-FFF2-40B4-BE49-F238E27FC236}">
                          <a16:creationId xmlns:a16="http://schemas.microsoft.com/office/drawing/2014/main" id="{8020CBE0-D5BE-49FF-BAAC-78FE57E1790B}"/>
                        </a:ext>
                      </a:extLst>
                    </p:cNvPr>
                    <p:cNvSpPr/>
                    <p:nvPr/>
                  </p:nvSpPr>
                  <p:spPr>
                    <a:xfrm>
                      <a:off x="2901036" y="3365286"/>
                      <a:ext cx="46259"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4" name="Oval 223">
                      <a:extLst>
                        <a:ext uri="{FF2B5EF4-FFF2-40B4-BE49-F238E27FC236}">
                          <a16:creationId xmlns:a16="http://schemas.microsoft.com/office/drawing/2014/main" id="{F413D35E-CA44-419F-A49F-FDDC2E2FAA80}"/>
                        </a:ext>
                      </a:extLst>
                    </p:cNvPr>
                    <p:cNvSpPr/>
                    <p:nvPr/>
                  </p:nvSpPr>
                  <p:spPr>
                    <a:xfrm>
                      <a:off x="2954600"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5" name="Oval 224">
                      <a:extLst>
                        <a:ext uri="{FF2B5EF4-FFF2-40B4-BE49-F238E27FC236}">
                          <a16:creationId xmlns:a16="http://schemas.microsoft.com/office/drawing/2014/main" id="{E2B5993F-AB4C-4B4F-94B5-EAA839F3C1BD}"/>
                        </a:ext>
                      </a:extLst>
                    </p:cNvPr>
                    <p:cNvSpPr/>
                    <p:nvPr/>
                  </p:nvSpPr>
                  <p:spPr>
                    <a:xfrm>
                      <a:off x="2731292"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6" name="Oval 225">
                      <a:extLst>
                        <a:ext uri="{FF2B5EF4-FFF2-40B4-BE49-F238E27FC236}">
                          <a16:creationId xmlns:a16="http://schemas.microsoft.com/office/drawing/2014/main" id="{95919063-C6BF-4754-9286-DBB863CEA9DF}"/>
                        </a:ext>
                      </a:extLst>
                    </p:cNvPr>
                    <p:cNvSpPr/>
                    <p:nvPr/>
                  </p:nvSpPr>
                  <p:spPr>
                    <a:xfrm>
                      <a:off x="3066743"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7" name="Oval 226">
                      <a:extLst>
                        <a:ext uri="{FF2B5EF4-FFF2-40B4-BE49-F238E27FC236}">
                          <a16:creationId xmlns:a16="http://schemas.microsoft.com/office/drawing/2014/main" id="{E58A3F06-8FD9-4AF1-B31E-E80BF402398C}"/>
                        </a:ext>
                      </a:extLst>
                    </p:cNvPr>
                    <p:cNvSpPr/>
                    <p:nvPr/>
                  </p:nvSpPr>
                  <p:spPr>
                    <a:xfrm>
                      <a:off x="3182408"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8" name="Oval 227">
                      <a:extLst>
                        <a:ext uri="{FF2B5EF4-FFF2-40B4-BE49-F238E27FC236}">
                          <a16:creationId xmlns:a16="http://schemas.microsoft.com/office/drawing/2014/main" id="{1E8D52DE-7334-45D6-B11A-9C12CCE15650}"/>
                        </a:ext>
                      </a:extLst>
                    </p:cNvPr>
                    <p:cNvSpPr/>
                    <p:nvPr/>
                  </p:nvSpPr>
                  <p:spPr>
                    <a:xfrm>
                      <a:off x="3290408"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9" name="Freeform 255">
                      <a:extLst>
                        <a:ext uri="{FF2B5EF4-FFF2-40B4-BE49-F238E27FC236}">
                          <a16:creationId xmlns:a16="http://schemas.microsoft.com/office/drawing/2014/main" id="{6DF7E7EB-CA63-4D49-AFDB-86CBF605C7AC}"/>
                        </a:ext>
                      </a:extLst>
                    </p:cNvPr>
                    <p:cNvSpPr/>
                    <p:nvPr/>
                  </p:nvSpPr>
                  <p:spPr>
                    <a:xfrm>
                      <a:off x="2739571" y="3342341"/>
                      <a:ext cx="45720"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0" name="Freeform 256">
                      <a:extLst>
                        <a:ext uri="{FF2B5EF4-FFF2-40B4-BE49-F238E27FC236}">
                          <a16:creationId xmlns:a16="http://schemas.microsoft.com/office/drawing/2014/main" id="{2D465C74-1C02-4592-BF27-81929022B1FE}"/>
                        </a:ext>
                      </a:extLst>
                    </p:cNvPr>
                    <p:cNvSpPr/>
                    <p:nvPr/>
                  </p:nvSpPr>
                  <p:spPr>
                    <a:xfrm>
                      <a:off x="2798029"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1" name="Freeform 257">
                      <a:extLst>
                        <a:ext uri="{FF2B5EF4-FFF2-40B4-BE49-F238E27FC236}">
                          <a16:creationId xmlns:a16="http://schemas.microsoft.com/office/drawing/2014/main" id="{EFF8FBBF-A006-45D0-ADBB-744994C345F6}"/>
                        </a:ext>
                      </a:extLst>
                    </p:cNvPr>
                    <p:cNvSpPr/>
                    <p:nvPr/>
                  </p:nvSpPr>
                  <p:spPr>
                    <a:xfrm>
                      <a:off x="2986743"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2" name="Freeform 258">
                      <a:extLst>
                        <a:ext uri="{FF2B5EF4-FFF2-40B4-BE49-F238E27FC236}">
                          <a16:creationId xmlns:a16="http://schemas.microsoft.com/office/drawing/2014/main" id="{9C7AA7FE-AD4D-4697-8F57-D2A4620B2AE0}"/>
                        </a:ext>
                      </a:extLst>
                    </p:cNvPr>
                    <p:cNvSpPr/>
                    <p:nvPr/>
                  </p:nvSpPr>
                  <p:spPr>
                    <a:xfrm>
                      <a:off x="3016883" y="3360336"/>
                      <a:ext cx="4572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3" name="Freeform 259">
                      <a:extLst>
                        <a:ext uri="{FF2B5EF4-FFF2-40B4-BE49-F238E27FC236}">
                          <a16:creationId xmlns:a16="http://schemas.microsoft.com/office/drawing/2014/main" id="{17D6FB91-8318-4F96-9C1C-694F8CDF63CC}"/>
                        </a:ext>
                      </a:extLst>
                    </p:cNvPr>
                    <p:cNvSpPr/>
                    <p:nvPr/>
                  </p:nvSpPr>
                  <p:spPr>
                    <a:xfrm>
                      <a:off x="3097738" y="3357001"/>
                      <a:ext cx="31772"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4" name="Freeform 260">
                      <a:extLst>
                        <a:ext uri="{FF2B5EF4-FFF2-40B4-BE49-F238E27FC236}">
                          <a16:creationId xmlns:a16="http://schemas.microsoft.com/office/drawing/2014/main" id="{00155E71-0926-4A28-94E1-BD80B54F53CA}"/>
                        </a:ext>
                      </a:extLst>
                    </p:cNvPr>
                    <p:cNvSpPr/>
                    <p:nvPr/>
                  </p:nvSpPr>
                  <p:spPr>
                    <a:xfrm>
                      <a:off x="3131847" y="3357001"/>
                      <a:ext cx="40004" cy="18812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5" name="Freeform 261">
                      <a:extLst>
                        <a:ext uri="{FF2B5EF4-FFF2-40B4-BE49-F238E27FC236}">
                          <a16:creationId xmlns:a16="http://schemas.microsoft.com/office/drawing/2014/main" id="{C598A9B2-0E4E-4AF5-8BA6-C7DF3FE306A4}"/>
                        </a:ext>
                      </a:extLst>
                    </p:cNvPr>
                    <p:cNvSpPr/>
                    <p:nvPr/>
                  </p:nvSpPr>
                  <p:spPr>
                    <a:xfrm>
                      <a:off x="3215364"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6" name="Freeform 262">
                      <a:extLst>
                        <a:ext uri="{FF2B5EF4-FFF2-40B4-BE49-F238E27FC236}">
                          <a16:creationId xmlns:a16="http://schemas.microsoft.com/office/drawing/2014/main" id="{89E617CD-8EDE-4ED3-BAD0-1AB4FE673A04}"/>
                        </a:ext>
                      </a:extLst>
                    </p:cNvPr>
                    <p:cNvSpPr/>
                    <p:nvPr/>
                  </p:nvSpPr>
                  <p:spPr>
                    <a:xfrm>
                      <a:off x="3249771" y="3360334"/>
                      <a:ext cx="3048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7" name="Freeform 263">
                      <a:extLst>
                        <a:ext uri="{FF2B5EF4-FFF2-40B4-BE49-F238E27FC236}">
                          <a16:creationId xmlns:a16="http://schemas.microsoft.com/office/drawing/2014/main" id="{0293B6D5-FB96-45F0-AB39-F82AE2EEFFCB}"/>
                        </a:ext>
                      </a:extLst>
                    </p:cNvPr>
                    <p:cNvSpPr/>
                    <p:nvPr/>
                  </p:nvSpPr>
                  <p:spPr>
                    <a:xfrm>
                      <a:off x="3323779" y="3354224"/>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8" name="Freeform 264">
                      <a:extLst>
                        <a:ext uri="{FF2B5EF4-FFF2-40B4-BE49-F238E27FC236}">
                          <a16:creationId xmlns:a16="http://schemas.microsoft.com/office/drawing/2014/main" id="{0DA7941B-EF85-4F6E-930A-50776E1B4421}"/>
                        </a:ext>
                      </a:extLst>
                    </p:cNvPr>
                    <p:cNvSpPr/>
                    <p:nvPr/>
                  </p:nvSpPr>
                  <p:spPr>
                    <a:xfrm>
                      <a:off x="3352692" y="3365286"/>
                      <a:ext cx="45720"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39" name="Freeform 265">
                      <a:extLst>
                        <a:ext uri="{FF2B5EF4-FFF2-40B4-BE49-F238E27FC236}">
                          <a16:creationId xmlns:a16="http://schemas.microsoft.com/office/drawing/2014/main" id="{78D46E6A-A003-45A2-8207-76849B900745}"/>
                        </a:ext>
                      </a:extLst>
                    </p:cNvPr>
                    <p:cNvSpPr/>
                    <p:nvPr/>
                  </p:nvSpPr>
                  <p:spPr>
                    <a:xfrm>
                      <a:off x="3524356" y="3326342"/>
                      <a:ext cx="45720"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40" name="Oval 239">
                      <a:extLst>
                        <a:ext uri="{FF2B5EF4-FFF2-40B4-BE49-F238E27FC236}">
                          <a16:creationId xmlns:a16="http://schemas.microsoft.com/office/drawing/2014/main" id="{6283E181-B86D-4704-80C9-AE8DED554A8B}"/>
                        </a:ext>
                      </a:extLst>
                    </p:cNvPr>
                    <p:cNvSpPr/>
                    <p:nvPr/>
                  </p:nvSpPr>
                  <p:spPr>
                    <a:xfrm>
                      <a:off x="3524356"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41" name="Freeform 267">
                      <a:extLst>
                        <a:ext uri="{FF2B5EF4-FFF2-40B4-BE49-F238E27FC236}">
                          <a16:creationId xmlns:a16="http://schemas.microsoft.com/office/drawing/2014/main" id="{02BEEB2D-D77A-4283-BE2B-23EA5B397372}"/>
                        </a:ext>
                      </a:extLst>
                    </p:cNvPr>
                    <p:cNvSpPr/>
                    <p:nvPr/>
                  </p:nvSpPr>
                  <p:spPr>
                    <a:xfrm>
                      <a:off x="3586096" y="3365286"/>
                      <a:ext cx="46259"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42" name="Oval 241">
                      <a:extLst>
                        <a:ext uri="{FF2B5EF4-FFF2-40B4-BE49-F238E27FC236}">
                          <a16:creationId xmlns:a16="http://schemas.microsoft.com/office/drawing/2014/main" id="{B01C3645-9C07-4AA3-94FA-FBEB624E7A7B}"/>
                        </a:ext>
                      </a:extLst>
                    </p:cNvPr>
                    <p:cNvSpPr/>
                    <p:nvPr/>
                  </p:nvSpPr>
                  <p:spPr>
                    <a:xfrm>
                      <a:off x="3639661"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43" name="Oval 242">
                      <a:extLst>
                        <a:ext uri="{FF2B5EF4-FFF2-40B4-BE49-F238E27FC236}">
                          <a16:creationId xmlns:a16="http://schemas.microsoft.com/office/drawing/2014/main" id="{5F306A1C-DF32-4279-AFBB-387DCE2951B6}"/>
                        </a:ext>
                      </a:extLst>
                    </p:cNvPr>
                    <p:cNvSpPr/>
                    <p:nvPr/>
                  </p:nvSpPr>
                  <p:spPr>
                    <a:xfrm>
                      <a:off x="3416355"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44" name="Oval 243">
                      <a:extLst>
                        <a:ext uri="{FF2B5EF4-FFF2-40B4-BE49-F238E27FC236}">
                          <a16:creationId xmlns:a16="http://schemas.microsoft.com/office/drawing/2014/main" id="{C9AFB743-E00F-4CE6-B0FA-CD8931A39CE3}"/>
                        </a:ext>
                      </a:extLst>
                    </p:cNvPr>
                    <p:cNvSpPr/>
                    <p:nvPr/>
                  </p:nvSpPr>
                  <p:spPr>
                    <a:xfrm>
                      <a:off x="3751804"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45" name="Oval 244">
                      <a:extLst>
                        <a:ext uri="{FF2B5EF4-FFF2-40B4-BE49-F238E27FC236}">
                          <a16:creationId xmlns:a16="http://schemas.microsoft.com/office/drawing/2014/main" id="{3C1F16E7-F06E-4CDF-8AFB-47EB5E65FD6D}"/>
                        </a:ext>
                      </a:extLst>
                    </p:cNvPr>
                    <p:cNvSpPr/>
                    <p:nvPr/>
                  </p:nvSpPr>
                  <p:spPr>
                    <a:xfrm>
                      <a:off x="3867470"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46" name="Oval 245">
                      <a:extLst>
                        <a:ext uri="{FF2B5EF4-FFF2-40B4-BE49-F238E27FC236}">
                          <a16:creationId xmlns:a16="http://schemas.microsoft.com/office/drawing/2014/main" id="{9665FD07-45CC-4BCD-B418-7889285D00AE}"/>
                        </a:ext>
                      </a:extLst>
                    </p:cNvPr>
                    <p:cNvSpPr/>
                    <p:nvPr/>
                  </p:nvSpPr>
                  <p:spPr>
                    <a:xfrm>
                      <a:off x="3975471"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47" name="Freeform 273">
                      <a:extLst>
                        <a:ext uri="{FF2B5EF4-FFF2-40B4-BE49-F238E27FC236}">
                          <a16:creationId xmlns:a16="http://schemas.microsoft.com/office/drawing/2014/main" id="{32BDB782-7ED2-4D71-BC1C-C5C3BCE560A2}"/>
                        </a:ext>
                      </a:extLst>
                    </p:cNvPr>
                    <p:cNvSpPr/>
                    <p:nvPr/>
                  </p:nvSpPr>
                  <p:spPr>
                    <a:xfrm>
                      <a:off x="3424635" y="3342341"/>
                      <a:ext cx="45720"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48" name="Freeform 274">
                      <a:extLst>
                        <a:ext uri="{FF2B5EF4-FFF2-40B4-BE49-F238E27FC236}">
                          <a16:creationId xmlns:a16="http://schemas.microsoft.com/office/drawing/2014/main" id="{37BDAB66-03CC-4C3A-87FB-89618861145E}"/>
                        </a:ext>
                      </a:extLst>
                    </p:cNvPr>
                    <p:cNvSpPr/>
                    <p:nvPr/>
                  </p:nvSpPr>
                  <p:spPr>
                    <a:xfrm>
                      <a:off x="3483091"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49" name="Freeform 275">
                      <a:extLst>
                        <a:ext uri="{FF2B5EF4-FFF2-40B4-BE49-F238E27FC236}">
                          <a16:creationId xmlns:a16="http://schemas.microsoft.com/office/drawing/2014/main" id="{15B8FF14-4BEF-4EB5-856A-8DDBD987D934}"/>
                        </a:ext>
                      </a:extLst>
                    </p:cNvPr>
                    <p:cNvSpPr/>
                    <p:nvPr/>
                  </p:nvSpPr>
                  <p:spPr>
                    <a:xfrm>
                      <a:off x="3671802"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50" name="Freeform 276">
                      <a:extLst>
                        <a:ext uri="{FF2B5EF4-FFF2-40B4-BE49-F238E27FC236}">
                          <a16:creationId xmlns:a16="http://schemas.microsoft.com/office/drawing/2014/main" id="{EE11DBC1-5E0D-4F79-A97A-52DC81B3D0CE}"/>
                        </a:ext>
                      </a:extLst>
                    </p:cNvPr>
                    <p:cNvSpPr/>
                    <p:nvPr/>
                  </p:nvSpPr>
                  <p:spPr>
                    <a:xfrm>
                      <a:off x="3701944" y="3360336"/>
                      <a:ext cx="4572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51" name="Freeform 277">
                      <a:extLst>
                        <a:ext uri="{FF2B5EF4-FFF2-40B4-BE49-F238E27FC236}">
                          <a16:creationId xmlns:a16="http://schemas.microsoft.com/office/drawing/2014/main" id="{76AA3CBA-496E-4708-8B2A-AE1F234298F8}"/>
                        </a:ext>
                      </a:extLst>
                    </p:cNvPr>
                    <p:cNvSpPr/>
                    <p:nvPr/>
                  </p:nvSpPr>
                  <p:spPr>
                    <a:xfrm>
                      <a:off x="3782799" y="3357001"/>
                      <a:ext cx="31772"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52" name="Freeform 278">
                      <a:extLst>
                        <a:ext uri="{FF2B5EF4-FFF2-40B4-BE49-F238E27FC236}">
                          <a16:creationId xmlns:a16="http://schemas.microsoft.com/office/drawing/2014/main" id="{BFE79039-9A30-4F05-8DE9-FE1D146566B8}"/>
                        </a:ext>
                      </a:extLst>
                    </p:cNvPr>
                    <p:cNvSpPr/>
                    <p:nvPr/>
                  </p:nvSpPr>
                  <p:spPr>
                    <a:xfrm>
                      <a:off x="3816908" y="3357001"/>
                      <a:ext cx="40004" cy="18812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53" name="Freeform 279">
                      <a:extLst>
                        <a:ext uri="{FF2B5EF4-FFF2-40B4-BE49-F238E27FC236}">
                          <a16:creationId xmlns:a16="http://schemas.microsoft.com/office/drawing/2014/main" id="{E4E2572D-FC4E-44BE-8E52-62037D90C043}"/>
                        </a:ext>
                      </a:extLst>
                    </p:cNvPr>
                    <p:cNvSpPr/>
                    <p:nvPr/>
                  </p:nvSpPr>
                  <p:spPr>
                    <a:xfrm>
                      <a:off x="3900425"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54" name="Freeform 280">
                      <a:extLst>
                        <a:ext uri="{FF2B5EF4-FFF2-40B4-BE49-F238E27FC236}">
                          <a16:creationId xmlns:a16="http://schemas.microsoft.com/office/drawing/2014/main" id="{3CD97052-A7E2-478A-8850-7F9DF722D000}"/>
                        </a:ext>
                      </a:extLst>
                    </p:cNvPr>
                    <p:cNvSpPr/>
                    <p:nvPr/>
                  </p:nvSpPr>
                  <p:spPr>
                    <a:xfrm>
                      <a:off x="3934834" y="3360334"/>
                      <a:ext cx="3048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55" name="Freeform 281">
                      <a:extLst>
                        <a:ext uri="{FF2B5EF4-FFF2-40B4-BE49-F238E27FC236}">
                          <a16:creationId xmlns:a16="http://schemas.microsoft.com/office/drawing/2014/main" id="{6B54A2B7-6A78-4A40-8F86-003446D1F1F3}"/>
                        </a:ext>
                      </a:extLst>
                    </p:cNvPr>
                    <p:cNvSpPr/>
                    <p:nvPr/>
                  </p:nvSpPr>
                  <p:spPr>
                    <a:xfrm>
                      <a:off x="4008842" y="3354224"/>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56" name="Freeform 282">
                      <a:extLst>
                        <a:ext uri="{FF2B5EF4-FFF2-40B4-BE49-F238E27FC236}">
                          <a16:creationId xmlns:a16="http://schemas.microsoft.com/office/drawing/2014/main" id="{C21B636E-FA4C-4486-9B26-9749987E927A}"/>
                        </a:ext>
                      </a:extLst>
                    </p:cNvPr>
                    <p:cNvSpPr/>
                    <p:nvPr/>
                  </p:nvSpPr>
                  <p:spPr>
                    <a:xfrm>
                      <a:off x="4037755" y="3365286"/>
                      <a:ext cx="45720"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57" name="Freeform 283">
                      <a:extLst>
                        <a:ext uri="{FF2B5EF4-FFF2-40B4-BE49-F238E27FC236}">
                          <a16:creationId xmlns:a16="http://schemas.microsoft.com/office/drawing/2014/main" id="{8219F6BA-34F5-4232-BA6E-A9FFB7B92D71}"/>
                        </a:ext>
                      </a:extLst>
                    </p:cNvPr>
                    <p:cNvSpPr/>
                    <p:nvPr/>
                  </p:nvSpPr>
                  <p:spPr>
                    <a:xfrm>
                      <a:off x="4194721" y="3326342"/>
                      <a:ext cx="45720"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58" name="Oval 257">
                      <a:extLst>
                        <a:ext uri="{FF2B5EF4-FFF2-40B4-BE49-F238E27FC236}">
                          <a16:creationId xmlns:a16="http://schemas.microsoft.com/office/drawing/2014/main" id="{7BFA3535-5314-4116-B043-28DAEEEF27FC}"/>
                        </a:ext>
                      </a:extLst>
                    </p:cNvPr>
                    <p:cNvSpPr/>
                    <p:nvPr/>
                  </p:nvSpPr>
                  <p:spPr>
                    <a:xfrm>
                      <a:off x="4194721"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59" name="Freeform 285">
                      <a:extLst>
                        <a:ext uri="{FF2B5EF4-FFF2-40B4-BE49-F238E27FC236}">
                          <a16:creationId xmlns:a16="http://schemas.microsoft.com/office/drawing/2014/main" id="{E824C66F-339D-46B5-8192-717B397EE266}"/>
                        </a:ext>
                      </a:extLst>
                    </p:cNvPr>
                    <p:cNvSpPr/>
                    <p:nvPr/>
                  </p:nvSpPr>
                  <p:spPr>
                    <a:xfrm>
                      <a:off x="4256462" y="3365286"/>
                      <a:ext cx="46259"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60" name="Oval 259">
                      <a:extLst>
                        <a:ext uri="{FF2B5EF4-FFF2-40B4-BE49-F238E27FC236}">
                          <a16:creationId xmlns:a16="http://schemas.microsoft.com/office/drawing/2014/main" id="{CB28583F-03AF-4434-A83E-FD4481E9635E}"/>
                        </a:ext>
                      </a:extLst>
                    </p:cNvPr>
                    <p:cNvSpPr/>
                    <p:nvPr/>
                  </p:nvSpPr>
                  <p:spPr>
                    <a:xfrm>
                      <a:off x="4310028"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61" name="Oval 260">
                      <a:extLst>
                        <a:ext uri="{FF2B5EF4-FFF2-40B4-BE49-F238E27FC236}">
                          <a16:creationId xmlns:a16="http://schemas.microsoft.com/office/drawing/2014/main" id="{4D8F3046-A487-4C5B-87B5-3249FB00DD6A}"/>
                        </a:ext>
                      </a:extLst>
                    </p:cNvPr>
                    <p:cNvSpPr/>
                    <p:nvPr/>
                  </p:nvSpPr>
                  <p:spPr>
                    <a:xfrm>
                      <a:off x="4086720"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62" name="Oval 261">
                      <a:extLst>
                        <a:ext uri="{FF2B5EF4-FFF2-40B4-BE49-F238E27FC236}">
                          <a16:creationId xmlns:a16="http://schemas.microsoft.com/office/drawing/2014/main" id="{116D195B-B44D-47B8-A280-2E88F330692B}"/>
                        </a:ext>
                      </a:extLst>
                    </p:cNvPr>
                    <p:cNvSpPr/>
                    <p:nvPr/>
                  </p:nvSpPr>
                  <p:spPr>
                    <a:xfrm>
                      <a:off x="4422171"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63" name="Oval 262">
                      <a:extLst>
                        <a:ext uri="{FF2B5EF4-FFF2-40B4-BE49-F238E27FC236}">
                          <a16:creationId xmlns:a16="http://schemas.microsoft.com/office/drawing/2014/main" id="{62932D13-69E1-4B12-BA89-76AEDD02A2B3}"/>
                        </a:ext>
                      </a:extLst>
                    </p:cNvPr>
                    <p:cNvSpPr/>
                    <p:nvPr/>
                  </p:nvSpPr>
                  <p:spPr>
                    <a:xfrm>
                      <a:off x="4537836"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64" name="Oval 263">
                      <a:extLst>
                        <a:ext uri="{FF2B5EF4-FFF2-40B4-BE49-F238E27FC236}">
                          <a16:creationId xmlns:a16="http://schemas.microsoft.com/office/drawing/2014/main" id="{540A512B-FEBB-4003-B15A-2FFBCAAF3CA0}"/>
                        </a:ext>
                      </a:extLst>
                    </p:cNvPr>
                    <p:cNvSpPr/>
                    <p:nvPr/>
                  </p:nvSpPr>
                  <p:spPr>
                    <a:xfrm>
                      <a:off x="4645835"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65" name="Freeform 291">
                      <a:extLst>
                        <a:ext uri="{FF2B5EF4-FFF2-40B4-BE49-F238E27FC236}">
                          <a16:creationId xmlns:a16="http://schemas.microsoft.com/office/drawing/2014/main" id="{89AA2EBE-BEA7-4AA1-9923-F7D9F3957B23}"/>
                        </a:ext>
                      </a:extLst>
                    </p:cNvPr>
                    <p:cNvSpPr/>
                    <p:nvPr/>
                  </p:nvSpPr>
                  <p:spPr>
                    <a:xfrm>
                      <a:off x="4095002" y="3342341"/>
                      <a:ext cx="45720"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66" name="Freeform 292">
                      <a:extLst>
                        <a:ext uri="{FF2B5EF4-FFF2-40B4-BE49-F238E27FC236}">
                          <a16:creationId xmlns:a16="http://schemas.microsoft.com/office/drawing/2014/main" id="{CF75E256-B5C3-4A5A-A61A-8650A7AEBAF8}"/>
                        </a:ext>
                      </a:extLst>
                    </p:cNvPr>
                    <p:cNvSpPr/>
                    <p:nvPr/>
                  </p:nvSpPr>
                  <p:spPr>
                    <a:xfrm>
                      <a:off x="4153455"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67" name="Freeform 293">
                      <a:extLst>
                        <a:ext uri="{FF2B5EF4-FFF2-40B4-BE49-F238E27FC236}">
                          <a16:creationId xmlns:a16="http://schemas.microsoft.com/office/drawing/2014/main" id="{90D1F947-2C09-468C-BA9F-9AAB93DCDBC9}"/>
                        </a:ext>
                      </a:extLst>
                    </p:cNvPr>
                    <p:cNvSpPr/>
                    <p:nvPr/>
                  </p:nvSpPr>
                  <p:spPr>
                    <a:xfrm>
                      <a:off x="4342167"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68" name="Freeform 294">
                      <a:extLst>
                        <a:ext uri="{FF2B5EF4-FFF2-40B4-BE49-F238E27FC236}">
                          <a16:creationId xmlns:a16="http://schemas.microsoft.com/office/drawing/2014/main" id="{8CAEEB50-856D-462F-8685-A34657BA0FE0}"/>
                        </a:ext>
                      </a:extLst>
                    </p:cNvPr>
                    <p:cNvSpPr/>
                    <p:nvPr/>
                  </p:nvSpPr>
                  <p:spPr>
                    <a:xfrm>
                      <a:off x="4372306" y="3360336"/>
                      <a:ext cx="4572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69" name="Freeform 295">
                      <a:extLst>
                        <a:ext uri="{FF2B5EF4-FFF2-40B4-BE49-F238E27FC236}">
                          <a16:creationId xmlns:a16="http://schemas.microsoft.com/office/drawing/2014/main" id="{6F4FFF21-3F5D-474D-8F2F-E83D45CC93E3}"/>
                        </a:ext>
                      </a:extLst>
                    </p:cNvPr>
                    <p:cNvSpPr/>
                    <p:nvPr/>
                  </p:nvSpPr>
                  <p:spPr>
                    <a:xfrm>
                      <a:off x="4453158" y="3357001"/>
                      <a:ext cx="31772"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70" name="Freeform 296">
                      <a:extLst>
                        <a:ext uri="{FF2B5EF4-FFF2-40B4-BE49-F238E27FC236}">
                          <a16:creationId xmlns:a16="http://schemas.microsoft.com/office/drawing/2014/main" id="{9747B302-EEAF-40D0-B2A3-F3FDF27C97BC}"/>
                        </a:ext>
                      </a:extLst>
                    </p:cNvPr>
                    <p:cNvSpPr/>
                    <p:nvPr/>
                  </p:nvSpPr>
                  <p:spPr>
                    <a:xfrm>
                      <a:off x="4487266" y="3357001"/>
                      <a:ext cx="40005" cy="18812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71" name="Freeform 297">
                      <a:extLst>
                        <a:ext uri="{FF2B5EF4-FFF2-40B4-BE49-F238E27FC236}">
                          <a16:creationId xmlns:a16="http://schemas.microsoft.com/office/drawing/2014/main" id="{1E83B470-8BA7-4C34-A278-28B92CE170E2}"/>
                        </a:ext>
                      </a:extLst>
                    </p:cNvPr>
                    <p:cNvSpPr/>
                    <p:nvPr/>
                  </p:nvSpPr>
                  <p:spPr>
                    <a:xfrm>
                      <a:off x="4570783"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72" name="Freeform 298">
                      <a:extLst>
                        <a:ext uri="{FF2B5EF4-FFF2-40B4-BE49-F238E27FC236}">
                          <a16:creationId xmlns:a16="http://schemas.microsoft.com/office/drawing/2014/main" id="{A9682121-4B31-4DBA-B432-8C2B3486D34D}"/>
                        </a:ext>
                      </a:extLst>
                    </p:cNvPr>
                    <p:cNvSpPr/>
                    <p:nvPr/>
                  </p:nvSpPr>
                  <p:spPr>
                    <a:xfrm>
                      <a:off x="4605197" y="3360337"/>
                      <a:ext cx="3048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73" name="Freeform 299">
                      <a:extLst>
                        <a:ext uri="{FF2B5EF4-FFF2-40B4-BE49-F238E27FC236}">
                          <a16:creationId xmlns:a16="http://schemas.microsoft.com/office/drawing/2014/main" id="{B8966B81-66D0-45B4-A9E1-F3EB999988E3}"/>
                        </a:ext>
                      </a:extLst>
                    </p:cNvPr>
                    <p:cNvSpPr/>
                    <p:nvPr/>
                  </p:nvSpPr>
                  <p:spPr>
                    <a:xfrm>
                      <a:off x="4679200" y="3354227"/>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74" name="Freeform 300">
                      <a:extLst>
                        <a:ext uri="{FF2B5EF4-FFF2-40B4-BE49-F238E27FC236}">
                          <a16:creationId xmlns:a16="http://schemas.microsoft.com/office/drawing/2014/main" id="{EBA80C8A-F6FC-4E1E-8D4E-68F7FE37F3B2}"/>
                        </a:ext>
                      </a:extLst>
                    </p:cNvPr>
                    <p:cNvSpPr/>
                    <p:nvPr/>
                  </p:nvSpPr>
                  <p:spPr>
                    <a:xfrm>
                      <a:off x="4708115" y="3365285"/>
                      <a:ext cx="45720"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75" name="Freeform 301">
                      <a:extLst>
                        <a:ext uri="{FF2B5EF4-FFF2-40B4-BE49-F238E27FC236}">
                          <a16:creationId xmlns:a16="http://schemas.microsoft.com/office/drawing/2014/main" id="{5CF5D0D5-9655-48E9-8585-62F9B7B92D51}"/>
                        </a:ext>
                      </a:extLst>
                    </p:cNvPr>
                    <p:cNvSpPr/>
                    <p:nvPr/>
                  </p:nvSpPr>
                  <p:spPr>
                    <a:xfrm>
                      <a:off x="4876992" y="3326341"/>
                      <a:ext cx="45720"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76" name="Oval 275">
                      <a:extLst>
                        <a:ext uri="{FF2B5EF4-FFF2-40B4-BE49-F238E27FC236}">
                          <a16:creationId xmlns:a16="http://schemas.microsoft.com/office/drawing/2014/main" id="{0C239E06-F4CE-4556-9E36-7C212121F59E}"/>
                        </a:ext>
                      </a:extLst>
                    </p:cNvPr>
                    <p:cNvSpPr/>
                    <p:nvPr/>
                  </p:nvSpPr>
                  <p:spPr>
                    <a:xfrm>
                      <a:off x="4876992" y="3253278"/>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77" name="Freeform 303">
                      <a:extLst>
                        <a:ext uri="{FF2B5EF4-FFF2-40B4-BE49-F238E27FC236}">
                          <a16:creationId xmlns:a16="http://schemas.microsoft.com/office/drawing/2014/main" id="{9689B0F1-2403-4C67-B793-0A4FFC2562B6}"/>
                        </a:ext>
                      </a:extLst>
                    </p:cNvPr>
                    <p:cNvSpPr/>
                    <p:nvPr/>
                  </p:nvSpPr>
                  <p:spPr>
                    <a:xfrm>
                      <a:off x="4938734" y="3365283"/>
                      <a:ext cx="46259"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78" name="Oval 277">
                      <a:extLst>
                        <a:ext uri="{FF2B5EF4-FFF2-40B4-BE49-F238E27FC236}">
                          <a16:creationId xmlns:a16="http://schemas.microsoft.com/office/drawing/2014/main" id="{2DE68D64-0902-4358-A66A-919BA465F9C2}"/>
                        </a:ext>
                      </a:extLst>
                    </p:cNvPr>
                    <p:cNvSpPr/>
                    <p:nvPr/>
                  </p:nvSpPr>
                  <p:spPr>
                    <a:xfrm>
                      <a:off x="4992299" y="3253277"/>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79" name="Oval 278">
                      <a:extLst>
                        <a:ext uri="{FF2B5EF4-FFF2-40B4-BE49-F238E27FC236}">
                          <a16:creationId xmlns:a16="http://schemas.microsoft.com/office/drawing/2014/main" id="{055DE970-AE1A-4B1B-A33A-157900D53D4D}"/>
                        </a:ext>
                      </a:extLst>
                    </p:cNvPr>
                    <p:cNvSpPr/>
                    <p:nvPr/>
                  </p:nvSpPr>
                  <p:spPr>
                    <a:xfrm>
                      <a:off x="4768993" y="3253277"/>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80" name="Oval 279">
                      <a:extLst>
                        <a:ext uri="{FF2B5EF4-FFF2-40B4-BE49-F238E27FC236}">
                          <a16:creationId xmlns:a16="http://schemas.microsoft.com/office/drawing/2014/main" id="{94C59631-5408-4445-8A5F-6343C83AFA23}"/>
                        </a:ext>
                      </a:extLst>
                    </p:cNvPr>
                    <p:cNvSpPr/>
                    <p:nvPr/>
                  </p:nvSpPr>
                  <p:spPr>
                    <a:xfrm>
                      <a:off x="5104443" y="3253277"/>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81" name="Oval 280">
                      <a:extLst>
                        <a:ext uri="{FF2B5EF4-FFF2-40B4-BE49-F238E27FC236}">
                          <a16:creationId xmlns:a16="http://schemas.microsoft.com/office/drawing/2014/main" id="{BB7B26CC-0F21-4FB8-A689-D21893D07AC1}"/>
                        </a:ext>
                      </a:extLst>
                    </p:cNvPr>
                    <p:cNvSpPr/>
                    <p:nvPr/>
                  </p:nvSpPr>
                  <p:spPr>
                    <a:xfrm>
                      <a:off x="5220108" y="3253277"/>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82" name="Oval 281">
                      <a:extLst>
                        <a:ext uri="{FF2B5EF4-FFF2-40B4-BE49-F238E27FC236}">
                          <a16:creationId xmlns:a16="http://schemas.microsoft.com/office/drawing/2014/main" id="{A38BC889-02CA-49DF-9780-7C7BA82135AC}"/>
                        </a:ext>
                      </a:extLst>
                    </p:cNvPr>
                    <p:cNvSpPr/>
                    <p:nvPr/>
                  </p:nvSpPr>
                  <p:spPr>
                    <a:xfrm>
                      <a:off x="5328105" y="3253268"/>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83" name="Freeform 309">
                      <a:extLst>
                        <a:ext uri="{FF2B5EF4-FFF2-40B4-BE49-F238E27FC236}">
                          <a16:creationId xmlns:a16="http://schemas.microsoft.com/office/drawing/2014/main" id="{BE0BF6CD-C314-49BA-8864-648E530FCE3C}"/>
                        </a:ext>
                      </a:extLst>
                    </p:cNvPr>
                    <p:cNvSpPr/>
                    <p:nvPr/>
                  </p:nvSpPr>
                  <p:spPr>
                    <a:xfrm>
                      <a:off x="4777272" y="3342314"/>
                      <a:ext cx="45720" cy="19999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84" name="Freeform 310">
                      <a:extLst>
                        <a:ext uri="{FF2B5EF4-FFF2-40B4-BE49-F238E27FC236}">
                          <a16:creationId xmlns:a16="http://schemas.microsoft.com/office/drawing/2014/main" id="{6FA94808-C060-4F74-A40F-585C6CA65DCD}"/>
                        </a:ext>
                      </a:extLst>
                    </p:cNvPr>
                    <p:cNvSpPr/>
                    <p:nvPr/>
                  </p:nvSpPr>
                  <p:spPr>
                    <a:xfrm>
                      <a:off x="4835725" y="3356974"/>
                      <a:ext cx="20633" cy="188118"/>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85" name="Freeform 311">
                      <a:extLst>
                        <a:ext uri="{FF2B5EF4-FFF2-40B4-BE49-F238E27FC236}">
                          <a16:creationId xmlns:a16="http://schemas.microsoft.com/office/drawing/2014/main" id="{D86729C5-8B53-4D58-88E1-718DDBCF4537}"/>
                        </a:ext>
                      </a:extLst>
                    </p:cNvPr>
                    <p:cNvSpPr/>
                    <p:nvPr/>
                  </p:nvSpPr>
                  <p:spPr>
                    <a:xfrm>
                      <a:off x="5024435" y="3356974"/>
                      <a:ext cx="20633" cy="188118"/>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86" name="Freeform 312">
                      <a:extLst>
                        <a:ext uri="{FF2B5EF4-FFF2-40B4-BE49-F238E27FC236}">
                          <a16:creationId xmlns:a16="http://schemas.microsoft.com/office/drawing/2014/main" id="{6F08C0F2-8901-458E-9D9A-92DD5804B4BA}"/>
                        </a:ext>
                      </a:extLst>
                    </p:cNvPr>
                    <p:cNvSpPr/>
                    <p:nvPr/>
                  </p:nvSpPr>
                  <p:spPr>
                    <a:xfrm>
                      <a:off x="5054568" y="3360309"/>
                      <a:ext cx="4572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87" name="Freeform 313">
                      <a:extLst>
                        <a:ext uri="{FF2B5EF4-FFF2-40B4-BE49-F238E27FC236}">
                          <a16:creationId xmlns:a16="http://schemas.microsoft.com/office/drawing/2014/main" id="{BB1AC338-1A40-4E76-8E70-582B8237FE4A}"/>
                        </a:ext>
                      </a:extLst>
                    </p:cNvPr>
                    <p:cNvSpPr/>
                    <p:nvPr/>
                  </p:nvSpPr>
                  <p:spPr>
                    <a:xfrm>
                      <a:off x="5135428" y="3356974"/>
                      <a:ext cx="31772" cy="179833"/>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88" name="Freeform 314">
                      <a:extLst>
                        <a:ext uri="{FF2B5EF4-FFF2-40B4-BE49-F238E27FC236}">
                          <a16:creationId xmlns:a16="http://schemas.microsoft.com/office/drawing/2014/main" id="{C04AAE3D-CF0E-4CA0-A619-0BE54086B367}"/>
                        </a:ext>
                      </a:extLst>
                    </p:cNvPr>
                    <p:cNvSpPr/>
                    <p:nvPr/>
                  </p:nvSpPr>
                  <p:spPr>
                    <a:xfrm>
                      <a:off x="5169537" y="3356974"/>
                      <a:ext cx="40005" cy="188118"/>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89" name="Freeform 315">
                      <a:extLst>
                        <a:ext uri="{FF2B5EF4-FFF2-40B4-BE49-F238E27FC236}">
                          <a16:creationId xmlns:a16="http://schemas.microsoft.com/office/drawing/2014/main" id="{EC508BF4-5655-4D12-996B-6BE136B4DA15}"/>
                        </a:ext>
                      </a:extLst>
                    </p:cNvPr>
                    <p:cNvSpPr/>
                    <p:nvPr/>
                  </p:nvSpPr>
                  <p:spPr>
                    <a:xfrm>
                      <a:off x="5253060" y="3356974"/>
                      <a:ext cx="20633" cy="188118"/>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90" name="Freeform 316">
                      <a:extLst>
                        <a:ext uri="{FF2B5EF4-FFF2-40B4-BE49-F238E27FC236}">
                          <a16:creationId xmlns:a16="http://schemas.microsoft.com/office/drawing/2014/main" id="{FFC0C726-7308-44AC-8EE7-2D6501A84E39}"/>
                        </a:ext>
                      </a:extLst>
                    </p:cNvPr>
                    <p:cNvSpPr/>
                    <p:nvPr/>
                  </p:nvSpPr>
                  <p:spPr>
                    <a:xfrm>
                      <a:off x="5287452" y="3360308"/>
                      <a:ext cx="3048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91" name="Freeform 317">
                      <a:extLst>
                        <a:ext uri="{FF2B5EF4-FFF2-40B4-BE49-F238E27FC236}">
                          <a16:creationId xmlns:a16="http://schemas.microsoft.com/office/drawing/2014/main" id="{A956BD78-36CB-4259-A48A-EB7C933B6801}"/>
                        </a:ext>
                      </a:extLst>
                    </p:cNvPr>
                    <p:cNvSpPr/>
                    <p:nvPr/>
                  </p:nvSpPr>
                  <p:spPr>
                    <a:xfrm>
                      <a:off x="5361471" y="3354206"/>
                      <a:ext cx="20633" cy="188118"/>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92" name="Freeform 318">
                      <a:extLst>
                        <a:ext uri="{FF2B5EF4-FFF2-40B4-BE49-F238E27FC236}">
                          <a16:creationId xmlns:a16="http://schemas.microsoft.com/office/drawing/2014/main" id="{A5F31646-A52D-4976-8C87-3CD9729042BE}"/>
                        </a:ext>
                      </a:extLst>
                    </p:cNvPr>
                    <p:cNvSpPr/>
                    <p:nvPr/>
                  </p:nvSpPr>
                  <p:spPr>
                    <a:xfrm>
                      <a:off x="5390301" y="3365265"/>
                      <a:ext cx="45720"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grpSp>
              <p:grpSp>
                <p:nvGrpSpPr>
                  <p:cNvPr id="148" name="Group 147">
                    <a:extLst>
                      <a:ext uri="{FF2B5EF4-FFF2-40B4-BE49-F238E27FC236}">
                        <a16:creationId xmlns:a16="http://schemas.microsoft.com/office/drawing/2014/main" id="{F25D6C26-243E-48B5-8F75-A2556CD1C5CE}"/>
                      </a:ext>
                    </a:extLst>
                  </p:cNvPr>
                  <p:cNvGrpSpPr/>
                  <p:nvPr/>
                </p:nvGrpSpPr>
                <p:grpSpPr>
                  <a:xfrm flipV="1">
                    <a:off x="1951310" y="1919223"/>
                    <a:ext cx="1761002" cy="200507"/>
                    <a:chOff x="2846596" y="3861048"/>
                    <a:chExt cx="2704806" cy="291842"/>
                  </a:xfrm>
                  <a:solidFill>
                    <a:schemeClr val="bg1"/>
                  </a:solidFill>
                </p:grpSpPr>
                <p:sp>
                  <p:nvSpPr>
                    <p:cNvPr id="149" name="Freeform 175">
                      <a:extLst>
                        <a:ext uri="{FF2B5EF4-FFF2-40B4-BE49-F238E27FC236}">
                          <a16:creationId xmlns:a16="http://schemas.microsoft.com/office/drawing/2014/main" id="{DD77502A-F5E0-4CCE-BDAD-AF46D11B3FB0}"/>
                        </a:ext>
                      </a:extLst>
                    </p:cNvPr>
                    <p:cNvSpPr/>
                    <p:nvPr/>
                  </p:nvSpPr>
                  <p:spPr>
                    <a:xfrm>
                      <a:off x="2954596" y="3934111"/>
                      <a:ext cx="45719"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0" name="Oval 149">
                      <a:extLst>
                        <a:ext uri="{FF2B5EF4-FFF2-40B4-BE49-F238E27FC236}">
                          <a16:creationId xmlns:a16="http://schemas.microsoft.com/office/drawing/2014/main" id="{EDE772EF-58BA-42AF-867A-5CF5DE6357E9}"/>
                        </a:ext>
                      </a:extLst>
                    </p:cNvPr>
                    <p:cNvSpPr/>
                    <p:nvPr/>
                  </p:nvSpPr>
                  <p:spPr>
                    <a:xfrm>
                      <a:off x="2954596"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1" name="Freeform 177">
                      <a:extLst>
                        <a:ext uri="{FF2B5EF4-FFF2-40B4-BE49-F238E27FC236}">
                          <a16:creationId xmlns:a16="http://schemas.microsoft.com/office/drawing/2014/main" id="{8716D88B-F7E3-4F6E-9969-8F63950BD60E}"/>
                        </a:ext>
                      </a:extLst>
                    </p:cNvPr>
                    <p:cNvSpPr/>
                    <p:nvPr/>
                  </p:nvSpPr>
                  <p:spPr>
                    <a:xfrm>
                      <a:off x="3016337" y="3973054"/>
                      <a:ext cx="46259"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2" name="Oval 151">
                      <a:extLst>
                        <a:ext uri="{FF2B5EF4-FFF2-40B4-BE49-F238E27FC236}">
                          <a16:creationId xmlns:a16="http://schemas.microsoft.com/office/drawing/2014/main" id="{52A28584-6FB6-4E60-845E-B798AE41CAEE}"/>
                        </a:ext>
                      </a:extLst>
                    </p:cNvPr>
                    <p:cNvSpPr/>
                    <p:nvPr/>
                  </p:nvSpPr>
                  <p:spPr>
                    <a:xfrm>
                      <a:off x="3069902"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3" name="Oval 152">
                      <a:extLst>
                        <a:ext uri="{FF2B5EF4-FFF2-40B4-BE49-F238E27FC236}">
                          <a16:creationId xmlns:a16="http://schemas.microsoft.com/office/drawing/2014/main" id="{8B127003-3F98-431F-B99C-4AF7ED416EA1}"/>
                        </a:ext>
                      </a:extLst>
                    </p:cNvPr>
                    <p:cNvSpPr/>
                    <p:nvPr/>
                  </p:nvSpPr>
                  <p:spPr>
                    <a:xfrm>
                      <a:off x="2846596"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4" name="Oval 153">
                      <a:extLst>
                        <a:ext uri="{FF2B5EF4-FFF2-40B4-BE49-F238E27FC236}">
                          <a16:creationId xmlns:a16="http://schemas.microsoft.com/office/drawing/2014/main" id="{711701EA-EA06-42A4-A7F4-4E3BD5F9D1D8}"/>
                        </a:ext>
                      </a:extLst>
                    </p:cNvPr>
                    <p:cNvSpPr/>
                    <p:nvPr/>
                  </p:nvSpPr>
                  <p:spPr>
                    <a:xfrm>
                      <a:off x="3182045"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5" name="Oval 154">
                      <a:extLst>
                        <a:ext uri="{FF2B5EF4-FFF2-40B4-BE49-F238E27FC236}">
                          <a16:creationId xmlns:a16="http://schemas.microsoft.com/office/drawing/2014/main" id="{4E81BD97-3EB9-45CF-9512-B0C6F4DC9FA0}"/>
                        </a:ext>
                      </a:extLst>
                    </p:cNvPr>
                    <p:cNvSpPr/>
                    <p:nvPr/>
                  </p:nvSpPr>
                  <p:spPr>
                    <a:xfrm>
                      <a:off x="3297710"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6" name="Oval 155">
                      <a:extLst>
                        <a:ext uri="{FF2B5EF4-FFF2-40B4-BE49-F238E27FC236}">
                          <a16:creationId xmlns:a16="http://schemas.microsoft.com/office/drawing/2014/main" id="{C5CA14C5-19E4-4F0E-9BFA-78248FCEA5A9}"/>
                        </a:ext>
                      </a:extLst>
                    </p:cNvPr>
                    <p:cNvSpPr/>
                    <p:nvPr/>
                  </p:nvSpPr>
                  <p:spPr>
                    <a:xfrm>
                      <a:off x="3405710"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7" name="Freeform 183">
                      <a:extLst>
                        <a:ext uri="{FF2B5EF4-FFF2-40B4-BE49-F238E27FC236}">
                          <a16:creationId xmlns:a16="http://schemas.microsoft.com/office/drawing/2014/main" id="{760D1B62-6921-4E9A-963F-8854ED745D47}"/>
                        </a:ext>
                      </a:extLst>
                    </p:cNvPr>
                    <p:cNvSpPr/>
                    <p:nvPr/>
                  </p:nvSpPr>
                  <p:spPr>
                    <a:xfrm>
                      <a:off x="2854877" y="3950109"/>
                      <a:ext cx="45719"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8" name="Freeform 184">
                      <a:extLst>
                        <a:ext uri="{FF2B5EF4-FFF2-40B4-BE49-F238E27FC236}">
                          <a16:creationId xmlns:a16="http://schemas.microsoft.com/office/drawing/2014/main" id="{F6DBB177-B12D-4417-83DA-D2CF8AB5AE20}"/>
                        </a:ext>
                      </a:extLst>
                    </p:cNvPr>
                    <p:cNvSpPr/>
                    <p:nvPr/>
                  </p:nvSpPr>
                  <p:spPr>
                    <a:xfrm>
                      <a:off x="2913332"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59" name="Freeform 185">
                      <a:extLst>
                        <a:ext uri="{FF2B5EF4-FFF2-40B4-BE49-F238E27FC236}">
                          <a16:creationId xmlns:a16="http://schemas.microsoft.com/office/drawing/2014/main" id="{278725E6-783C-464E-AF03-621FC6B75BC3}"/>
                        </a:ext>
                      </a:extLst>
                    </p:cNvPr>
                    <p:cNvSpPr/>
                    <p:nvPr/>
                  </p:nvSpPr>
                  <p:spPr>
                    <a:xfrm>
                      <a:off x="3102044"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0" name="Freeform 186">
                      <a:extLst>
                        <a:ext uri="{FF2B5EF4-FFF2-40B4-BE49-F238E27FC236}">
                          <a16:creationId xmlns:a16="http://schemas.microsoft.com/office/drawing/2014/main" id="{78257F94-566B-410B-827C-F3CB7150CAEE}"/>
                        </a:ext>
                      </a:extLst>
                    </p:cNvPr>
                    <p:cNvSpPr/>
                    <p:nvPr/>
                  </p:nvSpPr>
                  <p:spPr>
                    <a:xfrm>
                      <a:off x="3132183" y="3968104"/>
                      <a:ext cx="45719"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1" name="Freeform 187">
                      <a:extLst>
                        <a:ext uri="{FF2B5EF4-FFF2-40B4-BE49-F238E27FC236}">
                          <a16:creationId xmlns:a16="http://schemas.microsoft.com/office/drawing/2014/main" id="{B62CBC77-1496-4B53-B91A-4713A1ED0282}"/>
                        </a:ext>
                      </a:extLst>
                    </p:cNvPr>
                    <p:cNvSpPr/>
                    <p:nvPr/>
                  </p:nvSpPr>
                  <p:spPr>
                    <a:xfrm>
                      <a:off x="3213037" y="3964769"/>
                      <a:ext cx="31771"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2" name="Freeform 188">
                      <a:extLst>
                        <a:ext uri="{FF2B5EF4-FFF2-40B4-BE49-F238E27FC236}">
                          <a16:creationId xmlns:a16="http://schemas.microsoft.com/office/drawing/2014/main" id="{9BEC54E4-B040-4876-AC64-BA22FBD028BE}"/>
                        </a:ext>
                      </a:extLst>
                    </p:cNvPr>
                    <p:cNvSpPr/>
                    <p:nvPr/>
                  </p:nvSpPr>
                  <p:spPr>
                    <a:xfrm>
                      <a:off x="3247146" y="3964769"/>
                      <a:ext cx="40005" cy="188119"/>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3" name="Freeform 189">
                      <a:extLst>
                        <a:ext uri="{FF2B5EF4-FFF2-40B4-BE49-F238E27FC236}">
                          <a16:creationId xmlns:a16="http://schemas.microsoft.com/office/drawing/2014/main" id="{48097C0A-3B3E-45F7-AEEB-1C9F32796E60}"/>
                        </a:ext>
                      </a:extLst>
                    </p:cNvPr>
                    <p:cNvSpPr/>
                    <p:nvPr/>
                  </p:nvSpPr>
                  <p:spPr>
                    <a:xfrm>
                      <a:off x="3330663"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4" name="Freeform 190">
                      <a:extLst>
                        <a:ext uri="{FF2B5EF4-FFF2-40B4-BE49-F238E27FC236}">
                          <a16:creationId xmlns:a16="http://schemas.microsoft.com/office/drawing/2014/main" id="{9E082204-B3FB-475B-8EFE-F71ADC092BA6}"/>
                        </a:ext>
                      </a:extLst>
                    </p:cNvPr>
                    <p:cNvSpPr/>
                    <p:nvPr/>
                  </p:nvSpPr>
                  <p:spPr>
                    <a:xfrm>
                      <a:off x="3365072" y="3968103"/>
                      <a:ext cx="3048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5" name="Freeform 191">
                      <a:extLst>
                        <a:ext uri="{FF2B5EF4-FFF2-40B4-BE49-F238E27FC236}">
                          <a16:creationId xmlns:a16="http://schemas.microsoft.com/office/drawing/2014/main" id="{A39CC406-19B8-472C-8446-3AE269806382}"/>
                        </a:ext>
                      </a:extLst>
                    </p:cNvPr>
                    <p:cNvSpPr/>
                    <p:nvPr/>
                  </p:nvSpPr>
                  <p:spPr>
                    <a:xfrm>
                      <a:off x="3439078" y="3961992"/>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6" name="Freeform 192">
                      <a:extLst>
                        <a:ext uri="{FF2B5EF4-FFF2-40B4-BE49-F238E27FC236}">
                          <a16:creationId xmlns:a16="http://schemas.microsoft.com/office/drawing/2014/main" id="{BE9EBD96-D219-4C49-BB42-F1B6B21CB5BF}"/>
                        </a:ext>
                      </a:extLst>
                    </p:cNvPr>
                    <p:cNvSpPr/>
                    <p:nvPr/>
                  </p:nvSpPr>
                  <p:spPr>
                    <a:xfrm>
                      <a:off x="3467991" y="3973054"/>
                      <a:ext cx="45719"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7" name="Freeform 193">
                      <a:extLst>
                        <a:ext uri="{FF2B5EF4-FFF2-40B4-BE49-F238E27FC236}">
                          <a16:creationId xmlns:a16="http://schemas.microsoft.com/office/drawing/2014/main" id="{27D914F2-CE0E-4A9A-9E57-860A136995D5}"/>
                        </a:ext>
                      </a:extLst>
                    </p:cNvPr>
                    <p:cNvSpPr/>
                    <p:nvPr/>
                  </p:nvSpPr>
                  <p:spPr>
                    <a:xfrm>
                      <a:off x="3639653" y="3934111"/>
                      <a:ext cx="45719"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8" name="Oval 167">
                      <a:extLst>
                        <a:ext uri="{FF2B5EF4-FFF2-40B4-BE49-F238E27FC236}">
                          <a16:creationId xmlns:a16="http://schemas.microsoft.com/office/drawing/2014/main" id="{E5CE9179-F77A-4569-98D1-D33000737C06}"/>
                        </a:ext>
                      </a:extLst>
                    </p:cNvPr>
                    <p:cNvSpPr/>
                    <p:nvPr/>
                  </p:nvSpPr>
                  <p:spPr>
                    <a:xfrm>
                      <a:off x="3639653"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69" name="Freeform 195">
                      <a:extLst>
                        <a:ext uri="{FF2B5EF4-FFF2-40B4-BE49-F238E27FC236}">
                          <a16:creationId xmlns:a16="http://schemas.microsoft.com/office/drawing/2014/main" id="{1EFE61ED-CEAC-475B-8613-A8DC47C999C6}"/>
                        </a:ext>
                      </a:extLst>
                    </p:cNvPr>
                    <p:cNvSpPr/>
                    <p:nvPr/>
                  </p:nvSpPr>
                  <p:spPr>
                    <a:xfrm>
                      <a:off x="3701394" y="3973054"/>
                      <a:ext cx="46259"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0" name="Oval 169">
                      <a:extLst>
                        <a:ext uri="{FF2B5EF4-FFF2-40B4-BE49-F238E27FC236}">
                          <a16:creationId xmlns:a16="http://schemas.microsoft.com/office/drawing/2014/main" id="{A85F8103-1A6E-4B34-989B-F201029F784C}"/>
                        </a:ext>
                      </a:extLst>
                    </p:cNvPr>
                    <p:cNvSpPr/>
                    <p:nvPr/>
                  </p:nvSpPr>
                  <p:spPr>
                    <a:xfrm>
                      <a:off x="3754959"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1" name="Oval 170">
                      <a:extLst>
                        <a:ext uri="{FF2B5EF4-FFF2-40B4-BE49-F238E27FC236}">
                          <a16:creationId xmlns:a16="http://schemas.microsoft.com/office/drawing/2014/main" id="{B9CB406B-2DA6-4F0A-9874-41C74180841C}"/>
                        </a:ext>
                      </a:extLst>
                    </p:cNvPr>
                    <p:cNvSpPr/>
                    <p:nvPr/>
                  </p:nvSpPr>
                  <p:spPr>
                    <a:xfrm>
                      <a:off x="3531653"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2" name="Oval 171">
                      <a:extLst>
                        <a:ext uri="{FF2B5EF4-FFF2-40B4-BE49-F238E27FC236}">
                          <a16:creationId xmlns:a16="http://schemas.microsoft.com/office/drawing/2014/main" id="{0FA036BC-A237-4482-9E7C-1433D7682147}"/>
                        </a:ext>
                      </a:extLst>
                    </p:cNvPr>
                    <p:cNvSpPr/>
                    <p:nvPr/>
                  </p:nvSpPr>
                  <p:spPr>
                    <a:xfrm>
                      <a:off x="3867102"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3" name="Oval 172">
                      <a:extLst>
                        <a:ext uri="{FF2B5EF4-FFF2-40B4-BE49-F238E27FC236}">
                          <a16:creationId xmlns:a16="http://schemas.microsoft.com/office/drawing/2014/main" id="{0EF4A710-8D97-415A-9B55-324A2385E569}"/>
                        </a:ext>
                      </a:extLst>
                    </p:cNvPr>
                    <p:cNvSpPr/>
                    <p:nvPr/>
                  </p:nvSpPr>
                  <p:spPr>
                    <a:xfrm>
                      <a:off x="3982767"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4" name="Oval 173">
                      <a:extLst>
                        <a:ext uri="{FF2B5EF4-FFF2-40B4-BE49-F238E27FC236}">
                          <a16:creationId xmlns:a16="http://schemas.microsoft.com/office/drawing/2014/main" id="{D5C0A539-B383-48B5-95BA-AB097DC3347D}"/>
                        </a:ext>
                      </a:extLst>
                    </p:cNvPr>
                    <p:cNvSpPr/>
                    <p:nvPr/>
                  </p:nvSpPr>
                  <p:spPr>
                    <a:xfrm>
                      <a:off x="4090767"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5" name="Freeform 201">
                      <a:extLst>
                        <a:ext uri="{FF2B5EF4-FFF2-40B4-BE49-F238E27FC236}">
                          <a16:creationId xmlns:a16="http://schemas.microsoft.com/office/drawing/2014/main" id="{A9AB7205-CAF2-4367-9719-CAC94E5CD445}"/>
                        </a:ext>
                      </a:extLst>
                    </p:cNvPr>
                    <p:cNvSpPr/>
                    <p:nvPr/>
                  </p:nvSpPr>
                  <p:spPr>
                    <a:xfrm>
                      <a:off x="3539934" y="3950109"/>
                      <a:ext cx="45719"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6" name="Freeform 202">
                      <a:extLst>
                        <a:ext uri="{FF2B5EF4-FFF2-40B4-BE49-F238E27FC236}">
                          <a16:creationId xmlns:a16="http://schemas.microsoft.com/office/drawing/2014/main" id="{811F580F-DFED-4BC4-A6F4-BBF5BD9CEC18}"/>
                        </a:ext>
                      </a:extLst>
                    </p:cNvPr>
                    <p:cNvSpPr/>
                    <p:nvPr/>
                  </p:nvSpPr>
                  <p:spPr>
                    <a:xfrm>
                      <a:off x="3598389"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7" name="Freeform 203">
                      <a:extLst>
                        <a:ext uri="{FF2B5EF4-FFF2-40B4-BE49-F238E27FC236}">
                          <a16:creationId xmlns:a16="http://schemas.microsoft.com/office/drawing/2014/main" id="{23DDB539-CCCB-4A29-A2F0-812879E00C5A}"/>
                        </a:ext>
                      </a:extLst>
                    </p:cNvPr>
                    <p:cNvSpPr/>
                    <p:nvPr/>
                  </p:nvSpPr>
                  <p:spPr>
                    <a:xfrm>
                      <a:off x="3787101"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8" name="Freeform 204">
                      <a:extLst>
                        <a:ext uri="{FF2B5EF4-FFF2-40B4-BE49-F238E27FC236}">
                          <a16:creationId xmlns:a16="http://schemas.microsoft.com/office/drawing/2014/main" id="{E87DBA4D-42EB-4570-A81C-BE459A65DC50}"/>
                        </a:ext>
                      </a:extLst>
                    </p:cNvPr>
                    <p:cNvSpPr/>
                    <p:nvPr/>
                  </p:nvSpPr>
                  <p:spPr>
                    <a:xfrm>
                      <a:off x="3817240" y="3968104"/>
                      <a:ext cx="45719"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79" name="Freeform 205">
                      <a:extLst>
                        <a:ext uri="{FF2B5EF4-FFF2-40B4-BE49-F238E27FC236}">
                          <a16:creationId xmlns:a16="http://schemas.microsoft.com/office/drawing/2014/main" id="{C226F5A7-8243-4637-8889-B781DB204CC3}"/>
                        </a:ext>
                      </a:extLst>
                    </p:cNvPr>
                    <p:cNvSpPr/>
                    <p:nvPr/>
                  </p:nvSpPr>
                  <p:spPr>
                    <a:xfrm>
                      <a:off x="3898094" y="3964769"/>
                      <a:ext cx="31771"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0" name="Freeform 206">
                      <a:extLst>
                        <a:ext uri="{FF2B5EF4-FFF2-40B4-BE49-F238E27FC236}">
                          <a16:creationId xmlns:a16="http://schemas.microsoft.com/office/drawing/2014/main" id="{CD68EFA2-DB39-450B-9255-0470B177F7F6}"/>
                        </a:ext>
                      </a:extLst>
                    </p:cNvPr>
                    <p:cNvSpPr/>
                    <p:nvPr/>
                  </p:nvSpPr>
                  <p:spPr>
                    <a:xfrm>
                      <a:off x="3932203" y="3964769"/>
                      <a:ext cx="40005" cy="188119"/>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1" name="Freeform 207">
                      <a:extLst>
                        <a:ext uri="{FF2B5EF4-FFF2-40B4-BE49-F238E27FC236}">
                          <a16:creationId xmlns:a16="http://schemas.microsoft.com/office/drawing/2014/main" id="{1AD971CB-F849-40B2-8521-69BDE143BB50}"/>
                        </a:ext>
                      </a:extLst>
                    </p:cNvPr>
                    <p:cNvSpPr/>
                    <p:nvPr/>
                  </p:nvSpPr>
                  <p:spPr>
                    <a:xfrm>
                      <a:off x="4015720"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2" name="Freeform 208">
                      <a:extLst>
                        <a:ext uri="{FF2B5EF4-FFF2-40B4-BE49-F238E27FC236}">
                          <a16:creationId xmlns:a16="http://schemas.microsoft.com/office/drawing/2014/main" id="{32FC8F34-FD5F-444E-9A4F-7DC925B17A87}"/>
                        </a:ext>
                      </a:extLst>
                    </p:cNvPr>
                    <p:cNvSpPr/>
                    <p:nvPr/>
                  </p:nvSpPr>
                  <p:spPr>
                    <a:xfrm>
                      <a:off x="4050129" y="3968103"/>
                      <a:ext cx="3048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3" name="Freeform 209">
                      <a:extLst>
                        <a:ext uri="{FF2B5EF4-FFF2-40B4-BE49-F238E27FC236}">
                          <a16:creationId xmlns:a16="http://schemas.microsoft.com/office/drawing/2014/main" id="{F254A41F-7C97-458F-BDCE-594693D3083D}"/>
                        </a:ext>
                      </a:extLst>
                    </p:cNvPr>
                    <p:cNvSpPr/>
                    <p:nvPr/>
                  </p:nvSpPr>
                  <p:spPr>
                    <a:xfrm>
                      <a:off x="4124135" y="3961992"/>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4" name="Freeform 210">
                      <a:extLst>
                        <a:ext uri="{FF2B5EF4-FFF2-40B4-BE49-F238E27FC236}">
                          <a16:creationId xmlns:a16="http://schemas.microsoft.com/office/drawing/2014/main" id="{976CF12B-59B1-47F7-BA2E-8EA47171152F}"/>
                        </a:ext>
                      </a:extLst>
                    </p:cNvPr>
                    <p:cNvSpPr/>
                    <p:nvPr/>
                  </p:nvSpPr>
                  <p:spPr>
                    <a:xfrm>
                      <a:off x="4153048" y="3973054"/>
                      <a:ext cx="45719"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5" name="Freeform 211">
                      <a:extLst>
                        <a:ext uri="{FF2B5EF4-FFF2-40B4-BE49-F238E27FC236}">
                          <a16:creationId xmlns:a16="http://schemas.microsoft.com/office/drawing/2014/main" id="{E447B7D0-8856-4EC9-B250-0B676364AF05}"/>
                        </a:ext>
                      </a:extLst>
                    </p:cNvPr>
                    <p:cNvSpPr/>
                    <p:nvPr/>
                  </p:nvSpPr>
                  <p:spPr>
                    <a:xfrm>
                      <a:off x="4310014" y="3934111"/>
                      <a:ext cx="45719"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6" name="Oval 185">
                      <a:extLst>
                        <a:ext uri="{FF2B5EF4-FFF2-40B4-BE49-F238E27FC236}">
                          <a16:creationId xmlns:a16="http://schemas.microsoft.com/office/drawing/2014/main" id="{89757880-1C86-4139-AA46-43192BF2C023}"/>
                        </a:ext>
                      </a:extLst>
                    </p:cNvPr>
                    <p:cNvSpPr/>
                    <p:nvPr/>
                  </p:nvSpPr>
                  <p:spPr>
                    <a:xfrm>
                      <a:off x="4310014"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7" name="Freeform 213">
                      <a:extLst>
                        <a:ext uri="{FF2B5EF4-FFF2-40B4-BE49-F238E27FC236}">
                          <a16:creationId xmlns:a16="http://schemas.microsoft.com/office/drawing/2014/main" id="{1A97C7FE-3ECF-4E19-8234-0EC41CF85B78}"/>
                        </a:ext>
                      </a:extLst>
                    </p:cNvPr>
                    <p:cNvSpPr/>
                    <p:nvPr/>
                  </p:nvSpPr>
                  <p:spPr>
                    <a:xfrm>
                      <a:off x="4371755" y="3973054"/>
                      <a:ext cx="46259"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8" name="Oval 187">
                      <a:extLst>
                        <a:ext uri="{FF2B5EF4-FFF2-40B4-BE49-F238E27FC236}">
                          <a16:creationId xmlns:a16="http://schemas.microsoft.com/office/drawing/2014/main" id="{E0ABD020-7BC4-43BE-B8D9-CCDB51C10B4A}"/>
                        </a:ext>
                      </a:extLst>
                    </p:cNvPr>
                    <p:cNvSpPr/>
                    <p:nvPr/>
                  </p:nvSpPr>
                  <p:spPr>
                    <a:xfrm>
                      <a:off x="4425320"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89" name="Oval 188">
                      <a:extLst>
                        <a:ext uri="{FF2B5EF4-FFF2-40B4-BE49-F238E27FC236}">
                          <a16:creationId xmlns:a16="http://schemas.microsoft.com/office/drawing/2014/main" id="{A87E9020-A776-427D-B436-2FBE2B45CED5}"/>
                        </a:ext>
                      </a:extLst>
                    </p:cNvPr>
                    <p:cNvSpPr/>
                    <p:nvPr/>
                  </p:nvSpPr>
                  <p:spPr>
                    <a:xfrm>
                      <a:off x="4202014"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0" name="Oval 189">
                      <a:extLst>
                        <a:ext uri="{FF2B5EF4-FFF2-40B4-BE49-F238E27FC236}">
                          <a16:creationId xmlns:a16="http://schemas.microsoft.com/office/drawing/2014/main" id="{0DE95F4C-1210-4426-B3F4-B577505B02EC}"/>
                        </a:ext>
                      </a:extLst>
                    </p:cNvPr>
                    <p:cNvSpPr/>
                    <p:nvPr/>
                  </p:nvSpPr>
                  <p:spPr>
                    <a:xfrm>
                      <a:off x="4537463"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1" name="Oval 190">
                      <a:extLst>
                        <a:ext uri="{FF2B5EF4-FFF2-40B4-BE49-F238E27FC236}">
                          <a16:creationId xmlns:a16="http://schemas.microsoft.com/office/drawing/2014/main" id="{CAF7A7A6-ABF4-44B1-8A3A-8B6CA2A1F46D}"/>
                        </a:ext>
                      </a:extLst>
                    </p:cNvPr>
                    <p:cNvSpPr/>
                    <p:nvPr/>
                  </p:nvSpPr>
                  <p:spPr>
                    <a:xfrm>
                      <a:off x="4653128"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2" name="Oval 191">
                      <a:extLst>
                        <a:ext uri="{FF2B5EF4-FFF2-40B4-BE49-F238E27FC236}">
                          <a16:creationId xmlns:a16="http://schemas.microsoft.com/office/drawing/2014/main" id="{35656327-EF72-4BC7-B089-B3D0D67BD08C}"/>
                        </a:ext>
                      </a:extLst>
                    </p:cNvPr>
                    <p:cNvSpPr/>
                    <p:nvPr/>
                  </p:nvSpPr>
                  <p:spPr>
                    <a:xfrm>
                      <a:off x="4761128"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3" name="Freeform 219">
                      <a:extLst>
                        <a:ext uri="{FF2B5EF4-FFF2-40B4-BE49-F238E27FC236}">
                          <a16:creationId xmlns:a16="http://schemas.microsoft.com/office/drawing/2014/main" id="{B9B724A7-04B7-4F5D-9B1D-EB33C2503F99}"/>
                        </a:ext>
                      </a:extLst>
                    </p:cNvPr>
                    <p:cNvSpPr/>
                    <p:nvPr/>
                  </p:nvSpPr>
                  <p:spPr>
                    <a:xfrm>
                      <a:off x="4210295" y="3950109"/>
                      <a:ext cx="45719"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4" name="Freeform 220">
                      <a:extLst>
                        <a:ext uri="{FF2B5EF4-FFF2-40B4-BE49-F238E27FC236}">
                          <a16:creationId xmlns:a16="http://schemas.microsoft.com/office/drawing/2014/main" id="{83CE595A-B9EF-462A-B769-C91CC7FDCFBB}"/>
                        </a:ext>
                      </a:extLst>
                    </p:cNvPr>
                    <p:cNvSpPr/>
                    <p:nvPr/>
                  </p:nvSpPr>
                  <p:spPr>
                    <a:xfrm>
                      <a:off x="4268750"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5" name="Freeform 221">
                      <a:extLst>
                        <a:ext uri="{FF2B5EF4-FFF2-40B4-BE49-F238E27FC236}">
                          <a16:creationId xmlns:a16="http://schemas.microsoft.com/office/drawing/2014/main" id="{A246C849-8F9C-4918-8DB6-3EC68C137049}"/>
                        </a:ext>
                      </a:extLst>
                    </p:cNvPr>
                    <p:cNvSpPr/>
                    <p:nvPr/>
                  </p:nvSpPr>
                  <p:spPr>
                    <a:xfrm>
                      <a:off x="4457462"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6" name="Freeform 222">
                      <a:extLst>
                        <a:ext uri="{FF2B5EF4-FFF2-40B4-BE49-F238E27FC236}">
                          <a16:creationId xmlns:a16="http://schemas.microsoft.com/office/drawing/2014/main" id="{AA9F285E-D5EC-44A8-A4A6-09D512553828}"/>
                        </a:ext>
                      </a:extLst>
                    </p:cNvPr>
                    <p:cNvSpPr/>
                    <p:nvPr/>
                  </p:nvSpPr>
                  <p:spPr>
                    <a:xfrm>
                      <a:off x="4487601" y="3968104"/>
                      <a:ext cx="45719"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7" name="Freeform 223">
                      <a:extLst>
                        <a:ext uri="{FF2B5EF4-FFF2-40B4-BE49-F238E27FC236}">
                          <a16:creationId xmlns:a16="http://schemas.microsoft.com/office/drawing/2014/main" id="{61029E84-724A-4C2F-BF2A-84120372C3D0}"/>
                        </a:ext>
                      </a:extLst>
                    </p:cNvPr>
                    <p:cNvSpPr/>
                    <p:nvPr/>
                  </p:nvSpPr>
                  <p:spPr>
                    <a:xfrm>
                      <a:off x="4568455" y="3964769"/>
                      <a:ext cx="31771"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8" name="Freeform 224">
                      <a:extLst>
                        <a:ext uri="{FF2B5EF4-FFF2-40B4-BE49-F238E27FC236}">
                          <a16:creationId xmlns:a16="http://schemas.microsoft.com/office/drawing/2014/main" id="{D37710E2-3D7C-41FC-87A9-FA6E8C432AA0}"/>
                        </a:ext>
                      </a:extLst>
                    </p:cNvPr>
                    <p:cNvSpPr/>
                    <p:nvPr/>
                  </p:nvSpPr>
                  <p:spPr>
                    <a:xfrm>
                      <a:off x="4602564" y="3964769"/>
                      <a:ext cx="40005" cy="188119"/>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99" name="Freeform 225">
                      <a:extLst>
                        <a:ext uri="{FF2B5EF4-FFF2-40B4-BE49-F238E27FC236}">
                          <a16:creationId xmlns:a16="http://schemas.microsoft.com/office/drawing/2014/main" id="{F09B657B-B39A-42E7-915D-9EBE839A8EEE}"/>
                        </a:ext>
                      </a:extLst>
                    </p:cNvPr>
                    <p:cNvSpPr/>
                    <p:nvPr/>
                  </p:nvSpPr>
                  <p:spPr>
                    <a:xfrm>
                      <a:off x="4686081"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0" name="Freeform 226">
                      <a:extLst>
                        <a:ext uri="{FF2B5EF4-FFF2-40B4-BE49-F238E27FC236}">
                          <a16:creationId xmlns:a16="http://schemas.microsoft.com/office/drawing/2014/main" id="{9756563B-1C59-4B18-B463-BBB942BFEFE7}"/>
                        </a:ext>
                      </a:extLst>
                    </p:cNvPr>
                    <p:cNvSpPr/>
                    <p:nvPr/>
                  </p:nvSpPr>
                  <p:spPr>
                    <a:xfrm>
                      <a:off x="4720490" y="3968103"/>
                      <a:ext cx="3048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1" name="Freeform 227">
                      <a:extLst>
                        <a:ext uri="{FF2B5EF4-FFF2-40B4-BE49-F238E27FC236}">
                          <a16:creationId xmlns:a16="http://schemas.microsoft.com/office/drawing/2014/main" id="{FA220A3B-CF22-4245-95EB-F418E0E2B9B7}"/>
                        </a:ext>
                      </a:extLst>
                    </p:cNvPr>
                    <p:cNvSpPr/>
                    <p:nvPr/>
                  </p:nvSpPr>
                  <p:spPr>
                    <a:xfrm>
                      <a:off x="4794496" y="3961992"/>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2" name="Freeform 228">
                      <a:extLst>
                        <a:ext uri="{FF2B5EF4-FFF2-40B4-BE49-F238E27FC236}">
                          <a16:creationId xmlns:a16="http://schemas.microsoft.com/office/drawing/2014/main" id="{CB96489F-F3A0-4A62-91EF-20B8AD95D475}"/>
                        </a:ext>
                      </a:extLst>
                    </p:cNvPr>
                    <p:cNvSpPr/>
                    <p:nvPr/>
                  </p:nvSpPr>
                  <p:spPr>
                    <a:xfrm>
                      <a:off x="4823409" y="3973054"/>
                      <a:ext cx="45719"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3" name="Freeform 229">
                      <a:extLst>
                        <a:ext uri="{FF2B5EF4-FFF2-40B4-BE49-F238E27FC236}">
                          <a16:creationId xmlns:a16="http://schemas.microsoft.com/office/drawing/2014/main" id="{28DD7D92-F7A2-481F-A698-84CA9E2C9279}"/>
                        </a:ext>
                      </a:extLst>
                    </p:cNvPr>
                    <p:cNvSpPr/>
                    <p:nvPr/>
                  </p:nvSpPr>
                  <p:spPr>
                    <a:xfrm>
                      <a:off x="4992288" y="3934111"/>
                      <a:ext cx="45719"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4" name="Oval 203">
                      <a:extLst>
                        <a:ext uri="{FF2B5EF4-FFF2-40B4-BE49-F238E27FC236}">
                          <a16:creationId xmlns:a16="http://schemas.microsoft.com/office/drawing/2014/main" id="{353448C1-16FC-4787-9A65-246E8939603B}"/>
                        </a:ext>
                      </a:extLst>
                    </p:cNvPr>
                    <p:cNvSpPr/>
                    <p:nvPr/>
                  </p:nvSpPr>
                  <p:spPr>
                    <a:xfrm>
                      <a:off x="4992288"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5" name="Freeform 231">
                      <a:extLst>
                        <a:ext uri="{FF2B5EF4-FFF2-40B4-BE49-F238E27FC236}">
                          <a16:creationId xmlns:a16="http://schemas.microsoft.com/office/drawing/2014/main" id="{1A6D447B-F889-4954-ACD6-291090127729}"/>
                        </a:ext>
                      </a:extLst>
                    </p:cNvPr>
                    <p:cNvSpPr/>
                    <p:nvPr/>
                  </p:nvSpPr>
                  <p:spPr>
                    <a:xfrm>
                      <a:off x="5054029" y="3973054"/>
                      <a:ext cx="46259"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6" name="Oval 205">
                      <a:extLst>
                        <a:ext uri="{FF2B5EF4-FFF2-40B4-BE49-F238E27FC236}">
                          <a16:creationId xmlns:a16="http://schemas.microsoft.com/office/drawing/2014/main" id="{128806A1-2110-4D56-A749-46527DDE5173}"/>
                        </a:ext>
                      </a:extLst>
                    </p:cNvPr>
                    <p:cNvSpPr/>
                    <p:nvPr/>
                  </p:nvSpPr>
                  <p:spPr>
                    <a:xfrm>
                      <a:off x="5107594"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7" name="Oval 206">
                      <a:extLst>
                        <a:ext uri="{FF2B5EF4-FFF2-40B4-BE49-F238E27FC236}">
                          <a16:creationId xmlns:a16="http://schemas.microsoft.com/office/drawing/2014/main" id="{78F08185-3833-47E3-89C0-052FECFE4FD8}"/>
                        </a:ext>
                      </a:extLst>
                    </p:cNvPr>
                    <p:cNvSpPr/>
                    <p:nvPr/>
                  </p:nvSpPr>
                  <p:spPr>
                    <a:xfrm>
                      <a:off x="4884288"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8" name="Oval 207">
                      <a:extLst>
                        <a:ext uri="{FF2B5EF4-FFF2-40B4-BE49-F238E27FC236}">
                          <a16:creationId xmlns:a16="http://schemas.microsoft.com/office/drawing/2014/main" id="{F922998D-7290-4C4B-A660-7F49D989D778}"/>
                        </a:ext>
                      </a:extLst>
                    </p:cNvPr>
                    <p:cNvSpPr/>
                    <p:nvPr/>
                  </p:nvSpPr>
                  <p:spPr>
                    <a:xfrm>
                      <a:off x="5219737"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09" name="Oval 208">
                      <a:extLst>
                        <a:ext uri="{FF2B5EF4-FFF2-40B4-BE49-F238E27FC236}">
                          <a16:creationId xmlns:a16="http://schemas.microsoft.com/office/drawing/2014/main" id="{43F15C00-6BDC-4F90-A9D0-A53A343F6C3A}"/>
                        </a:ext>
                      </a:extLst>
                    </p:cNvPr>
                    <p:cNvSpPr/>
                    <p:nvPr/>
                  </p:nvSpPr>
                  <p:spPr>
                    <a:xfrm>
                      <a:off x="5335402"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0" name="Oval 209">
                      <a:extLst>
                        <a:ext uri="{FF2B5EF4-FFF2-40B4-BE49-F238E27FC236}">
                          <a16:creationId xmlns:a16="http://schemas.microsoft.com/office/drawing/2014/main" id="{0B37FE5B-B280-4ECB-9F9A-26F340AAF40A}"/>
                        </a:ext>
                      </a:extLst>
                    </p:cNvPr>
                    <p:cNvSpPr/>
                    <p:nvPr/>
                  </p:nvSpPr>
                  <p:spPr>
                    <a:xfrm>
                      <a:off x="5443402"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1" name="Freeform 237">
                      <a:extLst>
                        <a:ext uri="{FF2B5EF4-FFF2-40B4-BE49-F238E27FC236}">
                          <a16:creationId xmlns:a16="http://schemas.microsoft.com/office/drawing/2014/main" id="{D7BA4C53-197D-40AC-A4AA-EAEF2C5E85EF}"/>
                        </a:ext>
                      </a:extLst>
                    </p:cNvPr>
                    <p:cNvSpPr/>
                    <p:nvPr/>
                  </p:nvSpPr>
                  <p:spPr>
                    <a:xfrm>
                      <a:off x="4892569" y="3950109"/>
                      <a:ext cx="45719"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2" name="Freeform 238">
                      <a:extLst>
                        <a:ext uri="{FF2B5EF4-FFF2-40B4-BE49-F238E27FC236}">
                          <a16:creationId xmlns:a16="http://schemas.microsoft.com/office/drawing/2014/main" id="{A9F45FEA-C0E2-4E56-A619-852EFB91CA6C}"/>
                        </a:ext>
                      </a:extLst>
                    </p:cNvPr>
                    <p:cNvSpPr/>
                    <p:nvPr/>
                  </p:nvSpPr>
                  <p:spPr>
                    <a:xfrm>
                      <a:off x="4951024"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3" name="Freeform 239">
                      <a:extLst>
                        <a:ext uri="{FF2B5EF4-FFF2-40B4-BE49-F238E27FC236}">
                          <a16:creationId xmlns:a16="http://schemas.microsoft.com/office/drawing/2014/main" id="{1CE73708-A9D5-4F9C-ADE9-A6F4859F6B54}"/>
                        </a:ext>
                      </a:extLst>
                    </p:cNvPr>
                    <p:cNvSpPr/>
                    <p:nvPr/>
                  </p:nvSpPr>
                  <p:spPr>
                    <a:xfrm>
                      <a:off x="5139736"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4" name="Freeform 240">
                      <a:extLst>
                        <a:ext uri="{FF2B5EF4-FFF2-40B4-BE49-F238E27FC236}">
                          <a16:creationId xmlns:a16="http://schemas.microsoft.com/office/drawing/2014/main" id="{C5209CCF-4A99-4EEA-95E2-F6B9BDEF9FAB}"/>
                        </a:ext>
                      </a:extLst>
                    </p:cNvPr>
                    <p:cNvSpPr/>
                    <p:nvPr/>
                  </p:nvSpPr>
                  <p:spPr>
                    <a:xfrm>
                      <a:off x="5169875" y="3968104"/>
                      <a:ext cx="45719"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5" name="Freeform 241">
                      <a:extLst>
                        <a:ext uri="{FF2B5EF4-FFF2-40B4-BE49-F238E27FC236}">
                          <a16:creationId xmlns:a16="http://schemas.microsoft.com/office/drawing/2014/main" id="{7B53C824-4A7C-4FA8-B6DD-4A89F39F5029}"/>
                        </a:ext>
                      </a:extLst>
                    </p:cNvPr>
                    <p:cNvSpPr/>
                    <p:nvPr/>
                  </p:nvSpPr>
                  <p:spPr>
                    <a:xfrm>
                      <a:off x="5250729" y="3964769"/>
                      <a:ext cx="31771"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6" name="Freeform 242">
                      <a:extLst>
                        <a:ext uri="{FF2B5EF4-FFF2-40B4-BE49-F238E27FC236}">
                          <a16:creationId xmlns:a16="http://schemas.microsoft.com/office/drawing/2014/main" id="{4B03DB45-CE64-49FB-8F0D-EC477A65A62E}"/>
                        </a:ext>
                      </a:extLst>
                    </p:cNvPr>
                    <p:cNvSpPr/>
                    <p:nvPr/>
                  </p:nvSpPr>
                  <p:spPr>
                    <a:xfrm>
                      <a:off x="5284838" y="3964769"/>
                      <a:ext cx="40005" cy="188119"/>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7" name="Freeform 243">
                      <a:extLst>
                        <a:ext uri="{FF2B5EF4-FFF2-40B4-BE49-F238E27FC236}">
                          <a16:creationId xmlns:a16="http://schemas.microsoft.com/office/drawing/2014/main" id="{A16599E5-1BDD-4A2C-8CD6-3FD717D574C1}"/>
                        </a:ext>
                      </a:extLst>
                    </p:cNvPr>
                    <p:cNvSpPr/>
                    <p:nvPr/>
                  </p:nvSpPr>
                  <p:spPr>
                    <a:xfrm>
                      <a:off x="5368355"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8" name="Freeform 244">
                      <a:extLst>
                        <a:ext uri="{FF2B5EF4-FFF2-40B4-BE49-F238E27FC236}">
                          <a16:creationId xmlns:a16="http://schemas.microsoft.com/office/drawing/2014/main" id="{75838A2B-FF34-4A86-8094-01C755332604}"/>
                        </a:ext>
                      </a:extLst>
                    </p:cNvPr>
                    <p:cNvSpPr/>
                    <p:nvPr/>
                  </p:nvSpPr>
                  <p:spPr>
                    <a:xfrm>
                      <a:off x="5402764" y="3968103"/>
                      <a:ext cx="3048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19" name="Freeform 245">
                      <a:extLst>
                        <a:ext uri="{FF2B5EF4-FFF2-40B4-BE49-F238E27FC236}">
                          <a16:creationId xmlns:a16="http://schemas.microsoft.com/office/drawing/2014/main" id="{372BBA98-B5C3-4B95-A797-CEAAB52A9B32}"/>
                        </a:ext>
                      </a:extLst>
                    </p:cNvPr>
                    <p:cNvSpPr/>
                    <p:nvPr/>
                  </p:nvSpPr>
                  <p:spPr>
                    <a:xfrm>
                      <a:off x="5476770" y="3961992"/>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220" name="Freeform 246">
                      <a:extLst>
                        <a:ext uri="{FF2B5EF4-FFF2-40B4-BE49-F238E27FC236}">
                          <a16:creationId xmlns:a16="http://schemas.microsoft.com/office/drawing/2014/main" id="{B3037DB0-9FCE-4029-9046-BC645D2CF296}"/>
                        </a:ext>
                      </a:extLst>
                    </p:cNvPr>
                    <p:cNvSpPr/>
                    <p:nvPr/>
                  </p:nvSpPr>
                  <p:spPr>
                    <a:xfrm>
                      <a:off x="5505683" y="3973054"/>
                      <a:ext cx="45719"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grpSp>
            </p:grpSp>
            <p:sp>
              <p:nvSpPr>
                <p:cNvPr id="69" name="Freeform 95">
                  <a:extLst>
                    <a:ext uri="{FF2B5EF4-FFF2-40B4-BE49-F238E27FC236}">
                      <a16:creationId xmlns:a16="http://schemas.microsoft.com/office/drawing/2014/main" id="{4E5886B6-35FB-48C9-8DC7-0BD25B1759B0}"/>
                    </a:ext>
                  </a:extLst>
                </p:cNvPr>
                <p:cNvSpPr/>
                <p:nvPr/>
              </p:nvSpPr>
              <p:spPr>
                <a:xfrm>
                  <a:off x="1907303" y="1614093"/>
                  <a:ext cx="29766" cy="148401"/>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0" name="Oval 69">
                  <a:extLst>
                    <a:ext uri="{FF2B5EF4-FFF2-40B4-BE49-F238E27FC236}">
                      <a16:creationId xmlns:a16="http://schemas.microsoft.com/office/drawing/2014/main" id="{B1805F97-F6AE-40E3-ACD6-A29EA03C7B3C}"/>
                    </a:ext>
                  </a:extLst>
                </p:cNvPr>
                <p:cNvSpPr/>
                <p:nvPr/>
              </p:nvSpPr>
              <p:spPr>
                <a:xfrm>
                  <a:off x="1907303"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1" name="Freeform 97">
                  <a:extLst>
                    <a:ext uri="{FF2B5EF4-FFF2-40B4-BE49-F238E27FC236}">
                      <a16:creationId xmlns:a16="http://schemas.microsoft.com/office/drawing/2014/main" id="{2EBC518A-BD85-46BE-82D5-F2C68C33AEFA}"/>
                    </a:ext>
                  </a:extLst>
                </p:cNvPr>
                <p:cNvSpPr/>
                <p:nvPr/>
              </p:nvSpPr>
              <p:spPr>
                <a:xfrm>
                  <a:off x="1947500" y="1640849"/>
                  <a:ext cx="30117" cy="12355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2" name="Oval 71">
                  <a:extLst>
                    <a:ext uri="{FF2B5EF4-FFF2-40B4-BE49-F238E27FC236}">
                      <a16:creationId xmlns:a16="http://schemas.microsoft.com/office/drawing/2014/main" id="{7E1C5F6B-D6D6-4BBB-BFCF-6C098AD2FD26}"/>
                    </a:ext>
                  </a:extLst>
                </p:cNvPr>
                <p:cNvSpPr/>
                <p:nvPr/>
              </p:nvSpPr>
              <p:spPr>
                <a:xfrm>
                  <a:off x="1982373"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3" name="Oval 72">
                  <a:extLst>
                    <a:ext uri="{FF2B5EF4-FFF2-40B4-BE49-F238E27FC236}">
                      <a16:creationId xmlns:a16="http://schemas.microsoft.com/office/drawing/2014/main" id="{6765E051-E8D6-4DA6-B3C3-11A360E97FF4}"/>
                    </a:ext>
                  </a:extLst>
                </p:cNvPr>
                <p:cNvSpPr/>
                <p:nvPr/>
              </p:nvSpPr>
              <p:spPr>
                <a:xfrm>
                  <a:off x="1836988"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4" name="Oval 73">
                  <a:extLst>
                    <a:ext uri="{FF2B5EF4-FFF2-40B4-BE49-F238E27FC236}">
                      <a16:creationId xmlns:a16="http://schemas.microsoft.com/office/drawing/2014/main" id="{31E9F4BE-25D6-494D-ACB5-4B57A45BFDEF}"/>
                    </a:ext>
                  </a:extLst>
                </p:cNvPr>
                <p:cNvSpPr/>
                <p:nvPr/>
              </p:nvSpPr>
              <p:spPr>
                <a:xfrm>
                  <a:off x="2055384"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5" name="Oval 74">
                  <a:extLst>
                    <a:ext uri="{FF2B5EF4-FFF2-40B4-BE49-F238E27FC236}">
                      <a16:creationId xmlns:a16="http://schemas.microsoft.com/office/drawing/2014/main" id="{67C57D26-A5BB-4BAC-81C1-34C525BF54A9}"/>
                    </a:ext>
                  </a:extLst>
                </p:cNvPr>
                <p:cNvSpPr/>
                <p:nvPr/>
              </p:nvSpPr>
              <p:spPr>
                <a:xfrm>
                  <a:off x="2130688"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6" name="Oval 75">
                  <a:extLst>
                    <a:ext uri="{FF2B5EF4-FFF2-40B4-BE49-F238E27FC236}">
                      <a16:creationId xmlns:a16="http://schemas.microsoft.com/office/drawing/2014/main" id="{6C7B4A63-05F1-47C3-83DF-3D9300878453}"/>
                    </a:ext>
                  </a:extLst>
                </p:cNvPr>
                <p:cNvSpPr/>
                <p:nvPr/>
              </p:nvSpPr>
              <p:spPr>
                <a:xfrm>
                  <a:off x="2201002"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7" name="Freeform 103">
                  <a:extLst>
                    <a:ext uri="{FF2B5EF4-FFF2-40B4-BE49-F238E27FC236}">
                      <a16:creationId xmlns:a16="http://schemas.microsoft.com/office/drawing/2014/main" id="{CB685EE6-B339-4FB3-B6FF-871FE4065036}"/>
                    </a:ext>
                  </a:extLst>
                </p:cNvPr>
                <p:cNvSpPr/>
                <p:nvPr/>
              </p:nvSpPr>
              <p:spPr>
                <a:xfrm>
                  <a:off x="1842378" y="1625085"/>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8" name="Freeform 104">
                  <a:extLst>
                    <a:ext uri="{FF2B5EF4-FFF2-40B4-BE49-F238E27FC236}">
                      <a16:creationId xmlns:a16="http://schemas.microsoft.com/office/drawing/2014/main" id="{06067316-44B3-482A-89D6-949FEDD3B175}"/>
                    </a:ext>
                  </a:extLst>
                </p:cNvPr>
                <p:cNvSpPr/>
                <p:nvPr/>
              </p:nvSpPr>
              <p:spPr>
                <a:xfrm>
                  <a:off x="1880437"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79" name="Freeform 105">
                  <a:extLst>
                    <a:ext uri="{FF2B5EF4-FFF2-40B4-BE49-F238E27FC236}">
                      <a16:creationId xmlns:a16="http://schemas.microsoft.com/office/drawing/2014/main" id="{691E8EB7-8BB6-49C1-9AA0-04D6B0D50144}"/>
                    </a:ext>
                  </a:extLst>
                </p:cNvPr>
                <p:cNvSpPr/>
                <p:nvPr/>
              </p:nvSpPr>
              <p:spPr>
                <a:xfrm>
                  <a:off x="2003300"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0" name="Freeform 106">
                  <a:extLst>
                    <a:ext uri="{FF2B5EF4-FFF2-40B4-BE49-F238E27FC236}">
                      <a16:creationId xmlns:a16="http://schemas.microsoft.com/office/drawing/2014/main" id="{B28ABA28-DD73-48E0-8E78-A048C472F5A2}"/>
                    </a:ext>
                  </a:extLst>
                </p:cNvPr>
                <p:cNvSpPr/>
                <p:nvPr/>
              </p:nvSpPr>
              <p:spPr>
                <a:xfrm>
                  <a:off x="2022923" y="1637448"/>
                  <a:ext cx="29766" cy="12695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1" name="Freeform 107">
                  <a:extLst>
                    <a:ext uri="{FF2B5EF4-FFF2-40B4-BE49-F238E27FC236}">
                      <a16:creationId xmlns:a16="http://schemas.microsoft.com/office/drawing/2014/main" id="{AE130330-1849-43F9-94DF-4ABA65C413F4}"/>
                    </a:ext>
                  </a:extLst>
                </p:cNvPr>
                <p:cNvSpPr/>
                <p:nvPr/>
              </p:nvSpPr>
              <p:spPr>
                <a:xfrm>
                  <a:off x="2075564" y="1635157"/>
                  <a:ext cx="20685" cy="12355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2" name="Freeform 108">
                  <a:extLst>
                    <a:ext uri="{FF2B5EF4-FFF2-40B4-BE49-F238E27FC236}">
                      <a16:creationId xmlns:a16="http://schemas.microsoft.com/office/drawing/2014/main" id="{39B01C0A-28B7-4688-8662-264CF5ADA583}"/>
                    </a:ext>
                  </a:extLst>
                </p:cNvPr>
                <p:cNvSpPr/>
                <p:nvPr/>
              </p:nvSpPr>
              <p:spPr>
                <a:xfrm>
                  <a:off x="2097770" y="1635157"/>
                  <a:ext cx="26045" cy="129246"/>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3" name="Freeform 109">
                  <a:extLst>
                    <a:ext uri="{FF2B5EF4-FFF2-40B4-BE49-F238E27FC236}">
                      <a16:creationId xmlns:a16="http://schemas.microsoft.com/office/drawing/2014/main" id="{630B921E-D0C8-4D6C-B265-BB1BCFE9B047}"/>
                    </a:ext>
                  </a:extLst>
                </p:cNvPr>
                <p:cNvSpPr/>
                <p:nvPr/>
              </p:nvSpPr>
              <p:spPr>
                <a:xfrm>
                  <a:off x="2152144"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4" name="Freeform 110">
                  <a:extLst>
                    <a:ext uri="{FF2B5EF4-FFF2-40B4-BE49-F238E27FC236}">
                      <a16:creationId xmlns:a16="http://schemas.microsoft.com/office/drawing/2014/main" id="{8522E959-09D4-4978-BD72-F3B91CDC7B18}"/>
                    </a:ext>
                  </a:extLst>
                </p:cNvPr>
                <p:cNvSpPr/>
                <p:nvPr/>
              </p:nvSpPr>
              <p:spPr>
                <a:xfrm>
                  <a:off x="2174545" y="1637447"/>
                  <a:ext cx="19844" cy="12695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5" name="Freeform 111">
                  <a:extLst>
                    <a:ext uri="{FF2B5EF4-FFF2-40B4-BE49-F238E27FC236}">
                      <a16:creationId xmlns:a16="http://schemas.microsoft.com/office/drawing/2014/main" id="{EA5D763F-502F-4D18-9378-51038B53A122}"/>
                    </a:ext>
                  </a:extLst>
                </p:cNvPr>
                <p:cNvSpPr/>
                <p:nvPr/>
              </p:nvSpPr>
              <p:spPr>
                <a:xfrm>
                  <a:off x="2222728" y="1633249"/>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6" name="Freeform 112">
                  <a:extLst>
                    <a:ext uri="{FF2B5EF4-FFF2-40B4-BE49-F238E27FC236}">
                      <a16:creationId xmlns:a16="http://schemas.microsoft.com/office/drawing/2014/main" id="{91C57D03-DFDC-4A85-B85C-50DD8F16DD03}"/>
                    </a:ext>
                  </a:extLst>
                </p:cNvPr>
                <p:cNvSpPr/>
                <p:nvPr/>
              </p:nvSpPr>
              <p:spPr>
                <a:xfrm>
                  <a:off x="2241552" y="1640849"/>
                  <a:ext cx="29766" cy="1235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7" name="Freeform 113">
                  <a:extLst>
                    <a:ext uri="{FF2B5EF4-FFF2-40B4-BE49-F238E27FC236}">
                      <a16:creationId xmlns:a16="http://schemas.microsoft.com/office/drawing/2014/main" id="{65DA1B1B-EBD5-4772-925E-AF62E204D8CB}"/>
                    </a:ext>
                  </a:extLst>
                </p:cNvPr>
                <p:cNvSpPr/>
                <p:nvPr/>
              </p:nvSpPr>
              <p:spPr>
                <a:xfrm>
                  <a:off x="2353314" y="1614093"/>
                  <a:ext cx="29766" cy="148401"/>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8" name="Oval 87">
                  <a:extLst>
                    <a:ext uri="{FF2B5EF4-FFF2-40B4-BE49-F238E27FC236}">
                      <a16:creationId xmlns:a16="http://schemas.microsoft.com/office/drawing/2014/main" id="{998A3777-6218-4F66-8972-08A1C2107EA7}"/>
                    </a:ext>
                  </a:extLst>
                </p:cNvPr>
                <p:cNvSpPr/>
                <p:nvPr/>
              </p:nvSpPr>
              <p:spPr>
                <a:xfrm>
                  <a:off x="2353314"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89" name="Freeform 115">
                  <a:extLst>
                    <a:ext uri="{FF2B5EF4-FFF2-40B4-BE49-F238E27FC236}">
                      <a16:creationId xmlns:a16="http://schemas.microsoft.com/office/drawing/2014/main" id="{33D0A4B5-5215-4FF4-95A5-4D490CE669C3}"/>
                    </a:ext>
                  </a:extLst>
                </p:cNvPr>
                <p:cNvSpPr/>
                <p:nvPr/>
              </p:nvSpPr>
              <p:spPr>
                <a:xfrm>
                  <a:off x="2393510" y="1640849"/>
                  <a:ext cx="30117" cy="12355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0" name="Oval 89">
                  <a:extLst>
                    <a:ext uri="{FF2B5EF4-FFF2-40B4-BE49-F238E27FC236}">
                      <a16:creationId xmlns:a16="http://schemas.microsoft.com/office/drawing/2014/main" id="{25936BB2-6983-403F-99C1-24BF9BB0B856}"/>
                    </a:ext>
                  </a:extLst>
                </p:cNvPr>
                <p:cNvSpPr/>
                <p:nvPr/>
              </p:nvSpPr>
              <p:spPr>
                <a:xfrm>
                  <a:off x="2428384"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1" name="Oval 90">
                  <a:extLst>
                    <a:ext uri="{FF2B5EF4-FFF2-40B4-BE49-F238E27FC236}">
                      <a16:creationId xmlns:a16="http://schemas.microsoft.com/office/drawing/2014/main" id="{C2CE0328-1714-4ABE-B245-2E9734CA4798}"/>
                    </a:ext>
                  </a:extLst>
                </p:cNvPr>
                <p:cNvSpPr/>
                <p:nvPr/>
              </p:nvSpPr>
              <p:spPr>
                <a:xfrm>
                  <a:off x="2283000"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2" name="Oval 91">
                  <a:extLst>
                    <a:ext uri="{FF2B5EF4-FFF2-40B4-BE49-F238E27FC236}">
                      <a16:creationId xmlns:a16="http://schemas.microsoft.com/office/drawing/2014/main" id="{0E3CA54B-7E6F-4DB6-9330-74FDBA46D667}"/>
                    </a:ext>
                  </a:extLst>
                </p:cNvPr>
                <p:cNvSpPr/>
                <p:nvPr/>
              </p:nvSpPr>
              <p:spPr>
                <a:xfrm>
                  <a:off x="2501395"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3" name="Oval 92">
                  <a:extLst>
                    <a:ext uri="{FF2B5EF4-FFF2-40B4-BE49-F238E27FC236}">
                      <a16:creationId xmlns:a16="http://schemas.microsoft.com/office/drawing/2014/main" id="{D7B283DF-13D5-4877-AB48-83AF32BDD814}"/>
                    </a:ext>
                  </a:extLst>
                </p:cNvPr>
                <p:cNvSpPr/>
                <p:nvPr/>
              </p:nvSpPr>
              <p:spPr>
                <a:xfrm>
                  <a:off x="2576700"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4" name="Oval 93">
                  <a:extLst>
                    <a:ext uri="{FF2B5EF4-FFF2-40B4-BE49-F238E27FC236}">
                      <a16:creationId xmlns:a16="http://schemas.microsoft.com/office/drawing/2014/main" id="{EF34CA27-3340-4F98-87BC-7860940E144F}"/>
                    </a:ext>
                  </a:extLst>
                </p:cNvPr>
                <p:cNvSpPr/>
                <p:nvPr/>
              </p:nvSpPr>
              <p:spPr>
                <a:xfrm>
                  <a:off x="2647014"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5" name="Freeform 121">
                  <a:extLst>
                    <a:ext uri="{FF2B5EF4-FFF2-40B4-BE49-F238E27FC236}">
                      <a16:creationId xmlns:a16="http://schemas.microsoft.com/office/drawing/2014/main" id="{F8E2CF1A-4E4A-4819-BE26-CF2BFF65A735}"/>
                    </a:ext>
                  </a:extLst>
                </p:cNvPr>
                <p:cNvSpPr/>
                <p:nvPr/>
              </p:nvSpPr>
              <p:spPr>
                <a:xfrm>
                  <a:off x="2288391" y="1625085"/>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6" name="Freeform 122">
                  <a:extLst>
                    <a:ext uri="{FF2B5EF4-FFF2-40B4-BE49-F238E27FC236}">
                      <a16:creationId xmlns:a16="http://schemas.microsoft.com/office/drawing/2014/main" id="{D6CA2E03-131F-4CD6-A96A-CB0BD0CE9165}"/>
                    </a:ext>
                  </a:extLst>
                </p:cNvPr>
                <p:cNvSpPr/>
                <p:nvPr/>
              </p:nvSpPr>
              <p:spPr>
                <a:xfrm>
                  <a:off x="2326449"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7" name="Freeform 123">
                  <a:extLst>
                    <a:ext uri="{FF2B5EF4-FFF2-40B4-BE49-F238E27FC236}">
                      <a16:creationId xmlns:a16="http://schemas.microsoft.com/office/drawing/2014/main" id="{5C6376FD-A9EA-4A64-88A8-BF952CCD2273}"/>
                    </a:ext>
                  </a:extLst>
                </p:cNvPr>
                <p:cNvSpPr/>
                <p:nvPr/>
              </p:nvSpPr>
              <p:spPr>
                <a:xfrm>
                  <a:off x="2449309"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8" name="Freeform 124">
                  <a:extLst>
                    <a:ext uri="{FF2B5EF4-FFF2-40B4-BE49-F238E27FC236}">
                      <a16:creationId xmlns:a16="http://schemas.microsoft.com/office/drawing/2014/main" id="{6F6BCAED-0DB7-4086-B153-484FDA052111}"/>
                    </a:ext>
                  </a:extLst>
                </p:cNvPr>
                <p:cNvSpPr/>
                <p:nvPr/>
              </p:nvSpPr>
              <p:spPr>
                <a:xfrm>
                  <a:off x="2468933" y="1637448"/>
                  <a:ext cx="29766" cy="12695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99" name="Freeform 125">
                  <a:extLst>
                    <a:ext uri="{FF2B5EF4-FFF2-40B4-BE49-F238E27FC236}">
                      <a16:creationId xmlns:a16="http://schemas.microsoft.com/office/drawing/2014/main" id="{ED219583-14FD-46F9-A992-F4E4B65A94F2}"/>
                    </a:ext>
                  </a:extLst>
                </p:cNvPr>
                <p:cNvSpPr/>
                <p:nvPr/>
              </p:nvSpPr>
              <p:spPr>
                <a:xfrm>
                  <a:off x="2521574" y="1635157"/>
                  <a:ext cx="20685" cy="12355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0" name="Freeform 126">
                  <a:extLst>
                    <a:ext uri="{FF2B5EF4-FFF2-40B4-BE49-F238E27FC236}">
                      <a16:creationId xmlns:a16="http://schemas.microsoft.com/office/drawing/2014/main" id="{F010894E-D909-4113-9AB7-38D21CE86DBE}"/>
                    </a:ext>
                  </a:extLst>
                </p:cNvPr>
                <p:cNvSpPr/>
                <p:nvPr/>
              </p:nvSpPr>
              <p:spPr>
                <a:xfrm>
                  <a:off x="2543781" y="1635157"/>
                  <a:ext cx="26045" cy="129246"/>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1" name="Freeform 127">
                  <a:extLst>
                    <a:ext uri="{FF2B5EF4-FFF2-40B4-BE49-F238E27FC236}">
                      <a16:creationId xmlns:a16="http://schemas.microsoft.com/office/drawing/2014/main" id="{938B39D5-E546-4A97-BADF-87987117BE6C}"/>
                    </a:ext>
                  </a:extLst>
                </p:cNvPr>
                <p:cNvSpPr/>
                <p:nvPr/>
              </p:nvSpPr>
              <p:spPr>
                <a:xfrm>
                  <a:off x="2598155"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2" name="Freeform 128">
                  <a:extLst>
                    <a:ext uri="{FF2B5EF4-FFF2-40B4-BE49-F238E27FC236}">
                      <a16:creationId xmlns:a16="http://schemas.microsoft.com/office/drawing/2014/main" id="{AB1A4451-95DC-410C-ABE6-DE832B901148}"/>
                    </a:ext>
                  </a:extLst>
                </p:cNvPr>
                <p:cNvSpPr/>
                <p:nvPr/>
              </p:nvSpPr>
              <p:spPr>
                <a:xfrm>
                  <a:off x="2620557" y="1637447"/>
                  <a:ext cx="19844" cy="12695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3" name="Freeform 129">
                  <a:extLst>
                    <a:ext uri="{FF2B5EF4-FFF2-40B4-BE49-F238E27FC236}">
                      <a16:creationId xmlns:a16="http://schemas.microsoft.com/office/drawing/2014/main" id="{0BC14799-B6C1-4FA4-AB0C-5946753D2460}"/>
                    </a:ext>
                  </a:extLst>
                </p:cNvPr>
                <p:cNvSpPr/>
                <p:nvPr/>
              </p:nvSpPr>
              <p:spPr>
                <a:xfrm>
                  <a:off x="2668740" y="1633249"/>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4" name="Freeform 130">
                  <a:extLst>
                    <a:ext uri="{FF2B5EF4-FFF2-40B4-BE49-F238E27FC236}">
                      <a16:creationId xmlns:a16="http://schemas.microsoft.com/office/drawing/2014/main" id="{9028522F-01FD-46DD-9EBA-094B34371A8B}"/>
                    </a:ext>
                  </a:extLst>
                </p:cNvPr>
                <p:cNvSpPr/>
                <p:nvPr/>
              </p:nvSpPr>
              <p:spPr>
                <a:xfrm>
                  <a:off x="2687564" y="1640849"/>
                  <a:ext cx="29766" cy="1235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5" name="Oval 104">
                  <a:extLst>
                    <a:ext uri="{FF2B5EF4-FFF2-40B4-BE49-F238E27FC236}">
                      <a16:creationId xmlns:a16="http://schemas.microsoft.com/office/drawing/2014/main" id="{7E8AB3F3-3232-420D-84F2-C542C0AA1D3A}"/>
                    </a:ext>
                  </a:extLst>
                </p:cNvPr>
                <p:cNvSpPr/>
                <p:nvPr/>
              </p:nvSpPr>
              <p:spPr>
                <a:xfrm>
                  <a:off x="2719443"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6" name="Freeform 132">
                  <a:extLst>
                    <a:ext uri="{FF2B5EF4-FFF2-40B4-BE49-F238E27FC236}">
                      <a16:creationId xmlns:a16="http://schemas.microsoft.com/office/drawing/2014/main" id="{76926361-229D-48DF-B957-37A288ABDBDB}"/>
                    </a:ext>
                  </a:extLst>
                </p:cNvPr>
                <p:cNvSpPr/>
                <p:nvPr/>
              </p:nvSpPr>
              <p:spPr>
                <a:xfrm>
                  <a:off x="2724835" y="1625085"/>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7" name="Freeform 133">
                  <a:extLst>
                    <a:ext uri="{FF2B5EF4-FFF2-40B4-BE49-F238E27FC236}">
                      <a16:creationId xmlns:a16="http://schemas.microsoft.com/office/drawing/2014/main" id="{E017BB1B-96A1-403B-84B6-317E9ABE9E10}"/>
                    </a:ext>
                  </a:extLst>
                </p:cNvPr>
                <p:cNvSpPr/>
                <p:nvPr/>
              </p:nvSpPr>
              <p:spPr>
                <a:xfrm>
                  <a:off x="2762891"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8" name="Freeform 134">
                  <a:extLst>
                    <a:ext uri="{FF2B5EF4-FFF2-40B4-BE49-F238E27FC236}">
                      <a16:creationId xmlns:a16="http://schemas.microsoft.com/office/drawing/2014/main" id="{CB3B5A29-9A08-49A4-A215-B22D91CFD3AA}"/>
                    </a:ext>
                  </a:extLst>
                </p:cNvPr>
                <p:cNvSpPr/>
                <p:nvPr/>
              </p:nvSpPr>
              <p:spPr>
                <a:xfrm flipV="1">
                  <a:off x="1907331" y="1782882"/>
                  <a:ext cx="29766" cy="148401"/>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09" name="Oval 108">
                  <a:extLst>
                    <a:ext uri="{FF2B5EF4-FFF2-40B4-BE49-F238E27FC236}">
                      <a16:creationId xmlns:a16="http://schemas.microsoft.com/office/drawing/2014/main" id="{EF33C12E-4BC6-4894-86B0-5DBB737EB852}"/>
                    </a:ext>
                  </a:extLst>
                </p:cNvPr>
                <p:cNvSpPr/>
                <p:nvPr/>
              </p:nvSpPr>
              <p:spPr>
                <a:xfrm flipV="1">
                  <a:off x="1907331"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0" name="Freeform 136">
                  <a:extLst>
                    <a:ext uri="{FF2B5EF4-FFF2-40B4-BE49-F238E27FC236}">
                      <a16:creationId xmlns:a16="http://schemas.microsoft.com/office/drawing/2014/main" id="{A7F34701-543A-4B54-A060-0736222D2E7A}"/>
                    </a:ext>
                  </a:extLst>
                </p:cNvPr>
                <p:cNvSpPr/>
                <p:nvPr/>
              </p:nvSpPr>
              <p:spPr>
                <a:xfrm flipV="1">
                  <a:off x="1947528" y="1780974"/>
                  <a:ext cx="30118" cy="123553"/>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1" name="Oval 110">
                  <a:extLst>
                    <a:ext uri="{FF2B5EF4-FFF2-40B4-BE49-F238E27FC236}">
                      <a16:creationId xmlns:a16="http://schemas.microsoft.com/office/drawing/2014/main" id="{BFB659FD-0026-4BFE-86C9-7F4C7E841111}"/>
                    </a:ext>
                  </a:extLst>
                </p:cNvPr>
                <p:cNvSpPr/>
                <p:nvPr/>
              </p:nvSpPr>
              <p:spPr>
                <a:xfrm flipV="1">
                  <a:off x="1982403"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2" name="Oval 111">
                  <a:extLst>
                    <a:ext uri="{FF2B5EF4-FFF2-40B4-BE49-F238E27FC236}">
                      <a16:creationId xmlns:a16="http://schemas.microsoft.com/office/drawing/2014/main" id="{27FC7646-03DC-4CC6-9FEE-07B7FB412DDC}"/>
                    </a:ext>
                  </a:extLst>
                </p:cNvPr>
                <p:cNvSpPr/>
                <p:nvPr/>
              </p:nvSpPr>
              <p:spPr>
                <a:xfrm flipV="1">
                  <a:off x="1837016"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3" name="Oval 112">
                  <a:extLst>
                    <a:ext uri="{FF2B5EF4-FFF2-40B4-BE49-F238E27FC236}">
                      <a16:creationId xmlns:a16="http://schemas.microsoft.com/office/drawing/2014/main" id="{98DF141D-39DE-4C24-A3B8-682C02A3CEC2}"/>
                    </a:ext>
                  </a:extLst>
                </p:cNvPr>
                <p:cNvSpPr/>
                <p:nvPr/>
              </p:nvSpPr>
              <p:spPr>
                <a:xfrm flipV="1">
                  <a:off x="2055415"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4" name="Oval 113">
                  <a:extLst>
                    <a:ext uri="{FF2B5EF4-FFF2-40B4-BE49-F238E27FC236}">
                      <a16:creationId xmlns:a16="http://schemas.microsoft.com/office/drawing/2014/main" id="{1EE186C1-DA74-41F4-8A2D-AD8A88E1094D}"/>
                    </a:ext>
                  </a:extLst>
                </p:cNvPr>
                <p:cNvSpPr/>
                <p:nvPr/>
              </p:nvSpPr>
              <p:spPr>
                <a:xfrm flipV="1">
                  <a:off x="2130720"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5" name="Oval 114">
                  <a:extLst>
                    <a:ext uri="{FF2B5EF4-FFF2-40B4-BE49-F238E27FC236}">
                      <a16:creationId xmlns:a16="http://schemas.microsoft.com/office/drawing/2014/main" id="{52E7284C-CAA3-456F-AC8D-63B7D2F1A036}"/>
                    </a:ext>
                  </a:extLst>
                </p:cNvPr>
                <p:cNvSpPr/>
                <p:nvPr/>
              </p:nvSpPr>
              <p:spPr>
                <a:xfrm flipV="1">
                  <a:off x="2201035"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6" name="Freeform 142">
                  <a:extLst>
                    <a:ext uri="{FF2B5EF4-FFF2-40B4-BE49-F238E27FC236}">
                      <a16:creationId xmlns:a16="http://schemas.microsoft.com/office/drawing/2014/main" id="{6630AE95-4BA9-4270-8326-EAE3EBF76D7C}"/>
                    </a:ext>
                  </a:extLst>
                </p:cNvPr>
                <p:cNvSpPr/>
                <p:nvPr/>
              </p:nvSpPr>
              <p:spPr>
                <a:xfrm flipV="1">
                  <a:off x="1842407" y="1782883"/>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7" name="Freeform 143">
                  <a:extLst>
                    <a:ext uri="{FF2B5EF4-FFF2-40B4-BE49-F238E27FC236}">
                      <a16:creationId xmlns:a16="http://schemas.microsoft.com/office/drawing/2014/main" id="{ACE77D33-A9BD-4081-ABE0-3C6170908FA0}"/>
                    </a:ext>
                  </a:extLst>
                </p:cNvPr>
                <p:cNvSpPr/>
                <p:nvPr/>
              </p:nvSpPr>
              <p:spPr>
                <a:xfrm flipV="1">
                  <a:off x="1880465"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8" name="Freeform 144">
                  <a:extLst>
                    <a:ext uri="{FF2B5EF4-FFF2-40B4-BE49-F238E27FC236}">
                      <a16:creationId xmlns:a16="http://schemas.microsoft.com/office/drawing/2014/main" id="{22823986-92D7-4191-AA92-263BD4CC4D9B}"/>
                    </a:ext>
                  </a:extLst>
                </p:cNvPr>
                <p:cNvSpPr/>
                <p:nvPr/>
              </p:nvSpPr>
              <p:spPr>
                <a:xfrm flipV="1">
                  <a:off x="2003329"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19" name="Freeform 145">
                  <a:extLst>
                    <a:ext uri="{FF2B5EF4-FFF2-40B4-BE49-F238E27FC236}">
                      <a16:creationId xmlns:a16="http://schemas.microsoft.com/office/drawing/2014/main" id="{1CBA20A5-D1AF-4AC8-A23C-17E48E3186DD}"/>
                    </a:ext>
                  </a:extLst>
                </p:cNvPr>
                <p:cNvSpPr/>
                <p:nvPr/>
              </p:nvSpPr>
              <p:spPr>
                <a:xfrm flipV="1">
                  <a:off x="2022951" y="1780973"/>
                  <a:ext cx="29766" cy="1269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0" name="Freeform 146">
                  <a:extLst>
                    <a:ext uri="{FF2B5EF4-FFF2-40B4-BE49-F238E27FC236}">
                      <a16:creationId xmlns:a16="http://schemas.microsoft.com/office/drawing/2014/main" id="{2532C4C0-BB24-4DF5-9903-77CAC1A4FDD3}"/>
                    </a:ext>
                  </a:extLst>
                </p:cNvPr>
                <p:cNvSpPr/>
                <p:nvPr/>
              </p:nvSpPr>
              <p:spPr>
                <a:xfrm flipV="1">
                  <a:off x="2075593" y="1786666"/>
                  <a:ext cx="20685" cy="123553"/>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1" name="Freeform 147">
                  <a:extLst>
                    <a:ext uri="{FF2B5EF4-FFF2-40B4-BE49-F238E27FC236}">
                      <a16:creationId xmlns:a16="http://schemas.microsoft.com/office/drawing/2014/main" id="{C0C4F2C9-45A5-405C-ADD8-1A306F393CC0}"/>
                    </a:ext>
                  </a:extLst>
                </p:cNvPr>
                <p:cNvSpPr/>
                <p:nvPr/>
              </p:nvSpPr>
              <p:spPr>
                <a:xfrm flipV="1">
                  <a:off x="2097800" y="1780974"/>
                  <a:ext cx="26046" cy="129245"/>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2" name="Freeform 148">
                  <a:extLst>
                    <a:ext uri="{FF2B5EF4-FFF2-40B4-BE49-F238E27FC236}">
                      <a16:creationId xmlns:a16="http://schemas.microsoft.com/office/drawing/2014/main" id="{3AF3F634-9E98-4AFF-AF41-A7BAC81B4DF9}"/>
                    </a:ext>
                  </a:extLst>
                </p:cNvPr>
                <p:cNvSpPr/>
                <p:nvPr/>
              </p:nvSpPr>
              <p:spPr>
                <a:xfrm flipV="1">
                  <a:off x="2152175"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3" name="Freeform 149">
                  <a:extLst>
                    <a:ext uri="{FF2B5EF4-FFF2-40B4-BE49-F238E27FC236}">
                      <a16:creationId xmlns:a16="http://schemas.microsoft.com/office/drawing/2014/main" id="{51CF4D61-A76E-4143-90E9-7739CC632799}"/>
                    </a:ext>
                  </a:extLst>
                </p:cNvPr>
                <p:cNvSpPr/>
                <p:nvPr/>
              </p:nvSpPr>
              <p:spPr>
                <a:xfrm flipV="1">
                  <a:off x="2174577" y="1780974"/>
                  <a:ext cx="19844" cy="1269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4" name="Freeform 150">
                  <a:extLst>
                    <a:ext uri="{FF2B5EF4-FFF2-40B4-BE49-F238E27FC236}">
                      <a16:creationId xmlns:a16="http://schemas.microsoft.com/office/drawing/2014/main" id="{0AC674E4-F664-4A55-BD95-5CDE0B385CEF}"/>
                    </a:ext>
                  </a:extLst>
                </p:cNvPr>
                <p:cNvSpPr/>
                <p:nvPr/>
              </p:nvSpPr>
              <p:spPr>
                <a:xfrm flipV="1">
                  <a:off x="2222760" y="1782882"/>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5" name="Freeform 151">
                  <a:extLst>
                    <a:ext uri="{FF2B5EF4-FFF2-40B4-BE49-F238E27FC236}">
                      <a16:creationId xmlns:a16="http://schemas.microsoft.com/office/drawing/2014/main" id="{426A718E-1E18-4935-BE05-72EA18989298}"/>
                    </a:ext>
                  </a:extLst>
                </p:cNvPr>
                <p:cNvSpPr/>
                <p:nvPr/>
              </p:nvSpPr>
              <p:spPr>
                <a:xfrm flipV="1">
                  <a:off x="2241584" y="1780973"/>
                  <a:ext cx="29766" cy="123554"/>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6" name="Freeform 152">
                  <a:extLst>
                    <a:ext uri="{FF2B5EF4-FFF2-40B4-BE49-F238E27FC236}">
                      <a16:creationId xmlns:a16="http://schemas.microsoft.com/office/drawing/2014/main" id="{295DC09C-896B-409E-BA60-BC0702447FBF}"/>
                    </a:ext>
                  </a:extLst>
                </p:cNvPr>
                <p:cNvSpPr/>
                <p:nvPr/>
              </p:nvSpPr>
              <p:spPr>
                <a:xfrm flipV="1">
                  <a:off x="2353347" y="1782882"/>
                  <a:ext cx="29766" cy="148401"/>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7" name="Oval 126">
                  <a:extLst>
                    <a:ext uri="{FF2B5EF4-FFF2-40B4-BE49-F238E27FC236}">
                      <a16:creationId xmlns:a16="http://schemas.microsoft.com/office/drawing/2014/main" id="{059A2B9D-78A2-4C54-AC51-B439E1CC7D5E}"/>
                    </a:ext>
                  </a:extLst>
                </p:cNvPr>
                <p:cNvSpPr/>
                <p:nvPr/>
              </p:nvSpPr>
              <p:spPr>
                <a:xfrm flipV="1">
                  <a:off x="2353347"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8" name="Freeform 154">
                  <a:extLst>
                    <a:ext uri="{FF2B5EF4-FFF2-40B4-BE49-F238E27FC236}">
                      <a16:creationId xmlns:a16="http://schemas.microsoft.com/office/drawing/2014/main" id="{2C33266D-0002-40C9-8485-7E4225FCAD70}"/>
                    </a:ext>
                  </a:extLst>
                </p:cNvPr>
                <p:cNvSpPr/>
                <p:nvPr/>
              </p:nvSpPr>
              <p:spPr>
                <a:xfrm flipV="1">
                  <a:off x="2393544" y="1780974"/>
                  <a:ext cx="30118" cy="123553"/>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29" name="Oval 128">
                  <a:extLst>
                    <a:ext uri="{FF2B5EF4-FFF2-40B4-BE49-F238E27FC236}">
                      <a16:creationId xmlns:a16="http://schemas.microsoft.com/office/drawing/2014/main" id="{6699FF36-B9D3-4DA8-A88B-9DEC744F0B4C}"/>
                    </a:ext>
                  </a:extLst>
                </p:cNvPr>
                <p:cNvSpPr/>
                <p:nvPr/>
              </p:nvSpPr>
              <p:spPr>
                <a:xfrm flipV="1">
                  <a:off x="2428419"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0" name="Oval 129">
                  <a:extLst>
                    <a:ext uri="{FF2B5EF4-FFF2-40B4-BE49-F238E27FC236}">
                      <a16:creationId xmlns:a16="http://schemas.microsoft.com/office/drawing/2014/main" id="{6DC96834-E724-4621-8E3A-F7793F82F02D}"/>
                    </a:ext>
                  </a:extLst>
                </p:cNvPr>
                <p:cNvSpPr/>
                <p:nvPr/>
              </p:nvSpPr>
              <p:spPr>
                <a:xfrm flipV="1">
                  <a:off x="2283032"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1" name="Oval 130">
                  <a:extLst>
                    <a:ext uri="{FF2B5EF4-FFF2-40B4-BE49-F238E27FC236}">
                      <a16:creationId xmlns:a16="http://schemas.microsoft.com/office/drawing/2014/main" id="{FFCADA30-B898-4694-931C-7BDC1C20B06B}"/>
                    </a:ext>
                  </a:extLst>
                </p:cNvPr>
                <p:cNvSpPr/>
                <p:nvPr/>
              </p:nvSpPr>
              <p:spPr>
                <a:xfrm flipV="1">
                  <a:off x="2501431"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2" name="Oval 131">
                  <a:extLst>
                    <a:ext uri="{FF2B5EF4-FFF2-40B4-BE49-F238E27FC236}">
                      <a16:creationId xmlns:a16="http://schemas.microsoft.com/office/drawing/2014/main" id="{4E818492-394E-4D92-8E07-B0F6A63DBDA6}"/>
                    </a:ext>
                  </a:extLst>
                </p:cNvPr>
                <p:cNvSpPr/>
                <p:nvPr/>
              </p:nvSpPr>
              <p:spPr>
                <a:xfrm flipV="1">
                  <a:off x="2576736"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3" name="Oval 132">
                  <a:extLst>
                    <a:ext uri="{FF2B5EF4-FFF2-40B4-BE49-F238E27FC236}">
                      <a16:creationId xmlns:a16="http://schemas.microsoft.com/office/drawing/2014/main" id="{489C4B39-07D5-44D9-ADEF-53B61069FB23}"/>
                    </a:ext>
                  </a:extLst>
                </p:cNvPr>
                <p:cNvSpPr/>
                <p:nvPr/>
              </p:nvSpPr>
              <p:spPr>
                <a:xfrm flipV="1">
                  <a:off x="2647051"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4" name="Freeform 160">
                  <a:extLst>
                    <a:ext uri="{FF2B5EF4-FFF2-40B4-BE49-F238E27FC236}">
                      <a16:creationId xmlns:a16="http://schemas.microsoft.com/office/drawing/2014/main" id="{5BDFB55E-B5FE-42A3-98FC-444DF51B3580}"/>
                    </a:ext>
                  </a:extLst>
                </p:cNvPr>
                <p:cNvSpPr/>
                <p:nvPr/>
              </p:nvSpPr>
              <p:spPr>
                <a:xfrm flipV="1">
                  <a:off x="2288423" y="1782883"/>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5" name="Freeform 161">
                  <a:extLst>
                    <a:ext uri="{FF2B5EF4-FFF2-40B4-BE49-F238E27FC236}">
                      <a16:creationId xmlns:a16="http://schemas.microsoft.com/office/drawing/2014/main" id="{B43B4F6C-6DB4-4B20-8E4A-3FFB59F5822D}"/>
                    </a:ext>
                  </a:extLst>
                </p:cNvPr>
                <p:cNvSpPr/>
                <p:nvPr/>
              </p:nvSpPr>
              <p:spPr>
                <a:xfrm flipV="1">
                  <a:off x="2326481"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6" name="Freeform 162">
                  <a:extLst>
                    <a:ext uri="{FF2B5EF4-FFF2-40B4-BE49-F238E27FC236}">
                      <a16:creationId xmlns:a16="http://schemas.microsoft.com/office/drawing/2014/main" id="{9213EE3F-EA01-4842-BC34-9BF55E82DD27}"/>
                    </a:ext>
                  </a:extLst>
                </p:cNvPr>
                <p:cNvSpPr/>
                <p:nvPr/>
              </p:nvSpPr>
              <p:spPr>
                <a:xfrm flipV="1">
                  <a:off x="2449345"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7" name="Freeform 163">
                  <a:extLst>
                    <a:ext uri="{FF2B5EF4-FFF2-40B4-BE49-F238E27FC236}">
                      <a16:creationId xmlns:a16="http://schemas.microsoft.com/office/drawing/2014/main" id="{18D712B6-A65D-4F5C-A61C-F0E2C96AF458}"/>
                    </a:ext>
                  </a:extLst>
                </p:cNvPr>
                <p:cNvSpPr/>
                <p:nvPr/>
              </p:nvSpPr>
              <p:spPr>
                <a:xfrm flipV="1">
                  <a:off x="2468967" y="1780973"/>
                  <a:ext cx="29766" cy="1269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8" name="Freeform 164">
                  <a:extLst>
                    <a:ext uri="{FF2B5EF4-FFF2-40B4-BE49-F238E27FC236}">
                      <a16:creationId xmlns:a16="http://schemas.microsoft.com/office/drawing/2014/main" id="{CD906DD2-0A26-49CB-9F2E-B9DDDCF728FA}"/>
                    </a:ext>
                  </a:extLst>
                </p:cNvPr>
                <p:cNvSpPr/>
                <p:nvPr/>
              </p:nvSpPr>
              <p:spPr>
                <a:xfrm flipV="1">
                  <a:off x="2521609" y="1786666"/>
                  <a:ext cx="20685" cy="123553"/>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39" name="Freeform 165">
                  <a:extLst>
                    <a:ext uri="{FF2B5EF4-FFF2-40B4-BE49-F238E27FC236}">
                      <a16:creationId xmlns:a16="http://schemas.microsoft.com/office/drawing/2014/main" id="{54C4AFA0-D117-4F54-8AF0-89C889A719D1}"/>
                    </a:ext>
                  </a:extLst>
                </p:cNvPr>
                <p:cNvSpPr/>
                <p:nvPr/>
              </p:nvSpPr>
              <p:spPr>
                <a:xfrm flipV="1">
                  <a:off x="2543816" y="1780974"/>
                  <a:ext cx="26046" cy="129245"/>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0" name="Freeform 166">
                  <a:extLst>
                    <a:ext uri="{FF2B5EF4-FFF2-40B4-BE49-F238E27FC236}">
                      <a16:creationId xmlns:a16="http://schemas.microsoft.com/office/drawing/2014/main" id="{FF682625-CC50-4A68-BE88-BEF19CB41181}"/>
                    </a:ext>
                  </a:extLst>
                </p:cNvPr>
                <p:cNvSpPr/>
                <p:nvPr/>
              </p:nvSpPr>
              <p:spPr>
                <a:xfrm flipV="1">
                  <a:off x="2598191"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1" name="Freeform 167">
                  <a:extLst>
                    <a:ext uri="{FF2B5EF4-FFF2-40B4-BE49-F238E27FC236}">
                      <a16:creationId xmlns:a16="http://schemas.microsoft.com/office/drawing/2014/main" id="{F3F27716-DC68-4B2E-86BF-D45AFFF94C79}"/>
                    </a:ext>
                  </a:extLst>
                </p:cNvPr>
                <p:cNvSpPr/>
                <p:nvPr/>
              </p:nvSpPr>
              <p:spPr>
                <a:xfrm flipV="1">
                  <a:off x="2620593" y="1780974"/>
                  <a:ext cx="19844" cy="1269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2" name="Freeform 168">
                  <a:extLst>
                    <a:ext uri="{FF2B5EF4-FFF2-40B4-BE49-F238E27FC236}">
                      <a16:creationId xmlns:a16="http://schemas.microsoft.com/office/drawing/2014/main" id="{E5D745CF-BE98-40AF-8F6B-846C573C8F7B}"/>
                    </a:ext>
                  </a:extLst>
                </p:cNvPr>
                <p:cNvSpPr/>
                <p:nvPr/>
              </p:nvSpPr>
              <p:spPr>
                <a:xfrm flipV="1">
                  <a:off x="2668776" y="1782882"/>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3" name="Freeform 169">
                  <a:extLst>
                    <a:ext uri="{FF2B5EF4-FFF2-40B4-BE49-F238E27FC236}">
                      <a16:creationId xmlns:a16="http://schemas.microsoft.com/office/drawing/2014/main" id="{2EEB663D-5AFF-4688-A052-2DCA4AF66DC7}"/>
                    </a:ext>
                  </a:extLst>
                </p:cNvPr>
                <p:cNvSpPr/>
                <p:nvPr/>
              </p:nvSpPr>
              <p:spPr>
                <a:xfrm flipV="1">
                  <a:off x="2687600" y="1780973"/>
                  <a:ext cx="29766" cy="123554"/>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4" name="Oval 143">
                  <a:extLst>
                    <a:ext uri="{FF2B5EF4-FFF2-40B4-BE49-F238E27FC236}">
                      <a16:creationId xmlns:a16="http://schemas.microsoft.com/office/drawing/2014/main" id="{8F3D14C1-4F97-49E5-983D-AA26DBC7E89F}"/>
                    </a:ext>
                  </a:extLst>
                </p:cNvPr>
                <p:cNvSpPr/>
                <p:nvPr/>
              </p:nvSpPr>
              <p:spPr>
                <a:xfrm flipV="1">
                  <a:off x="2719480"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5" name="Freeform 171">
                  <a:extLst>
                    <a:ext uri="{FF2B5EF4-FFF2-40B4-BE49-F238E27FC236}">
                      <a16:creationId xmlns:a16="http://schemas.microsoft.com/office/drawing/2014/main" id="{EA21E822-C4BE-4879-876E-51746BE97259}"/>
                    </a:ext>
                  </a:extLst>
                </p:cNvPr>
                <p:cNvSpPr/>
                <p:nvPr/>
              </p:nvSpPr>
              <p:spPr>
                <a:xfrm flipV="1">
                  <a:off x="2724871" y="1782883"/>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sp>
              <p:nvSpPr>
                <p:cNvPr id="146" name="Freeform 172">
                  <a:extLst>
                    <a:ext uri="{FF2B5EF4-FFF2-40B4-BE49-F238E27FC236}">
                      <a16:creationId xmlns:a16="http://schemas.microsoft.com/office/drawing/2014/main" id="{CC5E9747-B180-4A52-BCD5-9ADA754B01D7}"/>
                    </a:ext>
                  </a:extLst>
                </p:cNvPr>
                <p:cNvSpPr/>
                <p:nvPr/>
              </p:nvSpPr>
              <p:spPr>
                <a:xfrm flipV="1">
                  <a:off x="2762929"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endParaRPr>
                </a:p>
              </p:txBody>
            </p:sp>
          </p:grpSp>
          <p:sp>
            <p:nvSpPr>
              <p:cNvPr id="37" name="TextBox 36">
                <a:extLst>
                  <a:ext uri="{FF2B5EF4-FFF2-40B4-BE49-F238E27FC236}">
                    <a16:creationId xmlns:a16="http://schemas.microsoft.com/office/drawing/2014/main" id="{BE1B890E-04E6-4E48-94D6-C1BBA7EB5A86}"/>
                  </a:ext>
                </a:extLst>
              </p:cNvPr>
              <p:cNvSpPr txBox="1"/>
              <p:nvPr/>
            </p:nvSpPr>
            <p:spPr>
              <a:xfrm>
                <a:off x="9752137" y="2381854"/>
                <a:ext cx="1626214"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itchFamily="34" charset="0"/>
                  </a:rPr>
                  <a:t>Cell membrane</a:t>
                </a:r>
              </a:p>
            </p:txBody>
          </p:sp>
          <p:sp>
            <p:nvSpPr>
              <p:cNvPr id="38" name="TextBox 37">
                <a:extLst>
                  <a:ext uri="{FF2B5EF4-FFF2-40B4-BE49-F238E27FC236}">
                    <a16:creationId xmlns:a16="http://schemas.microsoft.com/office/drawing/2014/main" id="{76F0BB5B-8BE2-4689-803F-B5E97037C313}"/>
                  </a:ext>
                </a:extLst>
              </p:cNvPr>
              <p:cNvSpPr txBox="1"/>
              <p:nvPr/>
            </p:nvSpPr>
            <p:spPr>
              <a:xfrm>
                <a:off x="9752137" y="2974416"/>
                <a:ext cx="1626214"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itchFamily="34" charset="0"/>
                  </a:rPr>
                  <a:t>Cytoplasm</a:t>
                </a:r>
              </a:p>
            </p:txBody>
          </p:sp>
          <p:sp>
            <p:nvSpPr>
              <p:cNvPr id="39" name="TextBox 38">
                <a:extLst>
                  <a:ext uri="{FF2B5EF4-FFF2-40B4-BE49-F238E27FC236}">
                    <a16:creationId xmlns:a16="http://schemas.microsoft.com/office/drawing/2014/main" id="{05C7A6AE-E98F-48CD-9BC4-0C5BF0F6AD0D}"/>
                  </a:ext>
                </a:extLst>
              </p:cNvPr>
              <p:cNvSpPr txBox="1"/>
              <p:nvPr/>
            </p:nvSpPr>
            <p:spPr>
              <a:xfrm>
                <a:off x="8726820" y="3176835"/>
                <a:ext cx="1443102" cy="430887"/>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3F3F3F"/>
                    </a:solidFill>
                    <a:effectLst/>
                    <a:uLnTx/>
                    <a:uFillTx/>
                    <a:latin typeface="Verdana" panose="020B0604030504040204" pitchFamily="34" charset="0"/>
                    <a:ea typeface="Verdana" panose="020B0604030504040204" pitchFamily="34" charset="0"/>
                    <a:cs typeface="+mn-cs"/>
                  </a:rPr>
                  <a:t>PI3K/</a:t>
                </a:r>
                <a:br>
                  <a:rPr kumimoji="0" lang="en-GB" sz="1100" b="1" i="0" u="none" strike="noStrike" kern="1200" cap="none" spc="0" normalizeH="0" baseline="0" noProof="0">
                    <a:ln>
                      <a:noFill/>
                    </a:ln>
                    <a:solidFill>
                      <a:srgbClr val="3F3F3F"/>
                    </a:solidFill>
                    <a:effectLst/>
                    <a:uLnTx/>
                    <a:uFillTx/>
                    <a:latin typeface="Verdana" panose="020B0604030504040204" pitchFamily="34" charset="0"/>
                    <a:ea typeface="Verdana" panose="020B0604030504040204" pitchFamily="34" charset="0"/>
                    <a:cs typeface="+mn-cs"/>
                  </a:rPr>
                </a:br>
                <a:r>
                  <a:rPr kumimoji="0" lang="en-GB" sz="1100" b="1" i="0" u="none" strike="noStrike" kern="1200" cap="none" spc="0" normalizeH="0" baseline="0" noProof="0">
                    <a:ln>
                      <a:noFill/>
                    </a:ln>
                    <a:solidFill>
                      <a:srgbClr val="3F3F3F"/>
                    </a:solidFill>
                    <a:effectLst/>
                    <a:uLnTx/>
                    <a:uFillTx/>
                    <a:latin typeface="Verdana" panose="020B0604030504040204" pitchFamily="34" charset="0"/>
                    <a:ea typeface="Verdana" panose="020B0604030504040204" pitchFamily="34" charset="0"/>
                    <a:cs typeface="+mn-cs"/>
                  </a:rPr>
                  <a:t>AKT/mTOR</a:t>
                </a:r>
                <a:endParaRPr kumimoji="0" lang="en-GB" sz="11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Arial" pitchFamily="34" charset="0"/>
                </a:endParaRPr>
              </a:p>
            </p:txBody>
          </p:sp>
          <p:grpSp>
            <p:nvGrpSpPr>
              <p:cNvPr id="40" name="Group 39">
                <a:extLst>
                  <a:ext uri="{FF2B5EF4-FFF2-40B4-BE49-F238E27FC236}">
                    <a16:creationId xmlns:a16="http://schemas.microsoft.com/office/drawing/2014/main" id="{3CBAC4F8-6292-4EB7-B3EA-0B1C3E834F74}"/>
                  </a:ext>
                </a:extLst>
              </p:cNvPr>
              <p:cNvGrpSpPr/>
              <p:nvPr/>
            </p:nvGrpSpPr>
            <p:grpSpPr>
              <a:xfrm>
                <a:off x="6833863" y="2085598"/>
                <a:ext cx="692345" cy="1360413"/>
                <a:chOff x="4279550" y="1746253"/>
                <a:chExt cx="692345" cy="1360413"/>
              </a:xfrm>
            </p:grpSpPr>
            <p:grpSp>
              <p:nvGrpSpPr>
                <p:cNvPr id="48" name="Group 47">
                  <a:extLst>
                    <a:ext uri="{FF2B5EF4-FFF2-40B4-BE49-F238E27FC236}">
                      <a16:creationId xmlns:a16="http://schemas.microsoft.com/office/drawing/2014/main" id="{B809C8AC-EE3D-4640-B49A-EB73CE8D4128}"/>
                    </a:ext>
                  </a:extLst>
                </p:cNvPr>
                <p:cNvGrpSpPr/>
                <p:nvPr/>
              </p:nvGrpSpPr>
              <p:grpSpPr>
                <a:xfrm>
                  <a:off x="4279550" y="1746253"/>
                  <a:ext cx="299420" cy="1360413"/>
                  <a:chOff x="4279550" y="1746253"/>
                  <a:chExt cx="299420" cy="1360413"/>
                </a:xfrm>
              </p:grpSpPr>
              <p:grpSp>
                <p:nvGrpSpPr>
                  <p:cNvPr id="59" name="Group 58">
                    <a:extLst>
                      <a:ext uri="{FF2B5EF4-FFF2-40B4-BE49-F238E27FC236}">
                        <a16:creationId xmlns:a16="http://schemas.microsoft.com/office/drawing/2014/main" id="{11404231-D251-409A-8C8D-78BFF5D84294}"/>
                      </a:ext>
                    </a:extLst>
                  </p:cNvPr>
                  <p:cNvGrpSpPr/>
                  <p:nvPr/>
                </p:nvGrpSpPr>
                <p:grpSpPr>
                  <a:xfrm>
                    <a:off x="4427194" y="2653407"/>
                    <a:ext cx="151776" cy="453259"/>
                    <a:chOff x="4427194" y="2311143"/>
                    <a:chExt cx="151776" cy="665281"/>
                  </a:xfrm>
                </p:grpSpPr>
                <p:sp>
                  <p:nvSpPr>
                    <p:cNvPr id="65" name="Can 584">
                      <a:extLst>
                        <a:ext uri="{FF2B5EF4-FFF2-40B4-BE49-F238E27FC236}">
                          <a16:creationId xmlns:a16="http://schemas.microsoft.com/office/drawing/2014/main" id="{A71382A0-9A55-4A9F-85FC-FC83A8C27F38}"/>
                        </a:ext>
                      </a:extLst>
                    </p:cNvPr>
                    <p:cNvSpPr/>
                    <p:nvPr/>
                  </p:nvSpPr>
                  <p:spPr>
                    <a:xfrm>
                      <a:off x="4427194" y="2692774"/>
                      <a:ext cx="151776" cy="283650"/>
                    </a:xfrm>
                    <a:prstGeom prst="can">
                      <a:avLst/>
                    </a:prstGeom>
                    <a:solidFill>
                      <a:srgbClr val="0070C0"/>
                    </a:solidFill>
                    <a:ln>
                      <a:solidFill>
                        <a:srgbClr val="0034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cxnSp>
                  <p:nvCxnSpPr>
                    <p:cNvPr id="66" name="Straight Connector 65">
                      <a:extLst>
                        <a:ext uri="{FF2B5EF4-FFF2-40B4-BE49-F238E27FC236}">
                          <a16:creationId xmlns:a16="http://schemas.microsoft.com/office/drawing/2014/main" id="{DA85C792-D5D7-4DEB-8326-2305B47FA836}"/>
                        </a:ext>
                      </a:extLst>
                    </p:cNvPr>
                    <p:cNvCxnSpPr>
                      <a:cxnSpLocks/>
                    </p:cNvCxnSpPr>
                    <p:nvPr/>
                  </p:nvCxnSpPr>
                  <p:spPr bwMode="auto">
                    <a:xfrm>
                      <a:off x="4503082" y="2548125"/>
                      <a:ext cx="0" cy="156702"/>
                    </a:xfrm>
                    <a:prstGeom prst="line">
                      <a:avLst/>
                    </a:prstGeom>
                    <a:solidFill>
                      <a:srgbClr val="C0C0C0"/>
                    </a:solidFill>
                    <a:ln w="28575" cap="rnd" cmpd="sng" algn="ctr">
                      <a:solidFill>
                        <a:srgbClr val="003479"/>
                      </a:solidFill>
                      <a:prstDash val="solid"/>
                      <a:round/>
                      <a:headEnd type="none" w="med" len="med"/>
                      <a:tailEnd type="none" w="med" len="med"/>
                    </a:ln>
                    <a:effectLst/>
                  </p:spPr>
                </p:cxnSp>
                <p:sp>
                  <p:nvSpPr>
                    <p:cNvPr id="67" name="Can 584">
                      <a:extLst>
                        <a:ext uri="{FF2B5EF4-FFF2-40B4-BE49-F238E27FC236}">
                          <a16:creationId xmlns:a16="http://schemas.microsoft.com/office/drawing/2014/main" id="{470F10DA-7D5B-4B25-B9EC-527CBBB87382}"/>
                        </a:ext>
                      </a:extLst>
                    </p:cNvPr>
                    <p:cNvSpPr/>
                    <p:nvPr/>
                  </p:nvSpPr>
                  <p:spPr>
                    <a:xfrm>
                      <a:off x="4427194" y="2311143"/>
                      <a:ext cx="151776" cy="283650"/>
                    </a:xfrm>
                    <a:prstGeom prst="can">
                      <a:avLst/>
                    </a:prstGeom>
                    <a:solidFill>
                      <a:srgbClr val="0070C0"/>
                    </a:solidFill>
                    <a:ln>
                      <a:solidFill>
                        <a:srgbClr val="0034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cxnSp>
                <p:nvCxnSpPr>
                  <p:cNvPr id="60" name="Straight Connector 59">
                    <a:extLst>
                      <a:ext uri="{FF2B5EF4-FFF2-40B4-BE49-F238E27FC236}">
                        <a16:creationId xmlns:a16="http://schemas.microsoft.com/office/drawing/2014/main" id="{72B0673B-79EC-463B-B813-EDA621000412}"/>
                      </a:ext>
                    </a:extLst>
                  </p:cNvPr>
                  <p:cNvCxnSpPr>
                    <a:cxnSpLocks/>
                    <a:endCxn id="67" idx="1"/>
                  </p:cNvCxnSpPr>
                  <p:nvPr/>
                </p:nvCxnSpPr>
                <p:spPr bwMode="auto">
                  <a:xfrm>
                    <a:off x="4501503" y="1958696"/>
                    <a:ext cx="1579" cy="694707"/>
                  </a:xfrm>
                  <a:prstGeom prst="line">
                    <a:avLst/>
                  </a:prstGeom>
                  <a:solidFill>
                    <a:srgbClr val="C0C0C0"/>
                  </a:solidFill>
                  <a:ln w="28575" cap="rnd" cmpd="sng" algn="ctr">
                    <a:solidFill>
                      <a:srgbClr val="003479"/>
                    </a:solidFill>
                    <a:prstDash val="solid"/>
                    <a:round/>
                    <a:headEnd type="none" w="med" len="med"/>
                    <a:tailEnd type="none" w="med" len="med"/>
                  </a:ln>
                  <a:effectLst/>
                </p:spPr>
              </p:cxnSp>
              <p:cxnSp>
                <p:nvCxnSpPr>
                  <p:cNvPr id="61" name="Straight Connector 60">
                    <a:extLst>
                      <a:ext uri="{FF2B5EF4-FFF2-40B4-BE49-F238E27FC236}">
                        <a16:creationId xmlns:a16="http://schemas.microsoft.com/office/drawing/2014/main" id="{9C1420AD-0A7E-4AD1-86B8-F342BE6AD700}"/>
                      </a:ext>
                    </a:extLst>
                  </p:cNvPr>
                  <p:cNvCxnSpPr>
                    <a:cxnSpLocks/>
                  </p:cNvCxnSpPr>
                  <p:nvPr/>
                </p:nvCxnSpPr>
                <p:spPr bwMode="auto">
                  <a:xfrm rot="18900000">
                    <a:off x="4418146" y="1752677"/>
                    <a:ext cx="0" cy="241447"/>
                  </a:xfrm>
                  <a:prstGeom prst="line">
                    <a:avLst/>
                  </a:prstGeom>
                  <a:solidFill>
                    <a:srgbClr val="C0C0C0"/>
                  </a:solidFill>
                  <a:ln w="28575" cap="rnd" cmpd="sng" algn="ctr">
                    <a:solidFill>
                      <a:srgbClr val="003479"/>
                    </a:solidFill>
                    <a:prstDash val="solid"/>
                    <a:round/>
                    <a:headEnd type="none" w="med" len="med"/>
                    <a:tailEnd type="none" w="med" len="med"/>
                  </a:ln>
                  <a:effectLst/>
                </p:spPr>
              </p:cxnSp>
              <p:sp>
                <p:nvSpPr>
                  <p:cNvPr id="62" name="Oval 61">
                    <a:extLst>
                      <a:ext uri="{FF2B5EF4-FFF2-40B4-BE49-F238E27FC236}">
                        <a16:creationId xmlns:a16="http://schemas.microsoft.com/office/drawing/2014/main" id="{266BB8DA-256A-4606-B8A9-EE2DE15B37C0}"/>
                      </a:ext>
                    </a:extLst>
                  </p:cNvPr>
                  <p:cNvSpPr/>
                  <p:nvPr/>
                </p:nvSpPr>
                <p:spPr bwMode="auto">
                  <a:xfrm>
                    <a:off x="4279550" y="1746253"/>
                    <a:ext cx="103498" cy="103498"/>
                  </a:xfrm>
                  <a:prstGeom prst="ellipse">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63" name="Oval 62">
                    <a:extLst>
                      <a:ext uri="{FF2B5EF4-FFF2-40B4-BE49-F238E27FC236}">
                        <a16:creationId xmlns:a16="http://schemas.microsoft.com/office/drawing/2014/main" id="{A5D0A8E9-FDA4-45A7-9EB9-EAB73C3E2577}"/>
                      </a:ext>
                    </a:extLst>
                  </p:cNvPr>
                  <p:cNvSpPr/>
                  <p:nvPr/>
                </p:nvSpPr>
                <p:spPr bwMode="auto">
                  <a:xfrm>
                    <a:off x="4449754" y="1906639"/>
                    <a:ext cx="103498" cy="103498"/>
                  </a:xfrm>
                  <a:prstGeom prst="ellipse">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64" name="Oval 63">
                    <a:extLst>
                      <a:ext uri="{FF2B5EF4-FFF2-40B4-BE49-F238E27FC236}">
                        <a16:creationId xmlns:a16="http://schemas.microsoft.com/office/drawing/2014/main" id="{6473B141-12EB-4BEC-A48A-F6E148CB0BF8}"/>
                      </a:ext>
                    </a:extLst>
                  </p:cNvPr>
                  <p:cNvSpPr/>
                  <p:nvPr/>
                </p:nvSpPr>
                <p:spPr bwMode="auto">
                  <a:xfrm>
                    <a:off x="4449754" y="2123718"/>
                    <a:ext cx="103498" cy="103498"/>
                  </a:xfrm>
                  <a:prstGeom prst="ellipse">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grpSp>
            <p:grpSp>
              <p:nvGrpSpPr>
                <p:cNvPr id="49" name="Group 48">
                  <a:extLst>
                    <a:ext uri="{FF2B5EF4-FFF2-40B4-BE49-F238E27FC236}">
                      <a16:creationId xmlns:a16="http://schemas.microsoft.com/office/drawing/2014/main" id="{AF9B0A8B-08A5-48E1-ACBC-D5ACB2A67E4E}"/>
                    </a:ext>
                  </a:extLst>
                </p:cNvPr>
                <p:cNvGrpSpPr/>
                <p:nvPr/>
              </p:nvGrpSpPr>
              <p:grpSpPr>
                <a:xfrm flipH="1">
                  <a:off x="4672475" y="1746253"/>
                  <a:ext cx="299420" cy="1360413"/>
                  <a:chOff x="4279550" y="1746253"/>
                  <a:chExt cx="299420" cy="1360413"/>
                </a:xfrm>
              </p:grpSpPr>
              <p:grpSp>
                <p:nvGrpSpPr>
                  <p:cNvPr id="50" name="Group 49">
                    <a:extLst>
                      <a:ext uri="{FF2B5EF4-FFF2-40B4-BE49-F238E27FC236}">
                        <a16:creationId xmlns:a16="http://schemas.microsoft.com/office/drawing/2014/main" id="{32695706-98AB-4CB8-BF1B-DC5BAB00F043}"/>
                      </a:ext>
                    </a:extLst>
                  </p:cNvPr>
                  <p:cNvGrpSpPr/>
                  <p:nvPr/>
                </p:nvGrpSpPr>
                <p:grpSpPr>
                  <a:xfrm>
                    <a:off x="4427194" y="2653407"/>
                    <a:ext cx="151776" cy="453259"/>
                    <a:chOff x="4427194" y="2311143"/>
                    <a:chExt cx="151776" cy="665281"/>
                  </a:xfrm>
                </p:grpSpPr>
                <p:sp>
                  <p:nvSpPr>
                    <p:cNvPr id="56" name="Can 584">
                      <a:extLst>
                        <a:ext uri="{FF2B5EF4-FFF2-40B4-BE49-F238E27FC236}">
                          <a16:creationId xmlns:a16="http://schemas.microsoft.com/office/drawing/2014/main" id="{B867539C-38F4-4C31-89A4-82291CF268A1}"/>
                        </a:ext>
                      </a:extLst>
                    </p:cNvPr>
                    <p:cNvSpPr/>
                    <p:nvPr/>
                  </p:nvSpPr>
                  <p:spPr>
                    <a:xfrm>
                      <a:off x="4427194" y="2692774"/>
                      <a:ext cx="151776" cy="283650"/>
                    </a:xfrm>
                    <a:prstGeom prst="can">
                      <a:avLst/>
                    </a:prstGeom>
                    <a:solidFill>
                      <a:srgbClr val="0070C0"/>
                    </a:solidFill>
                    <a:ln>
                      <a:solidFill>
                        <a:srgbClr val="0034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cxnSp>
                  <p:nvCxnSpPr>
                    <p:cNvPr id="57" name="Straight Connector 56">
                      <a:extLst>
                        <a:ext uri="{FF2B5EF4-FFF2-40B4-BE49-F238E27FC236}">
                          <a16:creationId xmlns:a16="http://schemas.microsoft.com/office/drawing/2014/main" id="{78C29188-5C4C-4656-A3F5-05BDDD76A7D9}"/>
                        </a:ext>
                      </a:extLst>
                    </p:cNvPr>
                    <p:cNvCxnSpPr>
                      <a:cxnSpLocks/>
                    </p:cNvCxnSpPr>
                    <p:nvPr/>
                  </p:nvCxnSpPr>
                  <p:spPr bwMode="auto">
                    <a:xfrm>
                      <a:off x="4503082" y="2548125"/>
                      <a:ext cx="0" cy="156702"/>
                    </a:xfrm>
                    <a:prstGeom prst="line">
                      <a:avLst/>
                    </a:prstGeom>
                    <a:solidFill>
                      <a:srgbClr val="C0C0C0"/>
                    </a:solidFill>
                    <a:ln w="28575" cap="rnd" cmpd="sng" algn="ctr">
                      <a:solidFill>
                        <a:srgbClr val="003479"/>
                      </a:solidFill>
                      <a:prstDash val="solid"/>
                      <a:round/>
                      <a:headEnd type="none" w="med" len="med"/>
                      <a:tailEnd type="none" w="med" len="med"/>
                    </a:ln>
                    <a:effectLst/>
                  </p:spPr>
                </p:cxnSp>
                <p:sp>
                  <p:nvSpPr>
                    <p:cNvPr id="58" name="Can 584">
                      <a:extLst>
                        <a:ext uri="{FF2B5EF4-FFF2-40B4-BE49-F238E27FC236}">
                          <a16:creationId xmlns:a16="http://schemas.microsoft.com/office/drawing/2014/main" id="{DDCF626D-7088-4495-84E9-E1747E784D57}"/>
                        </a:ext>
                      </a:extLst>
                    </p:cNvPr>
                    <p:cNvSpPr/>
                    <p:nvPr/>
                  </p:nvSpPr>
                  <p:spPr>
                    <a:xfrm>
                      <a:off x="4427194" y="2311143"/>
                      <a:ext cx="151776" cy="283650"/>
                    </a:xfrm>
                    <a:prstGeom prst="can">
                      <a:avLst/>
                    </a:prstGeom>
                    <a:solidFill>
                      <a:srgbClr val="0070C0"/>
                    </a:solidFill>
                    <a:ln>
                      <a:solidFill>
                        <a:srgbClr val="0034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grpSp>
              <p:cxnSp>
                <p:nvCxnSpPr>
                  <p:cNvPr id="51" name="Straight Connector 50">
                    <a:extLst>
                      <a:ext uri="{FF2B5EF4-FFF2-40B4-BE49-F238E27FC236}">
                        <a16:creationId xmlns:a16="http://schemas.microsoft.com/office/drawing/2014/main" id="{AA473826-61C5-4473-948E-85450ABA08EC}"/>
                      </a:ext>
                    </a:extLst>
                  </p:cNvPr>
                  <p:cNvCxnSpPr>
                    <a:cxnSpLocks/>
                    <a:endCxn id="58" idx="1"/>
                  </p:cNvCxnSpPr>
                  <p:nvPr/>
                </p:nvCxnSpPr>
                <p:spPr bwMode="auto">
                  <a:xfrm>
                    <a:off x="4501503" y="1958696"/>
                    <a:ext cx="1579" cy="694707"/>
                  </a:xfrm>
                  <a:prstGeom prst="line">
                    <a:avLst/>
                  </a:prstGeom>
                  <a:solidFill>
                    <a:srgbClr val="C0C0C0"/>
                  </a:solidFill>
                  <a:ln w="28575" cap="rnd" cmpd="sng" algn="ctr">
                    <a:solidFill>
                      <a:srgbClr val="003479"/>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8458EF60-CF69-4ED0-8900-CD9E89035D69}"/>
                      </a:ext>
                    </a:extLst>
                  </p:cNvPr>
                  <p:cNvCxnSpPr>
                    <a:cxnSpLocks/>
                  </p:cNvCxnSpPr>
                  <p:nvPr/>
                </p:nvCxnSpPr>
                <p:spPr bwMode="auto">
                  <a:xfrm rot="18900000">
                    <a:off x="4418146" y="1752677"/>
                    <a:ext cx="0" cy="241447"/>
                  </a:xfrm>
                  <a:prstGeom prst="line">
                    <a:avLst/>
                  </a:prstGeom>
                  <a:solidFill>
                    <a:srgbClr val="C0C0C0"/>
                  </a:solidFill>
                  <a:ln w="28575" cap="rnd" cmpd="sng" algn="ctr">
                    <a:solidFill>
                      <a:srgbClr val="003479"/>
                    </a:solidFill>
                    <a:prstDash val="solid"/>
                    <a:round/>
                    <a:headEnd type="none" w="med" len="med"/>
                    <a:tailEnd type="none" w="med" len="med"/>
                  </a:ln>
                  <a:effectLst/>
                </p:spPr>
              </p:cxnSp>
              <p:sp>
                <p:nvSpPr>
                  <p:cNvPr id="53" name="Oval 52">
                    <a:extLst>
                      <a:ext uri="{FF2B5EF4-FFF2-40B4-BE49-F238E27FC236}">
                        <a16:creationId xmlns:a16="http://schemas.microsoft.com/office/drawing/2014/main" id="{1E9D4610-69C1-4B23-ACF0-0A45468596D0}"/>
                      </a:ext>
                    </a:extLst>
                  </p:cNvPr>
                  <p:cNvSpPr/>
                  <p:nvPr/>
                </p:nvSpPr>
                <p:spPr bwMode="auto">
                  <a:xfrm>
                    <a:off x="4279550" y="1746253"/>
                    <a:ext cx="103498" cy="103498"/>
                  </a:xfrm>
                  <a:prstGeom prst="ellipse">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4" name="Oval 53">
                    <a:extLst>
                      <a:ext uri="{FF2B5EF4-FFF2-40B4-BE49-F238E27FC236}">
                        <a16:creationId xmlns:a16="http://schemas.microsoft.com/office/drawing/2014/main" id="{B3BFF8C2-4166-4F16-BB22-49BF8911DAA8}"/>
                      </a:ext>
                    </a:extLst>
                  </p:cNvPr>
                  <p:cNvSpPr/>
                  <p:nvPr/>
                </p:nvSpPr>
                <p:spPr bwMode="auto">
                  <a:xfrm>
                    <a:off x="4449754" y="1906639"/>
                    <a:ext cx="103498" cy="103498"/>
                  </a:xfrm>
                  <a:prstGeom prst="ellipse">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5" name="Oval 54">
                    <a:extLst>
                      <a:ext uri="{FF2B5EF4-FFF2-40B4-BE49-F238E27FC236}">
                        <a16:creationId xmlns:a16="http://schemas.microsoft.com/office/drawing/2014/main" id="{F4216E66-25EB-44D3-8605-48928AD8B3B8}"/>
                      </a:ext>
                    </a:extLst>
                  </p:cNvPr>
                  <p:cNvSpPr/>
                  <p:nvPr/>
                </p:nvSpPr>
                <p:spPr bwMode="auto">
                  <a:xfrm>
                    <a:off x="4449754" y="2123718"/>
                    <a:ext cx="103498" cy="103498"/>
                  </a:xfrm>
                  <a:prstGeom prst="ellipse">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grpSp>
          </p:grpSp>
          <p:sp>
            <p:nvSpPr>
              <p:cNvPr id="41" name="Rectangle: Rounded Corners 40">
                <a:extLst>
                  <a:ext uri="{FF2B5EF4-FFF2-40B4-BE49-F238E27FC236}">
                    <a16:creationId xmlns:a16="http://schemas.microsoft.com/office/drawing/2014/main" id="{C8A090FE-98EE-45A2-8991-01F9A576506B}"/>
                  </a:ext>
                </a:extLst>
              </p:cNvPr>
              <p:cNvSpPr/>
              <p:nvPr/>
            </p:nvSpPr>
            <p:spPr bwMode="auto">
              <a:xfrm>
                <a:off x="8960395" y="4018835"/>
                <a:ext cx="551750" cy="222727"/>
              </a:xfrm>
              <a:prstGeom prst="roundRect">
                <a:avLst>
                  <a:gd name="adj" fmla="val 6870"/>
                </a:avLst>
              </a:prstGeom>
              <a:solidFill>
                <a:srgbClr val="0070C0"/>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rPr>
                  <a:t>PTEN</a:t>
                </a:r>
              </a:p>
            </p:txBody>
          </p:sp>
          <p:cxnSp>
            <p:nvCxnSpPr>
              <p:cNvPr id="42" name="Straight Arrow Connector 41">
                <a:extLst>
                  <a:ext uri="{FF2B5EF4-FFF2-40B4-BE49-F238E27FC236}">
                    <a16:creationId xmlns:a16="http://schemas.microsoft.com/office/drawing/2014/main" id="{C474789C-C861-4AE8-9100-9A1BB5A1A93F}"/>
                  </a:ext>
                </a:extLst>
              </p:cNvPr>
              <p:cNvCxnSpPr>
                <a:cxnSpLocks/>
              </p:cNvCxnSpPr>
              <p:nvPr/>
            </p:nvCxnSpPr>
            <p:spPr bwMode="auto">
              <a:xfrm flipV="1">
                <a:off x="8566841" y="2971429"/>
                <a:ext cx="0" cy="601752"/>
              </a:xfrm>
              <a:prstGeom prst="straightConnector1">
                <a:avLst/>
              </a:prstGeom>
              <a:solidFill>
                <a:srgbClr val="C0C0C0"/>
              </a:solidFill>
              <a:ln w="19050" cap="flat" cmpd="sng" algn="ctr">
                <a:solidFill>
                  <a:schemeClr val="accent3"/>
                </a:solidFill>
                <a:prstDash val="sysDot"/>
                <a:round/>
                <a:headEnd type="none" w="med" len="med"/>
                <a:tailEnd type="none"/>
              </a:ln>
              <a:effectLst/>
            </p:spPr>
          </p:cxnSp>
          <p:cxnSp>
            <p:nvCxnSpPr>
              <p:cNvPr id="43" name="Straight Arrow Connector 42">
                <a:extLst>
                  <a:ext uri="{FF2B5EF4-FFF2-40B4-BE49-F238E27FC236}">
                    <a16:creationId xmlns:a16="http://schemas.microsoft.com/office/drawing/2014/main" id="{DB2466A7-1FC2-4492-B263-972223CB5C86}"/>
                  </a:ext>
                </a:extLst>
              </p:cNvPr>
              <p:cNvCxnSpPr>
                <a:cxnSpLocks/>
              </p:cNvCxnSpPr>
              <p:nvPr/>
            </p:nvCxnSpPr>
            <p:spPr bwMode="auto">
              <a:xfrm flipV="1">
                <a:off x="8672910" y="2971429"/>
                <a:ext cx="0" cy="601752"/>
              </a:xfrm>
              <a:prstGeom prst="straightConnector1">
                <a:avLst/>
              </a:prstGeom>
              <a:solidFill>
                <a:srgbClr val="C0C0C0"/>
              </a:solidFill>
              <a:ln w="19050" cap="flat" cmpd="sng" algn="ctr">
                <a:solidFill>
                  <a:schemeClr val="accent3"/>
                </a:solidFill>
                <a:prstDash val="sysDot"/>
                <a:round/>
                <a:headEnd type="none" w="med" len="med"/>
                <a:tailEnd type="none"/>
              </a:ln>
              <a:effectLst/>
            </p:spPr>
          </p:cxnSp>
          <p:sp>
            <p:nvSpPr>
              <p:cNvPr id="44" name="Rectangle: Rounded Corners 43">
                <a:extLst>
                  <a:ext uri="{FF2B5EF4-FFF2-40B4-BE49-F238E27FC236}">
                    <a16:creationId xmlns:a16="http://schemas.microsoft.com/office/drawing/2014/main" id="{4F7D6365-E397-481C-9BD5-68DC202D01C0}"/>
                  </a:ext>
                </a:extLst>
              </p:cNvPr>
              <p:cNvSpPr/>
              <p:nvPr/>
            </p:nvSpPr>
            <p:spPr bwMode="auto">
              <a:xfrm>
                <a:off x="8259911" y="3095388"/>
                <a:ext cx="551750" cy="396050"/>
              </a:xfrm>
              <a:prstGeom prst="roundRect">
                <a:avLst>
                  <a:gd name="adj" fmla="val 31057"/>
                </a:avLst>
              </a:prstGeom>
              <a:solidFill>
                <a:schemeClr val="accent1">
                  <a:lumMod val="75000"/>
                </a:schemeClr>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rPr>
                  <a:t>PIP2</a:t>
                </a:r>
                <a:br>
                  <a:rPr kumimoji="0" lang="en-GB"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rPr>
                </a:br>
                <a:r>
                  <a:rPr kumimoji="0" lang="en-GB" sz="105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Arial" pitchFamily="34" charset="0"/>
                  </a:rPr>
                  <a:t>PIP3</a:t>
                </a:r>
              </a:p>
            </p:txBody>
          </p:sp>
          <p:sp>
            <p:nvSpPr>
              <p:cNvPr id="45" name="Oval 44">
                <a:extLst>
                  <a:ext uri="{FF2B5EF4-FFF2-40B4-BE49-F238E27FC236}">
                    <a16:creationId xmlns:a16="http://schemas.microsoft.com/office/drawing/2014/main" id="{BCD04CF3-E4E3-4D82-9374-D087274E048D}"/>
                  </a:ext>
                </a:extLst>
              </p:cNvPr>
              <p:cNvSpPr/>
              <p:nvPr/>
            </p:nvSpPr>
            <p:spPr bwMode="auto">
              <a:xfrm>
                <a:off x="6871813" y="3380129"/>
                <a:ext cx="165204" cy="165204"/>
              </a:xfrm>
              <a:prstGeom prst="ellipse">
                <a:avLst/>
              </a:prstGeom>
              <a:solidFill>
                <a:srgbClr val="FF5050"/>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P</a:t>
                </a:r>
              </a:p>
            </p:txBody>
          </p:sp>
          <p:sp>
            <p:nvSpPr>
              <p:cNvPr id="46" name="Oval 45">
                <a:extLst>
                  <a:ext uri="{FF2B5EF4-FFF2-40B4-BE49-F238E27FC236}">
                    <a16:creationId xmlns:a16="http://schemas.microsoft.com/office/drawing/2014/main" id="{98F80007-2521-423B-B771-D7A2349A8C81}"/>
                  </a:ext>
                </a:extLst>
              </p:cNvPr>
              <p:cNvSpPr/>
              <p:nvPr/>
            </p:nvSpPr>
            <p:spPr bwMode="auto">
              <a:xfrm>
                <a:off x="7306865" y="3380129"/>
                <a:ext cx="165204" cy="165204"/>
              </a:xfrm>
              <a:prstGeom prst="ellipse">
                <a:avLst/>
              </a:prstGeom>
              <a:solidFill>
                <a:srgbClr val="FF5050"/>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P</a:t>
                </a:r>
              </a:p>
            </p:txBody>
          </p:sp>
          <p:cxnSp>
            <p:nvCxnSpPr>
              <p:cNvPr id="47" name="Straight Arrow Connector 46">
                <a:extLst>
                  <a:ext uri="{FF2B5EF4-FFF2-40B4-BE49-F238E27FC236}">
                    <a16:creationId xmlns:a16="http://schemas.microsoft.com/office/drawing/2014/main" id="{41952A07-5114-4A34-B548-A9B1CD92C768}"/>
                  </a:ext>
                </a:extLst>
              </p:cNvPr>
              <p:cNvCxnSpPr>
                <a:cxnSpLocks/>
              </p:cNvCxnSpPr>
              <p:nvPr/>
            </p:nvCxnSpPr>
            <p:spPr bwMode="auto">
              <a:xfrm>
                <a:off x="10588482" y="4293850"/>
                <a:ext cx="0" cy="197862"/>
              </a:xfrm>
              <a:prstGeom prst="straightConnector1">
                <a:avLst/>
              </a:prstGeom>
              <a:solidFill>
                <a:srgbClr val="C0C0C0"/>
              </a:solidFill>
              <a:ln w="19050" cap="flat" cmpd="sng" algn="ctr">
                <a:solidFill>
                  <a:srgbClr val="000000"/>
                </a:solidFill>
                <a:prstDash val="solid"/>
                <a:round/>
                <a:headEnd type="none" w="med" len="med"/>
                <a:tailEnd type="triangle"/>
              </a:ln>
              <a:effectLst/>
            </p:spPr>
          </p:cxnSp>
        </p:grpSp>
        <p:sp>
          <p:nvSpPr>
            <p:cNvPr id="301" name="Rectangle 300">
              <a:extLst>
                <a:ext uri="{FF2B5EF4-FFF2-40B4-BE49-F238E27FC236}">
                  <a16:creationId xmlns:a16="http://schemas.microsoft.com/office/drawing/2014/main" id="{6A74E135-F292-4AC5-B9BF-D190E0378F63}"/>
                </a:ext>
              </a:extLst>
            </p:cNvPr>
            <p:cNvSpPr/>
            <p:nvPr/>
          </p:nvSpPr>
          <p:spPr>
            <a:xfrm>
              <a:off x="8914490" y="1795075"/>
              <a:ext cx="2953127" cy="266298"/>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B21E6C"/>
                  </a:solidFill>
                  <a:effectLst/>
                  <a:uLnTx/>
                  <a:uFillTx/>
                  <a:latin typeface="Verdana" panose="020B0604030504040204" pitchFamily="34" charset="0"/>
                  <a:ea typeface="Verdana" panose="020B0604030504040204" pitchFamily="34" charset="0"/>
                  <a:cs typeface="+mn-cs"/>
                </a:rPr>
                <a:t>PDGF/PDGFR Signalling in PAH</a:t>
              </a:r>
              <a:r>
                <a:rPr kumimoji="0" lang="en-GB" sz="1400" b="1" i="0" u="none" strike="noStrike" kern="1200" cap="none" spc="0" normalizeH="0" baseline="30000" noProof="0" dirty="0">
                  <a:ln>
                    <a:noFill/>
                  </a:ln>
                  <a:solidFill>
                    <a:srgbClr val="B21E6C"/>
                  </a:solidFill>
                  <a:effectLst/>
                  <a:uLnTx/>
                  <a:uFillTx/>
                  <a:latin typeface="Verdana" panose="020B0604030504040204" pitchFamily="34" charset="0"/>
                  <a:ea typeface="Verdana" panose="020B0604030504040204" pitchFamily="34" charset="0"/>
                  <a:cs typeface="+mn-cs"/>
                </a:rPr>
                <a:t>1</a:t>
              </a:r>
            </a:p>
          </p:txBody>
        </p:sp>
        <p:sp>
          <p:nvSpPr>
            <p:cNvPr id="302" name="TextBox 301">
              <a:extLst>
                <a:ext uri="{FF2B5EF4-FFF2-40B4-BE49-F238E27FC236}">
                  <a16:creationId xmlns:a16="http://schemas.microsoft.com/office/drawing/2014/main" id="{EF4570F1-9BBB-4CAC-8CC0-D07B606ABD65}"/>
                </a:ext>
              </a:extLst>
            </p:cNvPr>
            <p:cNvSpPr txBox="1"/>
            <p:nvPr/>
          </p:nvSpPr>
          <p:spPr>
            <a:xfrm>
              <a:off x="9870012" y="5003089"/>
              <a:ext cx="67479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mn-cs"/>
                </a:rPr>
                <a:t>PDG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mn-cs"/>
                </a:rPr>
                <a:t>PDGFR</a:t>
              </a:r>
            </a:p>
          </p:txBody>
        </p:sp>
        <p:grpSp>
          <p:nvGrpSpPr>
            <p:cNvPr id="303" name="Group 302">
              <a:extLst>
                <a:ext uri="{FF2B5EF4-FFF2-40B4-BE49-F238E27FC236}">
                  <a16:creationId xmlns:a16="http://schemas.microsoft.com/office/drawing/2014/main" id="{FEE72351-680E-4514-B972-CA7906134183}"/>
                </a:ext>
              </a:extLst>
            </p:cNvPr>
            <p:cNvGrpSpPr/>
            <p:nvPr/>
          </p:nvGrpSpPr>
          <p:grpSpPr>
            <a:xfrm>
              <a:off x="10485472" y="5083631"/>
              <a:ext cx="365824" cy="180000"/>
              <a:chOff x="8502186" y="1066935"/>
              <a:chExt cx="365824" cy="180000"/>
            </a:xfrm>
          </p:grpSpPr>
          <p:cxnSp>
            <p:nvCxnSpPr>
              <p:cNvPr id="304" name="Straight Arrow Connector 303">
                <a:extLst>
                  <a:ext uri="{FF2B5EF4-FFF2-40B4-BE49-F238E27FC236}">
                    <a16:creationId xmlns:a16="http://schemas.microsoft.com/office/drawing/2014/main" id="{087DC887-7B8A-4A82-8E83-5E06394D421C}"/>
                  </a:ext>
                </a:extLst>
              </p:cNvPr>
              <p:cNvCxnSpPr>
                <a:cxnSpLocks/>
              </p:cNvCxnSpPr>
              <p:nvPr/>
            </p:nvCxnSpPr>
            <p:spPr bwMode="auto">
              <a:xfrm rot="5400000">
                <a:off x="8682186" y="1066935"/>
                <a:ext cx="0" cy="360000"/>
              </a:xfrm>
              <a:prstGeom prst="straightConnector1">
                <a:avLst/>
              </a:prstGeom>
              <a:solidFill>
                <a:srgbClr val="C0C0C0"/>
              </a:solidFill>
              <a:ln w="38100" cap="rnd" cmpd="sng" algn="ctr">
                <a:solidFill>
                  <a:srgbClr val="FF0000"/>
                </a:solidFill>
                <a:prstDash val="solid"/>
                <a:round/>
                <a:headEnd type="none" w="med" len="med"/>
                <a:tailEnd type="triangle"/>
              </a:ln>
              <a:effectLst/>
            </p:spPr>
          </p:cxnSp>
          <p:cxnSp>
            <p:nvCxnSpPr>
              <p:cNvPr id="305" name="Straight Connector 304">
                <a:extLst>
                  <a:ext uri="{FF2B5EF4-FFF2-40B4-BE49-F238E27FC236}">
                    <a16:creationId xmlns:a16="http://schemas.microsoft.com/office/drawing/2014/main" id="{385104CF-E6B4-42A9-A953-2FDCB2D50815}"/>
                  </a:ext>
                </a:extLst>
              </p:cNvPr>
              <p:cNvCxnSpPr/>
              <p:nvPr/>
            </p:nvCxnSpPr>
            <p:spPr bwMode="auto">
              <a:xfrm flipV="1">
                <a:off x="8868010" y="1066935"/>
                <a:ext cx="0" cy="180000"/>
              </a:xfrm>
              <a:prstGeom prst="line">
                <a:avLst/>
              </a:prstGeom>
              <a:solidFill>
                <a:srgbClr val="C0C0C0"/>
              </a:solidFill>
              <a:ln w="38100" cap="rnd" cmpd="sng" algn="ctr">
                <a:solidFill>
                  <a:srgbClr val="FF0000"/>
                </a:solidFill>
                <a:prstDash val="solid"/>
                <a:round/>
                <a:headEnd type="none" w="med" len="med"/>
                <a:tailEnd type="none" w="med" len="med"/>
              </a:ln>
              <a:effectLst/>
            </p:spPr>
          </p:cxnSp>
        </p:grpSp>
        <p:cxnSp>
          <p:nvCxnSpPr>
            <p:cNvPr id="306" name="Straight Arrow Connector 305">
              <a:extLst>
                <a:ext uri="{FF2B5EF4-FFF2-40B4-BE49-F238E27FC236}">
                  <a16:creationId xmlns:a16="http://schemas.microsoft.com/office/drawing/2014/main" id="{D67CA7F0-BEE2-418E-BAE9-659364617DE1}"/>
                </a:ext>
              </a:extLst>
            </p:cNvPr>
            <p:cNvCxnSpPr>
              <a:cxnSpLocks/>
            </p:cNvCxnSpPr>
            <p:nvPr/>
          </p:nvCxnSpPr>
          <p:spPr bwMode="auto">
            <a:xfrm rot="10800000">
              <a:off x="9870012" y="5003089"/>
              <a:ext cx="0" cy="360000"/>
            </a:xfrm>
            <a:prstGeom prst="straightConnector1">
              <a:avLst/>
            </a:prstGeom>
            <a:solidFill>
              <a:srgbClr val="C0C0C0"/>
            </a:solidFill>
            <a:ln w="38100" cap="rnd" cmpd="sng" algn="ctr">
              <a:solidFill>
                <a:srgbClr val="FF0000"/>
              </a:solidFill>
              <a:prstDash val="solid"/>
              <a:round/>
              <a:headEnd type="none" w="med" len="med"/>
              <a:tailEnd type="triangle"/>
            </a:ln>
            <a:effectLst/>
          </p:spPr>
        </p:cxnSp>
        <p:cxnSp>
          <p:nvCxnSpPr>
            <p:cNvPr id="307" name="Straight Arrow Connector 306">
              <a:extLst>
                <a:ext uri="{FF2B5EF4-FFF2-40B4-BE49-F238E27FC236}">
                  <a16:creationId xmlns:a16="http://schemas.microsoft.com/office/drawing/2014/main" id="{7EE6D5BD-45E7-4353-B719-D1F98731F468}"/>
                </a:ext>
              </a:extLst>
            </p:cNvPr>
            <p:cNvCxnSpPr>
              <a:cxnSpLocks/>
            </p:cNvCxnSpPr>
            <p:nvPr/>
          </p:nvCxnSpPr>
          <p:spPr bwMode="auto">
            <a:xfrm flipV="1">
              <a:off x="8613337" y="2287558"/>
              <a:ext cx="0" cy="307943"/>
            </a:xfrm>
            <a:prstGeom prst="straightConnector1">
              <a:avLst/>
            </a:prstGeom>
            <a:solidFill>
              <a:srgbClr val="C0C0C0"/>
            </a:solidFill>
            <a:ln w="38100" cap="rnd" cmpd="sng" algn="ctr">
              <a:solidFill>
                <a:srgbClr val="FF0000"/>
              </a:solidFill>
              <a:prstDash val="solid"/>
              <a:round/>
              <a:headEnd type="none" w="med" len="med"/>
              <a:tailEnd type="triangle"/>
            </a:ln>
            <a:effectLst/>
          </p:spPr>
        </p:cxnSp>
        <p:cxnSp>
          <p:nvCxnSpPr>
            <p:cNvPr id="308" name="Straight Arrow Connector 307">
              <a:extLst>
                <a:ext uri="{FF2B5EF4-FFF2-40B4-BE49-F238E27FC236}">
                  <a16:creationId xmlns:a16="http://schemas.microsoft.com/office/drawing/2014/main" id="{4C09766B-4D78-4C80-A94A-6639D81A4756}"/>
                </a:ext>
              </a:extLst>
            </p:cNvPr>
            <p:cNvCxnSpPr>
              <a:cxnSpLocks/>
            </p:cNvCxnSpPr>
            <p:nvPr/>
          </p:nvCxnSpPr>
          <p:spPr bwMode="auto">
            <a:xfrm flipV="1">
              <a:off x="6989047" y="1854197"/>
              <a:ext cx="0" cy="307943"/>
            </a:xfrm>
            <a:prstGeom prst="straightConnector1">
              <a:avLst/>
            </a:prstGeom>
            <a:solidFill>
              <a:srgbClr val="C0C0C0"/>
            </a:solidFill>
            <a:ln w="38100" cap="rnd" cmpd="sng" algn="ctr">
              <a:solidFill>
                <a:srgbClr val="FF0000"/>
              </a:solidFill>
              <a:prstDash val="solid"/>
              <a:round/>
              <a:headEnd type="none" w="med" len="med"/>
              <a:tailEnd type="triangle"/>
            </a:ln>
            <a:effectLst/>
          </p:spPr>
        </p:cxnSp>
        <p:grpSp>
          <p:nvGrpSpPr>
            <p:cNvPr id="309" name="Group 308">
              <a:extLst>
                <a:ext uri="{FF2B5EF4-FFF2-40B4-BE49-F238E27FC236}">
                  <a16:creationId xmlns:a16="http://schemas.microsoft.com/office/drawing/2014/main" id="{17A4EE08-8640-4A30-A1AA-2DDB420AB0A7}"/>
                </a:ext>
              </a:extLst>
            </p:cNvPr>
            <p:cNvGrpSpPr/>
            <p:nvPr/>
          </p:nvGrpSpPr>
          <p:grpSpPr>
            <a:xfrm>
              <a:off x="7212757" y="2139534"/>
              <a:ext cx="4182016" cy="3083988"/>
              <a:chOff x="7253054" y="1168138"/>
              <a:chExt cx="3746790" cy="3804374"/>
            </a:xfrm>
            <a:solidFill>
              <a:srgbClr val="FF0000">
                <a:alpha val="10000"/>
              </a:srgbClr>
            </a:solidFill>
          </p:grpSpPr>
          <p:sp>
            <p:nvSpPr>
              <p:cNvPr id="310" name="Arrow: Curved Down 309">
                <a:extLst>
                  <a:ext uri="{FF2B5EF4-FFF2-40B4-BE49-F238E27FC236}">
                    <a16:creationId xmlns:a16="http://schemas.microsoft.com/office/drawing/2014/main" id="{B270E810-D7D2-4202-810A-A5E3B7FB0E7C}"/>
                  </a:ext>
                </a:extLst>
              </p:cNvPr>
              <p:cNvSpPr/>
              <p:nvPr/>
            </p:nvSpPr>
            <p:spPr bwMode="auto">
              <a:xfrm>
                <a:off x="7479410" y="1168138"/>
                <a:ext cx="3520434" cy="1867642"/>
              </a:xfrm>
              <a:prstGeom prst="curvedDownArrow">
                <a:avLst/>
              </a:prstGeom>
              <a:grp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311" name="Arrow: Curved Down 310">
                <a:extLst>
                  <a:ext uri="{FF2B5EF4-FFF2-40B4-BE49-F238E27FC236}">
                    <a16:creationId xmlns:a16="http://schemas.microsoft.com/office/drawing/2014/main" id="{93163DE2-AC81-4474-A7AB-95FB213BAC5D}"/>
                  </a:ext>
                </a:extLst>
              </p:cNvPr>
              <p:cNvSpPr/>
              <p:nvPr/>
            </p:nvSpPr>
            <p:spPr bwMode="auto">
              <a:xfrm flipH="1" flipV="1">
                <a:off x="7253054" y="3104871"/>
                <a:ext cx="3520434" cy="1867641"/>
              </a:xfrm>
              <a:prstGeom prst="curvedDownArrow">
                <a:avLst/>
              </a:prstGeom>
              <a:grp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grpSp>
        <p:sp>
          <p:nvSpPr>
            <p:cNvPr id="312" name="TextBox 311">
              <a:extLst>
                <a:ext uri="{FF2B5EF4-FFF2-40B4-BE49-F238E27FC236}">
                  <a16:creationId xmlns:a16="http://schemas.microsoft.com/office/drawing/2014/main" id="{CF964068-A396-446E-B657-EA7A5260E90F}"/>
                </a:ext>
              </a:extLst>
            </p:cNvPr>
            <p:cNvSpPr txBox="1"/>
            <p:nvPr/>
          </p:nvSpPr>
          <p:spPr>
            <a:xfrm>
              <a:off x="7875701" y="2343841"/>
              <a:ext cx="73653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0000"/>
                  </a:solidFill>
                  <a:effectLst/>
                  <a:uLnTx/>
                  <a:uFillTx/>
                  <a:latin typeface="Verdana" panose="020B0604030504040204" pitchFamily="34" charset="0"/>
                  <a:ea typeface="Verdana" panose="020B0604030504040204" pitchFamily="34" charset="0"/>
                  <a:cs typeface="Arial" pitchFamily="34" charset="0"/>
                </a:rPr>
                <a:t>PDGFR</a:t>
              </a:r>
            </a:p>
          </p:txBody>
        </p:sp>
        <p:grpSp>
          <p:nvGrpSpPr>
            <p:cNvPr id="313" name="Group 312">
              <a:extLst>
                <a:ext uri="{FF2B5EF4-FFF2-40B4-BE49-F238E27FC236}">
                  <a16:creationId xmlns:a16="http://schemas.microsoft.com/office/drawing/2014/main" id="{5996331A-2881-4D59-8AFF-B0F501E7DED4}"/>
                </a:ext>
              </a:extLst>
            </p:cNvPr>
            <p:cNvGrpSpPr/>
            <p:nvPr/>
          </p:nvGrpSpPr>
          <p:grpSpPr>
            <a:xfrm>
              <a:off x="9696196" y="3752721"/>
              <a:ext cx="97955" cy="238365"/>
              <a:chOff x="6570394" y="5647462"/>
              <a:chExt cx="175779" cy="238365"/>
            </a:xfrm>
          </p:grpSpPr>
          <p:cxnSp>
            <p:nvCxnSpPr>
              <p:cNvPr id="314" name="Straight Arrow Connector 313">
                <a:extLst>
                  <a:ext uri="{FF2B5EF4-FFF2-40B4-BE49-F238E27FC236}">
                    <a16:creationId xmlns:a16="http://schemas.microsoft.com/office/drawing/2014/main" id="{28883CAE-4062-4582-8CBE-9A45C6DE91DD}"/>
                  </a:ext>
                </a:extLst>
              </p:cNvPr>
              <p:cNvCxnSpPr>
                <a:cxnSpLocks/>
              </p:cNvCxnSpPr>
              <p:nvPr/>
            </p:nvCxnSpPr>
            <p:spPr bwMode="auto">
              <a:xfrm flipH="1">
                <a:off x="6570394" y="5647462"/>
                <a:ext cx="175779" cy="0"/>
              </a:xfrm>
              <a:prstGeom prst="straightConnector1">
                <a:avLst/>
              </a:prstGeom>
              <a:solidFill>
                <a:srgbClr val="C0C0C0"/>
              </a:solidFill>
              <a:ln w="19050" cap="flat" cmpd="sng" algn="ctr">
                <a:solidFill>
                  <a:srgbClr val="000000"/>
                </a:solidFill>
                <a:prstDash val="solid"/>
                <a:round/>
                <a:headEnd type="none" w="med" len="med"/>
                <a:tailEnd type="none"/>
              </a:ln>
              <a:effectLst/>
            </p:spPr>
          </p:cxnSp>
          <p:cxnSp>
            <p:nvCxnSpPr>
              <p:cNvPr id="315" name="Straight Arrow Connector 314">
                <a:extLst>
                  <a:ext uri="{FF2B5EF4-FFF2-40B4-BE49-F238E27FC236}">
                    <a16:creationId xmlns:a16="http://schemas.microsoft.com/office/drawing/2014/main" id="{FA6FFB32-732E-4E73-9CB7-20DAF953C3B1}"/>
                  </a:ext>
                </a:extLst>
              </p:cNvPr>
              <p:cNvCxnSpPr>
                <a:cxnSpLocks/>
              </p:cNvCxnSpPr>
              <p:nvPr/>
            </p:nvCxnSpPr>
            <p:spPr bwMode="auto">
              <a:xfrm flipV="1">
                <a:off x="6665204" y="5654949"/>
                <a:ext cx="0" cy="230878"/>
              </a:xfrm>
              <a:prstGeom prst="straightConnector1">
                <a:avLst/>
              </a:prstGeom>
              <a:solidFill>
                <a:srgbClr val="C0C0C0"/>
              </a:solidFill>
              <a:ln w="19050" cap="flat" cmpd="sng" algn="ctr">
                <a:solidFill>
                  <a:srgbClr val="000000"/>
                </a:solidFill>
                <a:prstDash val="solid"/>
                <a:round/>
                <a:headEnd type="none" w="med" len="med"/>
                <a:tailEnd type="none"/>
              </a:ln>
              <a:effectLst/>
            </p:spPr>
          </p:cxnSp>
        </p:grpSp>
      </p:grpSp>
      <p:sp>
        <p:nvSpPr>
          <p:cNvPr id="2" name="Title 1">
            <a:extLst>
              <a:ext uri="{FF2B5EF4-FFF2-40B4-BE49-F238E27FC236}">
                <a16:creationId xmlns:a16="http://schemas.microsoft.com/office/drawing/2014/main" id="{B47821A5-EF7F-4B72-937F-FBF770F8CB39}"/>
              </a:ext>
            </a:extLst>
          </p:cNvPr>
          <p:cNvSpPr>
            <a:spLocks noGrp="1"/>
          </p:cNvSpPr>
          <p:nvPr>
            <p:ph type="title"/>
          </p:nvPr>
        </p:nvSpPr>
        <p:spPr>
          <a:xfrm>
            <a:off x="316779" y="261823"/>
            <a:ext cx="11506626" cy="775597"/>
          </a:xfrm>
        </p:spPr>
        <p:txBody>
          <a:bodyPr>
            <a:noAutofit/>
          </a:bodyPr>
          <a:lstStyle/>
          <a:p>
            <a:r>
              <a:rPr lang="en-GB" noProof="0"/>
              <a:t>Overexpression of PDGF/PDGFR Implicated in the Development of PAH</a:t>
            </a:r>
            <a:endParaRPr lang="en-GB" noProof="0" dirty="0"/>
          </a:p>
        </p:txBody>
      </p:sp>
      <p:sp>
        <p:nvSpPr>
          <p:cNvPr id="3" name="Content Placeholder 2">
            <a:extLst>
              <a:ext uri="{FF2B5EF4-FFF2-40B4-BE49-F238E27FC236}">
                <a16:creationId xmlns:a16="http://schemas.microsoft.com/office/drawing/2014/main" id="{D96CFC63-8F20-4E30-ABD7-6B3C836EF42F}"/>
              </a:ext>
            </a:extLst>
          </p:cNvPr>
          <p:cNvSpPr>
            <a:spLocks noGrp="1"/>
          </p:cNvSpPr>
          <p:nvPr>
            <p:ph sz="quarter" idx="15"/>
          </p:nvPr>
        </p:nvSpPr>
        <p:spPr>
          <a:xfrm>
            <a:off x="174591" y="1474840"/>
            <a:ext cx="5831425" cy="3690021"/>
          </a:xfrm>
        </p:spPr>
        <p:txBody>
          <a:bodyPr>
            <a:noAutofit/>
          </a:bodyPr>
          <a:lstStyle/>
          <a:p>
            <a:pPr>
              <a:spcBef>
                <a:spcPts val="600"/>
              </a:spcBef>
            </a:pPr>
            <a:r>
              <a:rPr lang="en-GB" sz="2200" noProof="0">
                <a:latin typeface="+mn-lt"/>
              </a:rPr>
              <a:t>Aberrant PDGF signalling occurs in PAH</a:t>
            </a:r>
            <a:r>
              <a:rPr lang="en-GB" sz="2200" baseline="30000" noProof="0">
                <a:latin typeface="+mn-lt"/>
              </a:rPr>
              <a:t>1</a:t>
            </a:r>
          </a:p>
          <a:p>
            <a:pPr>
              <a:spcBef>
                <a:spcPts val="600"/>
              </a:spcBef>
            </a:pPr>
            <a:r>
              <a:rPr lang="en-GB" sz="2200" noProof="0">
                <a:latin typeface="+mn-lt"/>
              </a:rPr>
              <a:t>Increased expression of PDGF and PDGFR observed in patients with PAH</a:t>
            </a:r>
            <a:r>
              <a:rPr lang="en-GB" sz="2200" baseline="30000" noProof="0">
                <a:latin typeface="+mn-lt"/>
              </a:rPr>
              <a:t>2,3</a:t>
            </a:r>
          </a:p>
          <a:p>
            <a:pPr>
              <a:spcBef>
                <a:spcPts val="600"/>
              </a:spcBef>
            </a:pPr>
            <a:r>
              <a:rPr lang="en-GB" sz="2200" noProof="0">
                <a:latin typeface="+mn-lt"/>
              </a:rPr>
              <a:t>PDGF/PDGFR overexpression drives pulmonary vascular remodelling, leading to further upregulation of PDGF and PDGFR</a:t>
            </a:r>
            <a:r>
              <a:rPr lang="en-GB" sz="2200" baseline="30000" noProof="0">
                <a:latin typeface="+mn-lt"/>
              </a:rPr>
              <a:t>2</a:t>
            </a:r>
          </a:p>
          <a:p>
            <a:pPr>
              <a:spcBef>
                <a:spcPts val="600"/>
              </a:spcBef>
            </a:pPr>
            <a:r>
              <a:rPr lang="en-GB" sz="2200" noProof="0">
                <a:latin typeface="+mn-lt"/>
              </a:rPr>
              <a:t>Potential for reverse remodelling therapy by inhibiting PDGFR in PAH patients</a:t>
            </a:r>
            <a:r>
              <a:rPr lang="en-GB" sz="2200" baseline="30000" noProof="0">
                <a:latin typeface="+mn-lt"/>
              </a:rPr>
              <a:t>2</a:t>
            </a:r>
          </a:p>
          <a:p>
            <a:pPr>
              <a:spcBef>
                <a:spcPts val="600"/>
              </a:spcBef>
            </a:pPr>
            <a:endParaRPr lang="en-GB" sz="2200" baseline="30000" noProof="0">
              <a:latin typeface="+mn-lt"/>
            </a:endParaRPr>
          </a:p>
          <a:p>
            <a:pPr>
              <a:spcBef>
                <a:spcPts val="600"/>
              </a:spcBef>
            </a:pPr>
            <a:endParaRPr lang="en-GB" sz="2200" noProof="0" dirty="0">
              <a:latin typeface="+mn-lt"/>
            </a:endParaRPr>
          </a:p>
        </p:txBody>
      </p:sp>
      <p:sp>
        <p:nvSpPr>
          <p:cNvPr id="613" name="TextBox 612">
            <a:extLst>
              <a:ext uri="{FF2B5EF4-FFF2-40B4-BE49-F238E27FC236}">
                <a16:creationId xmlns:a16="http://schemas.microsoft.com/office/drawing/2014/main" id="{2AE4F9E8-7F9D-E144-8BB4-6C1CA89FC4C9}"/>
              </a:ext>
            </a:extLst>
          </p:cNvPr>
          <p:cNvSpPr txBox="1"/>
          <p:nvPr/>
        </p:nvSpPr>
        <p:spPr>
          <a:xfrm>
            <a:off x="58535" y="6532555"/>
            <a:ext cx="1109436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F3F3F"/>
                </a:solidFill>
                <a:effectLst/>
                <a:uLnTx/>
                <a:uFillTx/>
                <a:latin typeface="Arial" panose="020B0604020202020204"/>
                <a:ea typeface="+mn-ea"/>
                <a:cs typeface="+mn-cs"/>
              </a:rPr>
              <a:t>1. Kanaan R, et al. </a:t>
            </a:r>
            <a:r>
              <a:rPr kumimoji="0" lang="en-GB" sz="1000" b="0" i="1" u="none" strike="noStrike" kern="1200" cap="none" spc="0" normalizeH="0" baseline="0" noProof="0" dirty="0" err="1">
                <a:ln>
                  <a:noFill/>
                </a:ln>
                <a:solidFill>
                  <a:srgbClr val="3F3F3F"/>
                </a:solidFill>
                <a:effectLst/>
                <a:uLnTx/>
                <a:uFillTx/>
                <a:latin typeface="Arial" panose="020B0604020202020204"/>
                <a:ea typeface="+mn-ea"/>
                <a:cs typeface="+mn-cs"/>
              </a:rPr>
              <a:t>Eur</a:t>
            </a:r>
            <a:r>
              <a:rPr kumimoji="0" lang="en-GB" sz="1000" b="0" i="1" u="none" strike="noStrike" kern="1200" cap="none" spc="0" normalizeH="0" baseline="0" noProof="0" dirty="0">
                <a:ln>
                  <a:noFill/>
                </a:ln>
                <a:solidFill>
                  <a:srgbClr val="3F3F3F"/>
                </a:solidFill>
                <a:effectLst/>
                <a:uLnTx/>
                <a:uFillTx/>
                <a:latin typeface="Arial" panose="020B0604020202020204"/>
                <a:ea typeface="+mn-ea"/>
                <a:cs typeface="+mn-cs"/>
              </a:rPr>
              <a:t> Respir Rev. </a:t>
            </a:r>
            <a:r>
              <a:rPr kumimoji="0" lang="en-GB" sz="1000" b="0" i="0" u="none" strike="noStrike" kern="1200" cap="none" spc="0" normalizeH="0" baseline="0" noProof="0" dirty="0">
                <a:ln>
                  <a:noFill/>
                </a:ln>
                <a:solidFill>
                  <a:srgbClr val="3F3F3F"/>
                </a:solidFill>
                <a:effectLst/>
                <a:uLnTx/>
                <a:uFillTx/>
                <a:latin typeface="Arial" panose="020B0604020202020204"/>
                <a:ea typeface="+mn-ea"/>
                <a:cs typeface="+mn-cs"/>
              </a:rPr>
              <a:t>2017;26:170061; 2. </a:t>
            </a:r>
            <a:r>
              <a:rPr kumimoji="0" lang="en-GB" sz="1000" b="0" i="0" u="none" strike="noStrike" kern="1200" cap="none" spc="0" normalizeH="0" baseline="0" noProof="0" dirty="0" err="1">
                <a:ln>
                  <a:noFill/>
                </a:ln>
                <a:solidFill>
                  <a:srgbClr val="3F3F3F"/>
                </a:solidFill>
                <a:effectLst/>
                <a:uLnTx/>
                <a:uFillTx/>
                <a:latin typeface="Arial" panose="020B0604020202020204"/>
                <a:ea typeface="+mn-ea"/>
                <a:cs typeface="+mn-cs"/>
              </a:rPr>
              <a:t>Perros</a:t>
            </a:r>
            <a:r>
              <a:rPr kumimoji="0" lang="en-GB" sz="1000" b="0" i="0" u="none" strike="noStrike" kern="1200" cap="none" spc="0" normalizeH="0" baseline="0" noProof="0" dirty="0">
                <a:ln>
                  <a:noFill/>
                </a:ln>
                <a:solidFill>
                  <a:srgbClr val="3F3F3F"/>
                </a:solidFill>
                <a:effectLst/>
                <a:uLnTx/>
                <a:uFillTx/>
                <a:latin typeface="Arial" panose="020B0604020202020204"/>
                <a:ea typeface="+mn-ea"/>
                <a:cs typeface="+mn-cs"/>
              </a:rPr>
              <a:t> F, et al. </a:t>
            </a:r>
            <a:r>
              <a:rPr kumimoji="0" lang="en-GB" sz="1000" b="0" i="1" u="none" strike="noStrike" kern="1200" cap="none" spc="0" normalizeH="0" baseline="0" noProof="0" dirty="0">
                <a:ln>
                  <a:noFill/>
                </a:ln>
                <a:solidFill>
                  <a:srgbClr val="3F3F3F"/>
                </a:solidFill>
                <a:effectLst/>
                <a:uLnTx/>
                <a:uFillTx/>
                <a:latin typeface="Arial" panose="020B0604020202020204"/>
                <a:ea typeface="+mn-ea"/>
                <a:cs typeface="+mn-cs"/>
              </a:rPr>
              <a:t>Am J Respir Crit Care Med. </a:t>
            </a:r>
            <a:r>
              <a:rPr kumimoji="0" lang="en-GB" sz="1000" b="0" i="0" u="none" strike="noStrike" kern="1200" cap="none" spc="0" normalizeH="0" baseline="0" noProof="0" dirty="0">
                <a:ln>
                  <a:noFill/>
                </a:ln>
                <a:solidFill>
                  <a:srgbClr val="3F3F3F"/>
                </a:solidFill>
                <a:effectLst/>
                <a:uLnTx/>
                <a:uFillTx/>
                <a:latin typeface="Arial" panose="020B0604020202020204"/>
                <a:ea typeface="+mn-ea"/>
                <a:cs typeface="+mn-cs"/>
              </a:rPr>
              <a:t>2008;178:81-8; 3. </a:t>
            </a:r>
            <a:r>
              <a:rPr kumimoji="0" lang="en-GB" sz="1000" b="0" i="0" u="none" strike="noStrike" kern="1200" cap="none" spc="0" normalizeH="0" baseline="0" noProof="0" dirty="0" err="1">
                <a:ln>
                  <a:noFill/>
                </a:ln>
                <a:solidFill>
                  <a:srgbClr val="3F3F3F"/>
                </a:solidFill>
                <a:effectLst/>
                <a:uLnTx/>
                <a:uFillTx/>
                <a:latin typeface="Arial" panose="020B0604020202020204"/>
                <a:ea typeface="+mn-ea"/>
                <a:cs typeface="+mn-cs"/>
              </a:rPr>
              <a:t>Hemnes</a:t>
            </a:r>
            <a:r>
              <a:rPr kumimoji="0" lang="en-GB" sz="1000" b="0" i="0" u="none" strike="noStrike" kern="1200" cap="none" spc="0" normalizeH="0" baseline="0" noProof="0" dirty="0">
                <a:ln>
                  <a:noFill/>
                </a:ln>
                <a:solidFill>
                  <a:srgbClr val="3F3F3F"/>
                </a:solidFill>
                <a:effectLst/>
                <a:uLnTx/>
                <a:uFillTx/>
                <a:latin typeface="Arial" panose="020B0604020202020204"/>
                <a:ea typeface="+mn-ea"/>
                <a:cs typeface="+mn-cs"/>
              </a:rPr>
              <a:t> A, et al. </a:t>
            </a:r>
            <a:r>
              <a:rPr kumimoji="0" lang="en-GB" sz="1000" b="0" i="1" u="none" strike="noStrike" kern="1200" cap="none" spc="0" normalizeH="0" baseline="0" noProof="0" dirty="0" err="1">
                <a:ln>
                  <a:noFill/>
                </a:ln>
                <a:solidFill>
                  <a:srgbClr val="3F3F3F"/>
                </a:solidFill>
                <a:effectLst/>
                <a:uLnTx/>
                <a:uFillTx/>
                <a:latin typeface="Arial" panose="020B0604020202020204"/>
                <a:ea typeface="+mn-ea"/>
                <a:cs typeface="+mn-cs"/>
              </a:rPr>
              <a:t>Eur</a:t>
            </a:r>
            <a:r>
              <a:rPr kumimoji="0" lang="en-GB" sz="1000" b="0" i="1" u="none" strike="noStrike" kern="1200" cap="none" spc="0" normalizeH="0" baseline="0" noProof="0" dirty="0">
                <a:ln>
                  <a:noFill/>
                </a:ln>
                <a:solidFill>
                  <a:srgbClr val="3F3F3F"/>
                </a:solidFill>
                <a:effectLst/>
                <a:uLnTx/>
                <a:uFillTx/>
                <a:latin typeface="Arial" panose="020B0604020202020204"/>
                <a:ea typeface="+mn-ea"/>
                <a:cs typeface="+mn-cs"/>
              </a:rPr>
              <a:t> </a:t>
            </a:r>
            <a:r>
              <a:rPr kumimoji="0" lang="en-GB" sz="1000" b="0" i="1" u="none" strike="noStrike" kern="1200" cap="none" spc="0" normalizeH="0" baseline="0" noProof="0" dirty="0" err="1">
                <a:ln>
                  <a:noFill/>
                </a:ln>
                <a:solidFill>
                  <a:srgbClr val="3F3F3F"/>
                </a:solidFill>
                <a:effectLst/>
                <a:uLnTx/>
                <a:uFillTx/>
                <a:latin typeface="Arial" panose="020B0604020202020204"/>
                <a:ea typeface="+mn-ea"/>
                <a:cs typeface="+mn-cs"/>
              </a:rPr>
              <a:t>Respir</a:t>
            </a:r>
            <a:r>
              <a:rPr kumimoji="0" lang="en-GB" sz="1000" b="0" i="1" u="none" strike="noStrike" kern="1200" cap="none" spc="0" normalizeH="0" baseline="0" noProof="0" dirty="0">
                <a:ln>
                  <a:noFill/>
                </a:ln>
                <a:solidFill>
                  <a:srgbClr val="3F3F3F"/>
                </a:solidFill>
                <a:effectLst/>
                <a:uLnTx/>
                <a:uFillTx/>
                <a:latin typeface="Arial" panose="020B0604020202020204"/>
                <a:ea typeface="+mn-ea"/>
                <a:cs typeface="+mn-cs"/>
              </a:rPr>
              <a:t> Rev. </a:t>
            </a:r>
            <a:r>
              <a:rPr kumimoji="0" lang="en-GB" sz="1000" b="0" i="0" u="none" strike="noStrike" kern="1200" cap="none" spc="0" normalizeH="0" baseline="0" noProof="0" dirty="0">
                <a:ln>
                  <a:noFill/>
                </a:ln>
                <a:solidFill>
                  <a:srgbClr val="3F3F3F"/>
                </a:solidFill>
                <a:effectLst/>
                <a:uLnTx/>
                <a:uFillTx/>
                <a:latin typeface="Arial" panose="020B0604020202020204"/>
                <a:ea typeface="+mn-ea"/>
                <a:cs typeface="+mn-cs"/>
              </a:rPr>
              <a:t>2017;26:170093.</a:t>
            </a:r>
            <a:endParaRPr kumimoji="0" lang="en-US" sz="1000" b="0" i="0" u="none" strike="noStrike" kern="1200" cap="none" spc="0" normalizeH="0" baseline="0" noProof="0" dirty="0">
              <a:ln>
                <a:noFill/>
              </a:ln>
              <a:solidFill>
                <a:srgbClr val="3F3F3F"/>
              </a:solidFill>
              <a:effectLst/>
              <a:uLnTx/>
              <a:uFillTx/>
              <a:latin typeface="Arial" panose="020B0604020202020204"/>
              <a:ea typeface="+mn-ea"/>
              <a:cs typeface="+mn-cs"/>
            </a:endParaRPr>
          </a:p>
        </p:txBody>
      </p:sp>
    </p:spTree>
    <p:extLst>
      <p:ext uri="{BB962C8B-B14F-4D97-AF65-F5344CB8AC3E}">
        <p14:creationId xmlns:p14="http://schemas.microsoft.com/office/powerpoint/2010/main" val="41158784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DAE2B2DE-D378-F845-9051-8BDB50FD7434}"/>
              </a:ext>
            </a:extLst>
          </p:cNvPr>
          <p:cNvGrpSpPr>
            <a:grpSpLocks noChangeAspect="1"/>
          </p:cNvGrpSpPr>
          <p:nvPr/>
        </p:nvGrpSpPr>
        <p:grpSpPr>
          <a:xfrm>
            <a:off x="6029666" y="1487904"/>
            <a:ext cx="5957953" cy="4190123"/>
            <a:chOff x="6709354" y="1795075"/>
            <a:chExt cx="5183347" cy="3614023"/>
          </a:xfrm>
        </p:grpSpPr>
        <p:grpSp>
          <p:nvGrpSpPr>
            <p:cNvPr id="6" name="Group 5">
              <a:extLst>
                <a:ext uri="{FF2B5EF4-FFF2-40B4-BE49-F238E27FC236}">
                  <a16:creationId xmlns:a16="http://schemas.microsoft.com/office/drawing/2014/main" id="{DA58509C-FDF9-49CC-9287-30E7309BA2E0}"/>
                </a:ext>
              </a:extLst>
            </p:cNvPr>
            <p:cNvGrpSpPr/>
            <p:nvPr/>
          </p:nvGrpSpPr>
          <p:grpSpPr>
            <a:xfrm>
              <a:off x="6709354" y="1811283"/>
              <a:ext cx="5183347" cy="3597815"/>
              <a:chOff x="6195004" y="1811283"/>
              <a:chExt cx="5183347" cy="3597815"/>
            </a:xfrm>
          </p:grpSpPr>
          <p:sp>
            <p:nvSpPr>
              <p:cNvPr id="7" name="Rectangle 6">
                <a:extLst>
                  <a:ext uri="{FF2B5EF4-FFF2-40B4-BE49-F238E27FC236}">
                    <a16:creationId xmlns:a16="http://schemas.microsoft.com/office/drawing/2014/main" id="{9477DC3F-76CD-4302-8C32-40212D9C4D67}"/>
                  </a:ext>
                </a:extLst>
              </p:cNvPr>
              <p:cNvSpPr/>
              <p:nvPr/>
            </p:nvSpPr>
            <p:spPr>
              <a:xfrm>
                <a:off x="6195004" y="1811286"/>
                <a:ext cx="5133177" cy="3594256"/>
              </a:xfrm>
              <a:prstGeom prst="rect">
                <a:avLst/>
              </a:prstGeom>
              <a:solidFill>
                <a:schemeClr val="bg2"/>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mn-cs"/>
                </a:endParaRPr>
              </a:p>
            </p:txBody>
          </p:sp>
          <p:sp>
            <p:nvSpPr>
              <p:cNvPr id="8" name="Rectangle 7">
                <a:extLst>
                  <a:ext uri="{FF2B5EF4-FFF2-40B4-BE49-F238E27FC236}">
                    <a16:creationId xmlns:a16="http://schemas.microsoft.com/office/drawing/2014/main" id="{D9899E64-143D-46EF-8756-AB78BC006CDE}"/>
                  </a:ext>
                </a:extLst>
              </p:cNvPr>
              <p:cNvSpPr/>
              <p:nvPr/>
            </p:nvSpPr>
            <p:spPr>
              <a:xfrm>
                <a:off x="6195004" y="1811283"/>
                <a:ext cx="5133177" cy="862783"/>
              </a:xfrm>
              <a:prstGeom prst="rect">
                <a:avLst/>
              </a:prstGeom>
              <a:solidFill>
                <a:srgbClr val="99CCFF">
                  <a:alpha val="20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mn-cs"/>
                </a:endParaRPr>
              </a:p>
            </p:txBody>
          </p:sp>
          <p:sp>
            <p:nvSpPr>
              <p:cNvPr id="9" name="Rectangle 8">
                <a:extLst>
                  <a:ext uri="{FF2B5EF4-FFF2-40B4-BE49-F238E27FC236}">
                    <a16:creationId xmlns:a16="http://schemas.microsoft.com/office/drawing/2014/main" id="{F76441C6-2810-40AF-A6A6-C6277C399BF9}"/>
                  </a:ext>
                </a:extLst>
              </p:cNvPr>
              <p:cNvSpPr/>
              <p:nvPr/>
            </p:nvSpPr>
            <p:spPr>
              <a:xfrm>
                <a:off x="6195004" y="2933116"/>
                <a:ext cx="5133177" cy="2475982"/>
              </a:xfrm>
              <a:prstGeom prst="rect">
                <a:avLst/>
              </a:prstGeom>
              <a:solidFill>
                <a:srgbClr val="FFC000">
                  <a:alpha val="10000"/>
                </a:srgbClr>
              </a:solidFill>
              <a:ln>
                <a:solidFill>
                  <a:srgbClr val="0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mn-cs"/>
                </a:endParaRPr>
              </a:p>
            </p:txBody>
          </p:sp>
          <p:sp>
            <p:nvSpPr>
              <p:cNvPr id="10" name="Rectangle: Rounded Corners 9">
                <a:extLst>
                  <a:ext uri="{FF2B5EF4-FFF2-40B4-BE49-F238E27FC236}">
                    <a16:creationId xmlns:a16="http://schemas.microsoft.com/office/drawing/2014/main" id="{A2FEC44E-8207-4B87-A6B8-83F9D2E53215}"/>
                  </a:ext>
                </a:extLst>
              </p:cNvPr>
              <p:cNvSpPr/>
              <p:nvPr/>
            </p:nvSpPr>
            <p:spPr bwMode="auto">
              <a:xfrm>
                <a:off x="7704173" y="4665556"/>
                <a:ext cx="551750" cy="208629"/>
              </a:xfrm>
              <a:prstGeom prst="roundRect">
                <a:avLst>
                  <a:gd name="adj" fmla="val 27467"/>
                </a:avLst>
              </a:prstGeom>
              <a:solidFill>
                <a:schemeClr val="accent5">
                  <a:lumMod val="50000"/>
                </a:schemeClr>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rPr>
                  <a:t>RAF</a:t>
                </a:r>
              </a:p>
            </p:txBody>
          </p:sp>
          <p:sp>
            <p:nvSpPr>
              <p:cNvPr id="11" name="Rectangle: Rounded Corners 10">
                <a:extLst>
                  <a:ext uri="{FF2B5EF4-FFF2-40B4-BE49-F238E27FC236}">
                    <a16:creationId xmlns:a16="http://schemas.microsoft.com/office/drawing/2014/main" id="{159915A5-4E78-4F72-90D8-AC3F26CAF410}"/>
                  </a:ext>
                </a:extLst>
              </p:cNvPr>
              <p:cNvSpPr/>
              <p:nvPr/>
            </p:nvSpPr>
            <p:spPr bwMode="auto">
              <a:xfrm>
                <a:off x="8328680" y="4665556"/>
                <a:ext cx="551750" cy="208629"/>
              </a:xfrm>
              <a:prstGeom prst="roundRect">
                <a:avLst>
                  <a:gd name="adj" fmla="val 27467"/>
                </a:avLst>
              </a:prstGeom>
              <a:solidFill>
                <a:schemeClr val="accent5">
                  <a:lumMod val="50000"/>
                </a:schemeClr>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rPr>
                  <a:t>MEK</a:t>
                </a:r>
              </a:p>
            </p:txBody>
          </p:sp>
          <p:sp>
            <p:nvSpPr>
              <p:cNvPr id="12" name="Rectangle: Rounded Corners 11">
                <a:extLst>
                  <a:ext uri="{FF2B5EF4-FFF2-40B4-BE49-F238E27FC236}">
                    <a16:creationId xmlns:a16="http://schemas.microsoft.com/office/drawing/2014/main" id="{8AEF76B3-7A31-4F5E-B77B-4DA1DCABCAC7}"/>
                  </a:ext>
                </a:extLst>
              </p:cNvPr>
              <p:cNvSpPr/>
              <p:nvPr/>
            </p:nvSpPr>
            <p:spPr bwMode="auto">
              <a:xfrm>
                <a:off x="8953187" y="4665556"/>
                <a:ext cx="551750" cy="208629"/>
              </a:xfrm>
              <a:prstGeom prst="roundRect">
                <a:avLst>
                  <a:gd name="adj" fmla="val 27467"/>
                </a:avLst>
              </a:prstGeom>
              <a:solidFill>
                <a:schemeClr val="accent5">
                  <a:lumMod val="50000"/>
                </a:schemeClr>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rPr>
                  <a:t>ERK</a:t>
                </a:r>
              </a:p>
            </p:txBody>
          </p:sp>
          <p:sp>
            <p:nvSpPr>
              <p:cNvPr id="13" name="Rectangle: Rounded Corners 12">
                <a:extLst>
                  <a:ext uri="{FF2B5EF4-FFF2-40B4-BE49-F238E27FC236}">
                    <a16:creationId xmlns:a16="http://schemas.microsoft.com/office/drawing/2014/main" id="{16978243-A04E-4111-919A-BDEB2FF01780}"/>
                  </a:ext>
                </a:extLst>
              </p:cNvPr>
              <p:cNvSpPr/>
              <p:nvPr/>
            </p:nvSpPr>
            <p:spPr bwMode="auto">
              <a:xfrm>
                <a:off x="6255359" y="4168492"/>
                <a:ext cx="832168" cy="186852"/>
              </a:xfrm>
              <a:prstGeom prst="roundRect">
                <a:avLst>
                  <a:gd name="adj" fmla="val 50000"/>
                </a:avLst>
              </a:prstGeom>
              <a:solidFill>
                <a:srgbClr val="C00000"/>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rPr>
                  <a:t>RAS-GDP</a:t>
                </a:r>
              </a:p>
            </p:txBody>
          </p:sp>
          <p:sp>
            <p:nvSpPr>
              <p:cNvPr id="14" name="Rectangle: Rounded Corners 13">
                <a:extLst>
                  <a:ext uri="{FF2B5EF4-FFF2-40B4-BE49-F238E27FC236}">
                    <a16:creationId xmlns:a16="http://schemas.microsoft.com/office/drawing/2014/main" id="{CE92B654-B0C8-44AB-860D-B21715A0F2FD}"/>
                  </a:ext>
                </a:extLst>
              </p:cNvPr>
              <p:cNvSpPr/>
              <p:nvPr/>
            </p:nvSpPr>
            <p:spPr bwMode="auto">
              <a:xfrm>
                <a:off x="7264875" y="4168492"/>
                <a:ext cx="832168" cy="186852"/>
              </a:xfrm>
              <a:prstGeom prst="roundRect">
                <a:avLst>
                  <a:gd name="adj" fmla="val 50000"/>
                </a:avLst>
              </a:prstGeom>
              <a:solidFill>
                <a:srgbClr val="C00000"/>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rPr>
                  <a:t>RAS-GTP</a:t>
                </a:r>
              </a:p>
            </p:txBody>
          </p:sp>
          <p:sp>
            <p:nvSpPr>
              <p:cNvPr id="15" name="Arc 14">
                <a:extLst>
                  <a:ext uri="{FF2B5EF4-FFF2-40B4-BE49-F238E27FC236}">
                    <a16:creationId xmlns:a16="http://schemas.microsoft.com/office/drawing/2014/main" id="{E57D92B9-B425-475D-8A03-87D7870CADF6}"/>
                  </a:ext>
                </a:extLst>
              </p:cNvPr>
              <p:cNvSpPr/>
              <p:nvPr/>
            </p:nvSpPr>
            <p:spPr bwMode="auto">
              <a:xfrm>
                <a:off x="6658801" y="3981352"/>
                <a:ext cx="1077540" cy="331590"/>
              </a:xfrm>
              <a:prstGeom prst="arc">
                <a:avLst>
                  <a:gd name="adj1" fmla="val 10861372"/>
                  <a:gd name="adj2" fmla="val 21540221"/>
                </a:avLst>
              </a:prstGeom>
              <a:noFill/>
              <a:ln w="19050" cap="flat" cmpd="sng" algn="ctr">
                <a:solidFill>
                  <a:srgbClr val="000000"/>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alpha val="95000"/>
                    </a:srgbClr>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6" name="Arc 15">
                <a:extLst>
                  <a:ext uri="{FF2B5EF4-FFF2-40B4-BE49-F238E27FC236}">
                    <a16:creationId xmlns:a16="http://schemas.microsoft.com/office/drawing/2014/main" id="{99B3A0B8-8B33-46C9-9BC1-A1BED86ACDCD}"/>
                  </a:ext>
                </a:extLst>
              </p:cNvPr>
              <p:cNvSpPr/>
              <p:nvPr/>
            </p:nvSpPr>
            <p:spPr bwMode="auto">
              <a:xfrm rot="10800000">
                <a:off x="6658285" y="4218277"/>
                <a:ext cx="1077540" cy="331590"/>
              </a:xfrm>
              <a:prstGeom prst="arc">
                <a:avLst>
                  <a:gd name="adj1" fmla="val 10861372"/>
                  <a:gd name="adj2" fmla="val 21540221"/>
                </a:avLst>
              </a:prstGeom>
              <a:noFill/>
              <a:ln w="19050" cap="flat" cmpd="sng" algn="ctr">
                <a:solidFill>
                  <a:srgbClr val="000000"/>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alpha val="95000"/>
                    </a:srgbClr>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7" name="Arc 16">
                <a:extLst>
                  <a:ext uri="{FF2B5EF4-FFF2-40B4-BE49-F238E27FC236}">
                    <a16:creationId xmlns:a16="http://schemas.microsoft.com/office/drawing/2014/main" id="{E174E70C-E338-42F1-80EA-8A80CE366C7D}"/>
                  </a:ext>
                </a:extLst>
              </p:cNvPr>
              <p:cNvSpPr/>
              <p:nvPr/>
            </p:nvSpPr>
            <p:spPr bwMode="auto">
              <a:xfrm>
                <a:off x="8604555" y="4494090"/>
                <a:ext cx="647763" cy="331590"/>
              </a:xfrm>
              <a:prstGeom prst="arc">
                <a:avLst>
                  <a:gd name="adj1" fmla="val 10861372"/>
                  <a:gd name="adj2" fmla="val 1742"/>
                </a:avLst>
              </a:prstGeom>
              <a:noFill/>
              <a:ln w="19050" cap="flat" cmpd="sng" algn="ctr">
                <a:solidFill>
                  <a:srgbClr val="000000"/>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alpha val="95000"/>
                    </a:srgbClr>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8" name="Arc 17">
                <a:extLst>
                  <a:ext uri="{FF2B5EF4-FFF2-40B4-BE49-F238E27FC236}">
                    <a16:creationId xmlns:a16="http://schemas.microsoft.com/office/drawing/2014/main" id="{4BFDD98C-70B7-4ED5-935E-BCBC1A2FFDD2}"/>
                  </a:ext>
                </a:extLst>
              </p:cNvPr>
              <p:cNvSpPr/>
              <p:nvPr/>
            </p:nvSpPr>
            <p:spPr bwMode="auto">
              <a:xfrm rot="10800000">
                <a:off x="7999156" y="4717449"/>
                <a:ext cx="647763" cy="331590"/>
              </a:xfrm>
              <a:prstGeom prst="arc">
                <a:avLst>
                  <a:gd name="adj1" fmla="val 10861372"/>
                  <a:gd name="adj2" fmla="val 1742"/>
                </a:avLst>
              </a:prstGeom>
              <a:noFill/>
              <a:ln w="19050" cap="flat" cmpd="sng" algn="ctr">
                <a:solidFill>
                  <a:srgbClr val="000000"/>
                </a:solidFill>
                <a:prstDash val="solid"/>
                <a:round/>
                <a:headEnd type="triangl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alpha val="95000"/>
                    </a:srgbClr>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cxnSp>
            <p:nvCxnSpPr>
              <p:cNvPr id="19" name="Straight Arrow Connector 18">
                <a:extLst>
                  <a:ext uri="{FF2B5EF4-FFF2-40B4-BE49-F238E27FC236}">
                    <a16:creationId xmlns:a16="http://schemas.microsoft.com/office/drawing/2014/main" id="{CED5A2C2-E304-46A5-8B2D-F166E52C80D3}"/>
                  </a:ext>
                </a:extLst>
              </p:cNvPr>
              <p:cNvCxnSpPr>
                <a:cxnSpLocks/>
              </p:cNvCxnSpPr>
              <p:nvPr/>
            </p:nvCxnSpPr>
            <p:spPr bwMode="auto">
              <a:xfrm>
                <a:off x="7976888" y="4355344"/>
                <a:ext cx="0" cy="312698"/>
              </a:xfrm>
              <a:prstGeom prst="straightConnector1">
                <a:avLst/>
              </a:prstGeom>
              <a:solidFill>
                <a:srgbClr val="C0C0C0"/>
              </a:solidFill>
              <a:ln w="19050" cap="flat" cmpd="sng" algn="ctr">
                <a:solidFill>
                  <a:srgbClr val="000000"/>
                </a:solidFill>
                <a:prstDash val="solid"/>
                <a:round/>
                <a:headEnd type="none" w="med" len="med"/>
                <a:tailEnd type="triangle"/>
              </a:ln>
              <a:effectLst/>
            </p:spPr>
          </p:cxnSp>
          <p:sp>
            <p:nvSpPr>
              <p:cNvPr id="20" name="Rectangle: Rounded Corners 19">
                <a:extLst>
                  <a:ext uri="{FF2B5EF4-FFF2-40B4-BE49-F238E27FC236}">
                    <a16:creationId xmlns:a16="http://schemas.microsoft.com/office/drawing/2014/main" id="{6CF932A8-3F53-4D69-BF33-B9AE9E533684}"/>
                  </a:ext>
                </a:extLst>
              </p:cNvPr>
              <p:cNvSpPr/>
              <p:nvPr/>
            </p:nvSpPr>
            <p:spPr bwMode="auto">
              <a:xfrm>
                <a:off x="6924443" y="3543509"/>
                <a:ext cx="497561" cy="222726"/>
              </a:xfrm>
              <a:prstGeom prst="roundRect">
                <a:avLst/>
              </a:prstGeom>
              <a:solidFill>
                <a:schemeClr val="accent4"/>
              </a:solidFill>
              <a:ln w="12700" cap="flat" cmpd="sng" algn="ctr">
                <a:solidFill>
                  <a:srgbClr val="000000"/>
                </a:solidFill>
                <a:prstDash val="solid"/>
                <a:round/>
                <a:headEnd type="none" w="med" len="med"/>
                <a:tailEnd type="none" w="med" len="med"/>
              </a:ln>
              <a:effectLst/>
            </p:spPr>
            <p:txBody>
              <a:bodyPr vert="horz" wrap="square" lIns="36000" tIns="45720" rIns="3600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SHC</a:t>
                </a:r>
              </a:p>
            </p:txBody>
          </p:sp>
          <p:sp>
            <p:nvSpPr>
              <p:cNvPr id="21" name="Oval 20">
                <a:extLst>
                  <a:ext uri="{FF2B5EF4-FFF2-40B4-BE49-F238E27FC236}">
                    <a16:creationId xmlns:a16="http://schemas.microsoft.com/office/drawing/2014/main" id="{0D9D0258-5781-4B76-8D19-708F920E3AF1}"/>
                  </a:ext>
                </a:extLst>
              </p:cNvPr>
              <p:cNvSpPr/>
              <p:nvPr/>
            </p:nvSpPr>
            <p:spPr bwMode="auto">
              <a:xfrm>
                <a:off x="7583931" y="3573181"/>
                <a:ext cx="523344" cy="258792"/>
              </a:xfrm>
              <a:prstGeom prst="ellipse">
                <a:avLst/>
              </a:prstGeom>
              <a:solidFill>
                <a:schemeClr val="accent2"/>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Grb2</a:t>
                </a:r>
              </a:p>
            </p:txBody>
          </p:sp>
          <p:sp>
            <p:nvSpPr>
              <p:cNvPr id="22" name="Oval 21">
                <a:extLst>
                  <a:ext uri="{FF2B5EF4-FFF2-40B4-BE49-F238E27FC236}">
                    <a16:creationId xmlns:a16="http://schemas.microsoft.com/office/drawing/2014/main" id="{1FCD8C5A-8D39-42C6-BC09-AA981EAF1D9F}"/>
                  </a:ext>
                </a:extLst>
              </p:cNvPr>
              <p:cNvSpPr/>
              <p:nvPr/>
            </p:nvSpPr>
            <p:spPr bwMode="auto">
              <a:xfrm>
                <a:off x="7233460" y="3733087"/>
                <a:ext cx="523344" cy="258792"/>
              </a:xfrm>
              <a:prstGeom prst="ellipse">
                <a:avLst/>
              </a:prstGeom>
              <a:solidFill>
                <a:schemeClr val="accent6"/>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SOS</a:t>
                </a:r>
              </a:p>
            </p:txBody>
          </p:sp>
          <p:sp>
            <p:nvSpPr>
              <p:cNvPr id="23" name="TextBox 22">
                <a:extLst>
                  <a:ext uri="{FF2B5EF4-FFF2-40B4-BE49-F238E27FC236}">
                    <a16:creationId xmlns:a16="http://schemas.microsoft.com/office/drawing/2014/main" id="{3FB6378D-3F77-4815-B8E4-0F61ABC9BC99}"/>
                  </a:ext>
                </a:extLst>
              </p:cNvPr>
              <p:cNvSpPr txBox="1"/>
              <p:nvPr/>
            </p:nvSpPr>
            <p:spPr>
              <a:xfrm>
                <a:off x="7370484" y="4860887"/>
                <a:ext cx="714486" cy="430887"/>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0000">
                        <a:alpha val="95000"/>
                      </a:srgbClr>
                    </a:solidFill>
                    <a:effectLst/>
                    <a:uLnTx/>
                    <a:uFillTx/>
                    <a:latin typeface="Verdana" panose="020B0604030504040204" pitchFamily="34" charset="0"/>
                    <a:ea typeface="Verdana" panose="020B0604030504040204" pitchFamily="34" charset="0"/>
                    <a:cs typeface="Arial" pitchFamily="34" charset="0"/>
                  </a:rPr>
                  <a:t>MAPK</a:t>
                </a:r>
                <a:br>
                  <a:rPr kumimoji="0" lang="en-GB" sz="1100" b="1" i="0" u="none" strike="noStrike" kern="1200" cap="none" spc="0" normalizeH="0" baseline="0" noProof="0">
                    <a:ln>
                      <a:noFill/>
                    </a:ln>
                    <a:solidFill>
                      <a:srgbClr val="000000">
                        <a:alpha val="95000"/>
                      </a:srgbClr>
                    </a:solidFill>
                    <a:effectLst/>
                    <a:uLnTx/>
                    <a:uFillTx/>
                    <a:latin typeface="Verdana" panose="020B0604030504040204" pitchFamily="34" charset="0"/>
                    <a:ea typeface="Verdana" panose="020B0604030504040204" pitchFamily="34" charset="0"/>
                    <a:cs typeface="Arial" pitchFamily="34" charset="0"/>
                  </a:rPr>
                </a:br>
                <a:r>
                  <a:rPr kumimoji="0" lang="en-GB" sz="1100" b="1" i="0" u="none" strike="noStrike" kern="1200" cap="none" spc="0" normalizeH="0" baseline="0" noProof="0">
                    <a:ln>
                      <a:noFill/>
                    </a:ln>
                    <a:solidFill>
                      <a:srgbClr val="000000">
                        <a:alpha val="95000"/>
                      </a:srgbClr>
                    </a:solidFill>
                    <a:effectLst/>
                    <a:uLnTx/>
                    <a:uFillTx/>
                    <a:latin typeface="Verdana" panose="020B0604030504040204" pitchFamily="34" charset="0"/>
                    <a:ea typeface="Verdana" panose="020B0604030504040204" pitchFamily="34" charset="0"/>
                    <a:cs typeface="Arial" pitchFamily="34" charset="0"/>
                  </a:rPr>
                  <a:t>cascade</a:t>
                </a:r>
              </a:p>
            </p:txBody>
          </p:sp>
          <p:sp>
            <p:nvSpPr>
              <p:cNvPr id="24" name="Rectangle: Rounded Corners 23">
                <a:extLst>
                  <a:ext uri="{FF2B5EF4-FFF2-40B4-BE49-F238E27FC236}">
                    <a16:creationId xmlns:a16="http://schemas.microsoft.com/office/drawing/2014/main" id="{5F32D9F3-05C9-47AE-A7A9-DA846CEBC6B5}"/>
                  </a:ext>
                </a:extLst>
              </p:cNvPr>
              <p:cNvSpPr/>
              <p:nvPr/>
            </p:nvSpPr>
            <p:spPr bwMode="auto">
              <a:xfrm>
                <a:off x="8530015" y="3592056"/>
                <a:ext cx="551750" cy="222727"/>
              </a:xfrm>
              <a:prstGeom prst="roundRect">
                <a:avLst>
                  <a:gd name="adj" fmla="val 6870"/>
                </a:avLst>
              </a:prstGeom>
              <a:solidFill>
                <a:srgbClr val="0070C0"/>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rPr>
                  <a:t>PI3K</a:t>
                </a:r>
              </a:p>
            </p:txBody>
          </p:sp>
          <p:sp>
            <p:nvSpPr>
              <p:cNvPr id="25" name="Rectangle: Rounded Corners 24">
                <a:extLst>
                  <a:ext uri="{FF2B5EF4-FFF2-40B4-BE49-F238E27FC236}">
                    <a16:creationId xmlns:a16="http://schemas.microsoft.com/office/drawing/2014/main" id="{01AA98EB-9C86-4631-ADEE-E336C816B2F8}"/>
                  </a:ext>
                </a:extLst>
              </p:cNvPr>
              <p:cNvSpPr/>
              <p:nvPr/>
            </p:nvSpPr>
            <p:spPr bwMode="auto">
              <a:xfrm>
                <a:off x="9486395" y="3592056"/>
                <a:ext cx="784213" cy="222727"/>
              </a:xfrm>
              <a:prstGeom prst="roundRect">
                <a:avLst>
                  <a:gd name="adj" fmla="val 6870"/>
                </a:avLst>
              </a:prstGeom>
              <a:solidFill>
                <a:schemeClr val="accent6">
                  <a:lumMod val="75000"/>
                </a:schemeClr>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rPr>
                  <a:t>AKT/PKB</a:t>
                </a:r>
              </a:p>
            </p:txBody>
          </p:sp>
          <p:sp>
            <p:nvSpPr>
              <p:cNvPr id="26" name="Rectangle: Rounded Corners 25">
                <a:extLst>
                  <a:ext uri="{FF2B5EF4-FFF2-40B4-BE49-F238E27FC236}">
                    <a16:creationId xmlns:a16="http://schemas.microsoft.com/office/drawing/2014/main" id="{9D118873-EFA4-49D2-A40A-9F6FD694E856}"/>
                  </a:ext>
                </a:extLst>
              </p:cNvPr>
              <p:cNvSpPr/>
              <p:nvPr/>
            </p:nvSpPr>
            <p:spPr bwMode="auto">
              <a:xfrm>
                <a:off x="10318509" y="4027827"/>
                <a:ext cx="551750" cy="222727"/>
              </a:xfrm>
              <a:prstGeom prst="roundRect">
                <a:avLst>
                  <a:gd name="adj" fmla="val 6870"/>
                </a:avLst>
              </a:prstGeom>
              <a:solidFill>
                <a:schemeClr val="accent6">
                  <a:lumMod val="75000"/>
                </a:schemeClr>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rPr>
                  <a:t>mTOR</a:t>
                </a:r>
              </a:p>
            </p:txBody>
          </p:sp>
          <p:sp>
            <p:nvSpPr>
              <p:cNvPr id="27" name="Oval 26">
                <a:extLst>
                  <a:ext uri="{FF2B5EF4-FFF2-40B4-BE49-F238E27FC236}">
                    <a16:creationId xmlns:a16="http://schemas.microsoft.com/office/drawing/2014/main" id="{27684029-C931-489B-8050-DE0BF7E6A1D7}"/>
                  </a:ext>
                </a:extLst>
              </p:cNvPr>
              <p:cNvSpPr/>
              <p:nvPr/>
            </p:nvSpPr>
            <p:spPr bwMode="auto">
              <a:xfrm>
                <a:off x="9477972" y="3777446"/>
                <a:ext cx="165204" cy="165204"/>
              </a:xfrm>
              <a:prstGeom prst="ellipse">
                <a:avLst/>
              </a:prstGeom>
              <a:solidFill>
                <a:srgbClr val="FF5050"/>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alpha val="95000"/>
                      </a:srgbClr>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P</a:t>
                </a:r>
              </a:p>
            </p:txBody>
          </p:sp>
          <p:sp>
            <p:nvSpPr>
              <p:cNvPr id="28" name="Oval 27">
                <a:extLst>
                  <a:ext uri="{FF2B5EF4-FFF2-40B4-BE49-F238E27FC236}">
                    <a16:creationId xmlns:a16="http://schemas.microsoft.com/office/drawing/2014/main" id="{1F6EB9C8-6D4B-4BD1-AD9F-5A9E32D5CEF7}"/>
                  </a:ext>
                </a:extLst>
              </p:cNvPr>
              <p:cNvSpPr/>
              <p:nvPr/>
            </p:nvSpPr>
            <p:spPr bwMode="auto">
              <a:xfrm>
                <a:off x="10105404" y="3454355"/>
                <a:ext cx="165204" cy="165204"/>
              </a:xfrm>
              <a:prstGeom prst="ellipse">
                <a:avLst/>
              </a:prstGeom>
              <a:solidFill>
                <a:srgbClr val="FF5050"/>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alpha val="95000"/>
                      </a:srgbClr>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P</a:t>
                </a:r>
              </a:p>
            </p:txBody>
          </p:sp>
          <p:cxnSp>
            <p:nvCxnSpPr>
              <p:cNvPr id="29" name="Straight Arrow Connector 28">
                <a:extLst>
                  <a:ext uri="{FF2B5EF4-FFF2-40B4-BE49-F238E27FC236}">
                    <a16:creationId xmlns:a16="http://schemas.microsoft.com/office/drawing/2014/main" id="{66E73D04-E838-4591-9EFF-38284262B0A4}"/>
                  </a:ext>
                </a:extLst>
              </p:cNvPr>
              <p:cNvCxnSpPr>
                <a:cxnSpLocks/>
              </p:cNvCxnSpPr>
              <p:nvPr/>
            </p:nvCxnSpPr>
            <p:spPr bwMode="auto">
              <a:xfrm rot="16200000">
                <a:off x="8318645" y="3546229"/>
                <a:ext cx="0" cy="312698"/>
              </a:xfrm>
              <a:prstGeom prst="straightConnector1">
                <a:avLst/>
              </a:prstGeom>
              <a:solidFill>
                <a:srgbClr val="C0C0C0"/>
              </a:solidFill>
              <a:ln w="19050" cap="flat" cmpd="sng" algn="ctr">
                <a:solidFill>
                  <a:srgbClr val="000000"/>
                </a:solidFill>
                <a:prstDash val="solid"/>
                <a:round/>
                <a:headEnd type="none" w="med" len="med"/>
                <a:tailEnd type="triangle"/>
              </a:ln>
              <a:effectLst/>
            </p:spPr>
          </p:cxnSp>
          <p:cxnSp>
            <p:nvCxnSpPr>
              <p:cNvPr id="30" name="Straight Arrow Connector 29">
                <a:extLst>
                  <a:ext uri="{FF2B5EF4-FFF2-40B4-BE49-F238E27FC236}">
                    <a16:creationId xmlns:a16="http://schemas.microsoft.com/office/drawing/2014/main" id="{E9E23178-AEB2-4E6D-990F-574312F7072B}"/>
                  </a:ext>
                </a:extLst>
              </p:cNvPr>
              <p:cNvCxnSpPr>
                <a:cxnSpLocks/>
              </p:cNvCxnSpPr>
              <p:nvPr/>
            </p:nvCxnSpPr>
            <p:spPr bwMode="auto">
              <a:xfrm rot="16200000">
                <a:off x="9293135" y="3546229"/>
                <a:ext cx="0" cy="312698"/>
              </a:xfrm>
              <a:prstGeom prst="straightConnector1">
                <a:avLst/>
              </a:prstGeom>
              <a:solidFill>
                <a:srgbClr val="C0C0C0"/>
              </a:solidFill>
              <a:ln w="19050" cap="flat" cmpd="sng" algn="ctr">
                <a:solidFill>
                  <a:srgbClr val="000000"/>
                </a:solidFill>
                <a:prstDash val="solid"/>
                <a:round/>
                <a:headEnd type="none" w="med" len="med"/>
                <a:tailEnd type="triangle"/>
              </a:ln>
              <a:effectLst/>
            </p:spPr>
          </p:cxnSp>
          <p:cxnSp>
            <p:nvCxnSpPr>
              <p:cNvPr id="31" name="Connector: Elbow 30">
                <a:extLst>
                  <a:ext uri="{FF2B5EF4-FFF2-40B4-BE49-F238E27FC236}">
                    <a16:creationId xmlns:a16="http://schemas.microsoft.com/office/drawing/2014/main" id="{428C8762-63F0-4D6D-BADF-2256966C2EE6}"/>
                  </a:ext>
                </a:extLst>
              </p:cNvPr>
              <p:cNvCxnSpPr>
                <a:cxnSpLocks/>
                <a:endCxn id="26" idx="0"/>
              </p:cNvCxnSpPr>
              <p:nvPr/>
            </p:nvCxnSpPr>
            <p:spPr bwMode="auto">
              <a:xfrm rot="16200000" flipH="1">
                <a:off x="10302442" y="3735885"/>
                <a:ext cx="330858" cy="253025"/>
              </a:xfrm>
              <a:prstGeom prst="bentConnector3">
                <a:avLst>
                  <a:gd name="adj1" fmla="val 2621"/>
                </a:avLst>
              </a:prstGeom>
              <a:solidFill>
                <a:srgbClr val="C0C0C0"/>
              </a:solidFill>
              <a:ln w="19050" cap="flat" cmpd="sng" algn="ctr">
                <a:solidFill>
                  <a:srgbClr val="000000"/>
                </a:solidFill>
                <a:prstDash val="solid"/>
                <a:round/>
                <a:headEnd type="none" w="med" len="med"/>
                <a:tailEnd type="triangle"/>
              </a:ln>
              <a:effectLst/>
            </p:spPr>
          </p:cxnSp>
          <p:grpSp>
            <p:nvGrpSpPr>
              <p:cNvPr id="32" name="Group 31">
                <a:extLst>
                  <a:ext uri="{FF2B5EF4-FFF2-40B4-BE49-F238E27FC236}">
                    <a16:creationId xmlns:a16="http://schemas.microsoft.com/office/drawing/2014/main" id="{80C5B4FE-AFAF-4DC9-A9DA-97D2D2C18CB6}"/>
                  </a:ext>
                </a:extLst>
              </p:cNvPr>
              <p:cNvGrpSpPr/>
              <p:nvPr/>
            </p:nvGrpSpPr>
            <p:grpSpPr>
              <a:xfrm>
                <a:off x="9917413" y="4533302"/>
                <a:ext cx="1377719" cy="699884"/>
                <a:chOff x="8222071" y="1604129"/>
                <a:chExt cx="1377719" cy="699884"/>
              </a:xfrm>
            </p:grpSpPr>
            <p:sp>
              <p:nvSpPr>
                <p:cNvPr id="295" name="Oval 294">
                  <a:extLst>
                    <a:ext uri="{FF2B5EF4-FFF2-40B4-BE49-F238E27FC236}">
                      <a16:creationId xmlns:a16="http://schemas.microsoft.com/office/drawing/2014/main" id="{2A54AAA7-AD43-40C6-9F4F-7EC65108BB69}"/>
                    </a:ext>
                  </a:extLst>
                </p:cNvPr>
                <p:cNvSpPr/>
                <p:nvPr/>
              </p:nvSpPr>
              <p:spPr bwMode="auto">
                <a:xfrm>
                  <a:off x="8256548" y="1604129"/>
                  <a:ext cx="1320648" cy="699884"/>
                </a:xfrm>
                <a:prstGeom prst="ellipse">
                  <a:avLst/>
                </a:prstGeom>
                <a:solidFill>
                  <a:srgbClr val="F7BDA3">
                    <a:alpha val="40000"/>
                  </a:srgbClr>
                </a:solidFill>
                <a:ln w="19050" cap="flat" cmpd="sng" algn="ctr">
                  <a:solidFill>
                    <a:srgbClr val="000000"/>
                  </a:solidFill>
                  <a:prstDash val="solid"/>
                  <a:round/>
                  <a:headEnd type="none" w="med" len="med"/>
                  <a:tailEnd type="none" w="med" len="med"/>
                </a:ln>
                <a:effectLst/>
              </p:spPr>
              <p:txBody>
                <a:bodyPr vert="horz" wrap="square" lIns="0" tIns="0" rIns="0" bIns="4572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200" b="1" i="0" u="none" strike="noStrike" kern="1200" cap="none" spc="0" normalizeH="0" baseline="0" noProof="0">
                    <a:ln>
                      <a:noFill/>
                    </a:ln>
                    <a:solidFill>
                      <a:srgbClr val="000000">
                        <a:alpha val="95000"/>
                      </a:srgbClr>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296" name="TextBox 295">
                  <a:extLst>
                    <a:ext uri="{FF2B5EF4-FFF2-40B4-BE49-F238E27FC236}">
                      <a16:creationId xmlns:a16="http://schemas.microsoft.com/office/drawing/2014/main" id="{5A8B432F-5D29-4A68-A307-2D08E9589602}"/>
                    </a:ext>
                  </a:extLst>
                </p:cNvPr>
                <p:cNvSpPr txBox="1"/>
                <p:nvPr/>
              </p:nvSpPr>
              <p:spPr>
                <a:xfrm>
                  <a:off x="8222071" y="1723238"/>
                  <a:ext cx="1377719" cy="461665"/>
                </a:xfrm>
                <a:prstGeom prst="rect">
                  <a:avLst/>
                </a:prstGeom>
                <a:noFill/>
              </p:spPr>
              <p:txBody>
                <a:bodyPr wrap="square" rtlCol="0">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200" b="1" i="0" u="none" strike="noStrike" kern="1200" cap="none" spc="0" normalizeH="0" baseline="0" noProof="0">
                      <a:ln>
                        <a:noFill/>
                      </a:ln>
                      <a:solidFill>
                        <a:srgbClr val="000000">
                          <a:alpha val="95000"/>
                        </a:srgbClr>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Nucleus gene transcription</a:t>
                  </a:r>
                </a:p>
              </p:txBody>
            </p:sp>
          </p:grpSp>
          <p:grpSp>
            <p:nvGrpSpPr>
              <p:cNvPr id="33" name="Group 32">
                <a:extLst>
                  <a:ext uri="{FF2B5EF4-FFF2-40B4-BE49-F238E27FC236}">
                    <a16:creationId xmlns:a16="http://schemas.microsoft.com/office/drawing/2014/main" id="{D73607A3-57AB-49BF-AC1F-321D19D2FC8F}"/>
                  </a:ext>
                </a:extLst>
              </p:cNvPr>
              <p:cNvGrpSpPr/>
              <p:nvPr/>
            </p:nvGrpSpPr>
            <p:grpSpPr>
              <a:xfrm>
                <a:off x="6995552" y="1884146"/>
                <a:ext cx="372463" cy="301219"/>
                <a:chOff x="5358138" y="1927615"/>
                <a:chExt cx="372463" cy="301219"/>
              </a:xfrm>
            </p:grpSpPr>
            <p:sp>
              <p:nvSpPr>
                <p:cNvPr id="293" name="Oval 292">
                  <a:extLst>
                    <a:ext uri="{FF2B5EF4-FFF2-40B4-BE49-F238E27FC236}">
                      <a16:creationId xmlns:a16="http://schemas.microsoft.com/office/drawing/2014/main" id="{ABA39C65-70FC-4E55-9864-7B7ED254EDA5}"/>
                    </a:ext>
                  </a:extLst>
                </p:cNvPr>
                <p:cNvSpPr/>
                <p:nvPr/>
              </p:nvSpPr>
              <p:spPr bwMode="auto">
                <a:xfrm>
                  <a:off x="5358138" y="1927615"/>
                  <a:ext cx="204636" cy="301219"/>
                </a:xfrm>
                <a:prstGeom prst="ellipse">
                  <a:avLst/>
                </a:prstGeom>
                <a:solidFill>
                  <a:srgbClr val="FFC000"/>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0000">
                          <a:alpha val="95000"/>
                        </a:srgbClr>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A</a:t>
                  </a:r>
                </a:p>
              </p:txBody>
            </p:sp>
            <p:sp>
              <p:nvSpPr>
                <p:cNvPr id="294" name="Oval 293">
                  <a:extLst>
                    <a:ext uri="{FF2B5EF4-FFF2-40B4-BE49-F238E27FC236}">
                      <a16:creationId xmlns:a16="http://schemas.microsoft.com/office/drawing/2014/main" id="{E7BFE3F0-98B6-42F1-816E-0186C9465733}"/>
                    </a:ext>
                  </a:extLst>
                </p:cNvPr>
                <p:cNvSpPr/>
                <p:nvPr/>
              </p:nvSpPr>
              <p:spPr bwMode="auto">
                <a:xfrm>
                  <a:off x="5525965" y="1927615"/>
                  <a:ext cx="204636" cy="301219"/>
                </a:xfrm>
                <a:prstGeom prst="ellipse">
                  <a:avLst/>
                </a:prstGeom>
                <a:solidFill>
                  <a:schemeClr val="accent2">
                    <a:lumMod val="20000"/>
                    <a:lumOff val="80000"/>
                  </a:schemeClr>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50" b="1" i="0" u="none" strike="noStrike" kern="1200" cap="none" spc="0" normalizeH="0" baseline="0" noProof="0">
                      <a:ln>
                        <a:noFill/>
                      </a:ln>
                      <a:solidFill>
                        <a:srgbClr val="000000">
                          <a:alpha val="95000"/>
                        </a:srgbClr>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B</a:t>
                  </a:r>
                </a:p>
              </p:txBody>
            </p:sp>
          </p:grpSp>
          <p:sp>
            <p:nvSpPr>
              <p:cNvPr id="34" name="TextBox 33">
                <a:extLst>
                  <a:ext uri="{FF2B5EF4-FFF2-40B4-BE49-F238E27FC236}">
                    <a16:creationId xmlns:a16="http://schemas.microsoft.com/office/drawing/2014/main" id="{E07B4BBE-6EFA-4245-8804-F493D36311BE}"/>
                  </a:ext>
                </a:extLst>
              </p:cNvPr>
              <p:cNvSpPr txBox="1"/>
              <p:nvPr/>
            </p:nvSpPr>
            <p:spPr>
              <a:xfrm>
                <a:off x="6390710" y="1824612"/>
                <a:ext cx="73653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0000">
                        <a:alpha val="50000"/>
                      </a:srgbClr>
                    </a:solidFill>
                    <a:effectLst/>
                    <a:uLnTx/>
                    <a:uFillTx/>
                    <a:latin typeface="Verdana" panose="020B0604030504040204" pitchFamily="34" charset="0"/>
                    <a:ea typeface="Verdana" panose="020B0604030504040204" pitchFamily="34" charset="0"/>
                    <a:cs typeface="Arial" pitchFamily="34" charset="0"/>
                  </a:rPr>
                  <a:t>PDGF</a:t>
                </a:r>
              </a:p>
            </p:txBody>
          </p:sp>
          <p:cxnSp>
            <p:nvCxnSpPr>
              <p:cNvPr id="35" name="Straight Arrow Connector 34">
                <a:extLst>
                  <a:ext uri="{FF2B5EF4-FFF2-40B4-BE49-F238E27FC236}">
                    <a16:creationId xmlns:a16="http://schemas.microsoft.com/office/drawing/2014/main" id="{7DA994E7-9AC4-4796-8065-87B60AB585AF}"/>
                  </a:ext>
                </a:extLst>
              </p:cNvPr>
              <p:cNvCxnSpPr>
                <a:cxnSpLocks/>
              </p:cNvCxnSpPr>
              <p:nvPr/>
            </p:nvCxnSpPr>
            <p:spPr bwMode="auto">
              <a:xfrm>
                <a:off x="9559777" y="4782135"/>
                <a:ext cx="305896" cy="78752"/>
              </a:xfrm>
              <a:prstGeom prst="straightConnector1">
                <a:avLst/>
              </a:prstGeom>
              <a:solidFill>
                <a:srgbClr val="C0C0C0"/>
              </a:solidFill>
              <a:ln w="19050" cap="flat" cmpd="sng" algn="ctr">
                <a:solidFill>
                  <a:srgbClr val="000000"/>
                </a:solidFill>
                <a:prstDash val="solid"/>
                <a:round/>
                <a:headEnd type="none" w="med" len="med"/>
                <a:tailEnd type="triangle"/>
              </a:ln>
              <a:effectLst/>
            </p:spPr>
          </p:cxnSp>
          <p:grpSp>
            <p:nvGrpSpPr>
              <p:cNvPr id="36" name="Group 35">
                <a:extLst>
                  <a:ext uri="{FF2B5EF4-FFF2-40B4-BE49-F238E27FC236}">
                    <a16:creationId xmlns:a16="http://schemas.microsoft.com/office/drawing/2014/main" id="{C7CCBE52-6BA3-4B1D-AC98-ABF772363601}"/>
                  </a:ext>
                </a:extLst>
              </p:cNvPr>
              <p:cNvGrpSpPr/>
              <p:nvPr/>
            </p:nvGrpSpPr>
            <p:grpSpPr>
              <a:xfrm>
                <a:off x="6202013" y="2655625"/>
                <a:ext cx="5126253" cy="308033"/>
                <a:chOff x="206300" y="1563884"/>
                <a:chExt cx="2583495" cy="417600"/>
              </a:xfrm>
            </p:grpSpPr>
            <p:grpSp>
              <p:nvGrpSpPr>
                <p:cNvPr id="68" name="Group 67">
                  <a:extLst>
                    <a:ext uri="{FF2B5EF4-FFF2-40B4-BE49-F238E27FC236}">
                      <a16:creationId xmlns:a16="http://schemas.microsoft.com/office/drawing/2014/main" id="{F1BA43B5-BC05-4545-BEF6-CDFD67A8214E}"/>
                    </a:ext>
                  </a:extLst>
                </p:cNvPr>
                <p:cNvGrpSpPr/>
                <p:nvPr/>
              </p:nvGrpSpPr>
              <p:grpSpPr>
                <a:xfrm>
                  <a:off x="206300" y="1563884"/>
                  <a:ext cx="1761030" cy="417600"/>
                  <a:chOff x="1951280" y="1702131"/>
                  <a:chExt cx="1761030" cy="417600"/>
                </a:xfrm>
              </p:grpSpPr>
              <p:grpSp>
                <p:nvGrpSpPr>
                  <p:cNvPr id="147" name="Group 146">
                    <a:extLst>
                      <a:ext uri="{FF2B5EF4-FFF2-40B4-BE49-F238E27FC236}">
                        <a16:creationId xmlns:a16="http://schemas.microsoft.com/office/drawing/2014/main" id="{775AC929-F31C-49FF-A197-1CB2A17144B9}"/>
                      </a:ext>
                    </a:extLst>
                  </p:cNvPr>
                  <p:cNvGrpSpPr/>
                  <p:nvPr/>
                </p:nvGrpSpPr>
                <p:grpSpPr>
                  <a:xfrm>
                    <a:off x="1951280" y="1702131"/>
                    <a:ext cx="1760976" cy="200517"/>
                    <a:chOff x="2731292" y="3253268"/>
                    <a:chExt cx="2704814" cy="291856"/>
                  </a:xfrm>
                  <a:solidFill>
                    <a:schemeClr val="bg1"/>
                  </a:solidFill>
                </p:grpSpPr>
                <p:sp>
                  <p:nvSpPr>
                    <p:cNvPr id="221" name="Freeform 247">
                      <a:extLst>
                        <a:ext uri="{FF2B5EF4-FFF2-40B4-BE49-F238E27FC236}">
                          <a16:creationId xmlns:a16="http://schemas.microsoft.com/office/drawing/2014/main" id="{7F99C61E-43C0-4324-84D7-F73E01658E62}"/>
                        </a:ext>
                      </a:extLst>
                    </p:cNvPr>
                    <p:cNvSpPr/>
                    <p:nvPr/>
                  </p:nvSpPr>
                  <p:spPr>
                    <a:xfrm>
                      <a:off x="2839294" y="3326342"/>
                      <a:ext cx="45720"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22" name="Oval 221">
                      <a:extLst>
                        <a:ext uri="{FF2B5EF4-FFF2-40B4-BE49-F238E27FC236}">
                          <a16:creationId xmlns:a16="http://schemas.microsoft.com/office/drawing/2014/main" id="{7B01B7F9-3AA6-4122-AFC9-5722B8F29F44}"/>
                        </a:ext>
                      </a:extLst>
                    </p:cNvPr>
                    <p:cNvSpPr/>
                    <p:nvPr/>
                  </p:nvSpPr>
                  <p:spPr>
                    <a:xfrm>
                      <a:off x="2839294"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23" name="Freeform 249">
                      <a:extLst>
                        <a:ext uri="{FF2B5EF4-FFF2-40B4-BE49-F238E27FC236}">
                          <a16:creationId xmlns:a16="http://schemas.microsoft.com/office/drawing/2014/main" id="{D6EC4409-52FA-45D0-BFB7-91E1E53C600B}"/>
                        </a:ext>
                      </a:extLst>
                    </p:cNvPr>
                    <p:cNvSpPr/>
                    <p:nvPr/>
                  </p:nvSpPr>
                  <p:spPr>
                    <a:xfrm>
                      <a:off x="2901036" y="3365286"/>
                      <a:ext cx="46259"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24" name="Oval 223">
                      <a:extLst>
                        <a:ext uri="{FF2B5EF4-FFF2-40B4-BE49-F238E27FC236}">
                          <a16:creationId xmlns:a16="http://schemas.microsoft.com/office/drawing/2014/main" id="{39DEC706-2325-4F1C-A319-7D55579A8130}"/>
                        </a:ext>
                      </a:extLst>
                    </p:cNvPr>
                    <p:cNvSpPr/>
                    <p:nvPr/>
                  </p:nvSpPr>
                  <p:spPr>
                    <a:xfrm>
                      <a:off x="2954600"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25" name="Oval 224">
                      <a:extLst>
                        <a:ext uri="{FF2B5EF4-FFF2-40B4-BE49-F238E27FC236}">
                          <a16:creationId xmlns:a16="http://schemas.microsoft.com/office/drawing/2014/main" id="{B33A43A7-FE3D-4B57-BB33-B76F39BD66D5}"/>
                        </a:ext>
                      </a:extLst>
                    </p:cNvPr>
                    <p:cNvSpPr/>
                    <p:nvPr/>
                  </p:nvSpPr>
                  <p:spPr>
                    <a:xfrm>
                      <a:off x="2731292"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26" name="Oval 225">
                      <a:extLst>
                        <a:ext uri="{FF2B5EF4-FFF2-40B4-BE49-F238E27FC236}">
                          <a16:creationId xmlns:a16="http://schemas.microsoft.com/office/drawing/2014/main" id="{15D6BF65-C3BB-454C-99AB-0A703D401349}"/>
                        </a:ext>
                      </a:extLst>
                    </p:cNvPr>
                    <p:cNvSpPr/>
                    <p:nvPr/>
                  </p:nvSpPr>
                  <p:spPr>
                    <a:xfrm>
                      <a:off x="3066743"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27" name="Oval 226">
                      <a:extLst>
                        <a:ext uri="{FF2B5EF4-FFF2-40B4-BE49-F238E27FC236}">
                          <a16:creationId xmlns:a16="http://schemas.microsoft.com/office/drawing/2014/main" id="{9BFB3E85-E750-412E-9BAB-D0C6AB645961}"/>
                        </a:ext>
                      </a:extLst>
                    </p:cNvPr>
                    <p:cNvSpPr/>
                    <p:nvPr/>
                  </p:nvSpPr>
                  <p:spPr>
                    <a:xfrm>
                      <a:off x="3182408"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28" name="Oval 227">
                      <a:extLst>
                        <a:ext uri="{FF2B5EF4-FFF2-40B4-BE49-F238E27FC236}">
                          <a16:creationId xmlns:a16="http://schemas.microsoft.com/office/drawing/2014/main" id="{965B5DA6-6011-4189-9712-6F299C63C78E}"/>
                        </a:ext>
                      </a:extLst>
                    </p:cNvPr>
                    <p:cNvSpPr/>
                    <p:nvPr/>
                  </p:nvSpPr>
                  <p:spPr>
                    <a:xfrm>
                      <a:off x="3290408" y="3253280"/>
                      <a:ext cx="108000"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29" name="Freeform 255">
                      <a:extLst>
                        <a:ext uri="{FF2B5EF4-FFF2-40B4-BE49-F238E27FC236}">
                          <a16:creationId xmlns:a16="http://schemas.microsoft.com/office/drawing/2014/main" id="{87EBD378-322D-47A1-86A7-E215DEEDCE71}"/>
                        </a:ext>
                      </a:extLst>
                    </p:cNvPr>
                    <p:cNvSpPr/>
                    <p:nvPr/>
                  </p:nvSpPr>
                  <p:spPr>
                    <a:xfrm>
                      <a:off x="2739571" y="3342341"/>
                      <a:ext cx="45720"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30" name="Freeform 256">
                      <a:extLst>
                        <a:ext uri="{FF2B5EF4-FFF2-40B4-BE49-F238E27FC236}">
                          <a16:creationId xmlns:a16="http://schemas.microsoft.com/office/drawing/2014/main" id="{C477F804-A897-4589-81C2-313AAD170563}"/>
                        </a:ext>
                      </a:extLst>
                    </p:cNvPr>
                    <p:cNvSpPr/>
                    <p:nvPr/>
                  </p:nvSpPr>
                  <p:spPr>
                    <a:xfrm>
                      <a:off x="2798029"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31" name="Freeform 257">
                      <a:extLst>
                        <a:ext uri="{FF2B5EF4-FFF2-40B4-BE49-F238E27FC236}">
                          <a16:creationId xmlns:a16="http://schemas.microsoft.com/office/drawing/2014/main" id="{7DE0BA2E-24A3-4539-8195-47E26ACA9ABD}"/>
                        </a:ext>
                      </a:extLst>
                    </p:cNvPr>
                    <p:cNvSpPr/>
                    <p:nvPr/>
                  </p:nvSpPr>
                  <p:spPr>
                    <a:xfrm>
                      <a:off x="2986743"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32" name="Freeform 258">
                      <a:extLst>
                        <a:ext uri="{FF2B5EF4-FFF2-40B4-BE49-F238E27FC236}">
                          <a16:creationId xmlns:a16="http://schemas.microsoft.com/office/drawing/2014/main" id="{8ADA6B25-B704-498F-8C82-30E9E23FE842}"/>
                        </a:ext>
                      </a:extLst>
                    </p:cNvPr>
                    <p:cNvSpPr/>
                    <p:nvPr/>
                  </p:nvSpPr>
                  <p:spPr>
                    <a:xfrm>
                      <a:off x="3016883" y="3360336"/>
                      <a:ext cx="4572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33" name="Freeform 259">
                      <a:extLst>
                        <a:ext uri="{FF2B5EF4-FFF2-40B4-BE49-F238E27FC236}">
                          <a16:creationId xmlns:a16="http://schemas.microsoft.com/office/drawing/2014/main" id="{7486A112-8815-4E5A-9246-79BFA2B16414}"/>
                        </a:ext>
                      </a:extLst>
                    </p:cNvPr>
                    <p:cNvSpPr/>
                    <p:nvPr/>
                  </p:nvSpPr>
                  <p:spPr>
                    <a:xfrm>
                      <a:off x="3097738" y="3357001"/>
                      <a:ext cx="31772"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34" name="Freeform 260">
                      <a:extLst>
                        <a:ext uri="{FF2B5EF4-FFF2-40B4-BE49-F238E27FC236}">
                          <a16:creationId xmlns:a16="http://schemas.microsoft.com/office/drawing/2014/main" id="{5DB126FC-7EDB-46A5-9D03-0C58315DD5DC}"/>
                        </a:ext>
                      </a:extLst>
                    </p:cNvPr>
                    <p:cNvSpPr/>
                    <p:nvPr/>
                  </p:nvSpPr>
                  <p:spPr>
                    <a:xfrm>
                      <a:off x="3131847" y="3357001"/>
                      <a:ext cx="40004" cy="18812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35" name="Freeform 261">
                      <a:extLst>
                        <a:ext uri="{FF2B5EF4-FFF2-40B4-BE49-F238E27FC236}">
                          <a16:creationId xmlns:a16="http://schemas.microsoft.com/office/drawing/2014/main" id="{77D67D88-04B0-4333-84B0-B71CD7431026}"/>
                        </a:ext>
                      </a:extLst>
                    </p:cNvPr>
                    <p:cNvSpPr/>
                    <p:nvPr/>
                  </p:nvSpPr>
                  <p:spPr>
                    <a:xfrm>
                      <a:off x="3215364"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36" name="Freeform 262">
                      <a:extLst>
                        <a:ext uri="{FF2B5EF4-FFF2-40B4-BE49-F238E27FC236}">
                          <a16:creationId xmlns:a16="http://schemas.microsoft.com/office/drawing/2014/main" id="{A95BEC2C-B20B-4859-84B6-BE0A59439689}"/>
                        </a:ext>
                      </a:extLst>
                    </p:cNvPr>
                    <p:cNvSpPr/>
                    <p:nvPr/>
                  </p:nvSpPr>
                  <p:spPr>
                    <a:xfrm>
                      <a:off x="3249771" y="3360334"/>
                      <a:ext cx="3048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37" name="Freeform 263">
                      <a:extLst>
                        <a:ext uri="{FF2B5EF4-FFF2-40B4-BE49-F238E27FC236}">
                          <a16:creationId xmlns:a16="http://schemas.microsoft.com/office/drawing/2014/main" id="{53F2947F-4659-4CC4-BB52-19BBA8611999}"/>
                        </a:ext>
                      </a:extLst>
                    </p:cNvPr>
                    <p:cNvSpPr/>
                    <p:nvPr/>
                  </p:nvSpPr>
                  <p:spPr>
                    <a:xfrm>
                      <a:off x="3323779" y="3354224"/>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38" name="Freeform 264">
                      <a:extLst>
                        <a:ext uri="{FF2B5EF4-FFF2-40B4-BE49-F238E27FC236}">
                          <a16:creationId xmlns:a16="http://schemas.microsoft.com/office/drawing/2014/main" id="{3B441989-1616-43FF-8DD4-D3384EC365E7}"/>
                        </a:ext>
                      </a:extLst>
                    </p:cNvPr>
                    <p:cNvSpPr/>
                    <p:nvPr/>
                  </p:nvSpPr>
                  <p:spPr>
                    <a:xfrm>
                      <a:off x="3352692" y="3365286"/>
                      <a:ext cx="45720"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39" name="Freeform 265">
                      <a:extLst>
                        <a:ext uri="{FF2B5EF4-FFF2-40B4-BE49-F238E27FC236}">
                          <a16:creationId xmlns:a16="http://schemas.microsoft.com/office/drawing/2014/main" id="{88F29AD7-3227-4DE6-8E9D-DFE408694131}"/>
                        </a:ext>
                      </a:extLst>
                    </p:cNvPr>
                    <p:cNvSpPr/>
                    <p:nvPr/>
                  </p:nvSpPr>
                  <p:spPr>
                    <a:xfrm>
                      <a:off x="3524356" y="3326342"/>
                      <a:ext cx="45720"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40" name="Oval 239">
                      <a:extLst>
                        <a:ext uri="{FF2B5EF4-FFF2-40B4-BE49-F238E27FC236}">
                          <a16:creationId xmlns:a16="http://schemas.microsoft.com/office/drawing/2014/main" id="{0991F52E-C21A-4404-9BC5-9704439752FC}"/>
                        </a:ext>
                      </a:extLst>
                    </p:cNvPr>
                    <p:cNvSpPr/>
                    <p:nvPr/>
                  </p:nvSpPr>
                  <p:spPr>
                    <a:xfrm>
                      <a:off x="3524356"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41" name="Freeform 267">
                      <a:extLst>
                        <a:ext uri="{FF2B5EF4-FFF2-40B4-BE49-F238E27FC236}">
                          <a16:creationId xmlns:a16="http://schemas.microsoft.com/office/drawing/2014/main" id="{D536B6B2-F63D-4D9E-8EBF-09F6ECC124C4}"/>
                        </a:ext>
                      </a:extLst>
                    </p:cNvPr>
                    <p:cNvSpPr/>
                    <p:nvPr/>
                  </p:nvSpPr>
                  <p:spPr>
                    <a:xfrm>
                      <a:off x="3586096" y="3365286"/>
                      <a:ext cx="46259"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42" name="Oval 241">
                      <a:extLst>
                        <a:ext uri="{FF2B5EF4-FFF2-40B4-BE49-F238E27FC236}">
                          <a16:creationId xmlns:a16="http://schemas.microsoft.com/office/drawing/2014/main" id="{1CB8D6BA-2091-410D-AEAF-1C0EE7C4F206}"/>
                        </a:ext>
                      </a:extLst>
                    </p:cNvPr>
                    <p:cNvSpPr/>
                    <p:nvPr/>
                  </p:nvSpPr>
                  <p:spPr>
                    <a:xfrm>
                      <a:off x="3639661"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43" name="Oval 242">
                      <a:extLst>
                        <a:ext uri="{FF2B5EF4-FFF2-40B4-BE49-F238E27FC236}">
                          <a16:creationId xmlns:a16="http://schemas.microsoft.com/office/drawing/2014/main" id="{CF283A1C-1BBC-4E97-84E3-44F85A56C460}"/>
                        </a:ext>
                      </a:extLst>
                    </p:cNvPr>
                    <p:cNvSpPr/>
                    <p:nvPr/>
                  </p:nvSpPr>
                  <p:spPr>
                    <a:xfrm>
                      <a:off x="3416355"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44" name="Oval 243">
                      <a:extLst>
                        <a:ext uri="{FF2B5EF4-FFF2-40B4-BE49-F238E27FC236}">
                          <a16:creationId xmlns:a16="http://schemas.microsoft.com/office/drawing/2014/main" id="{79C06BA5-6620-4972-ACC0-44587C505B77}"/>
                        </a:ext>
                      </a:extLst>
                    </p:cNvPr>
                    <p:cNvSpPr/>
                    <p:nvPr/>
                  </p:nvSpPr>
                  <p:spPr>
                    <a:xfrm>
                      <a:off x="3751804"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45" name="Oval 244">
                      <a:extLst>
                        <a:ext uri="{FF2B5EF4-FFF2-40B4-BE49-F238E27FC236}">
                          <a16:creationId xmlns:a16="http://schemas.microsoft.com/office/drawing/2014/main" id="{95958D96-3C71-46DF-8876-2EC746930900}"/>
                        </a:ext>
                      </a:extLst>
                    </p:cNvPr>
                    <p:cNvSpPr/>
                    <p:nvPr/>
                  </p:nvSpPr>
                  <p:spPr>
                    <a:xfrm>
                      <a:off x="3867470"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46" name="Oval 245">
                      <a:extLst>
                        <a:ext uri="{FF2B5EF4-FFF2-40B4-BE49-F238E27FC236}">
                          <a16:creationId xmlns:a16="http://schemas.microsoft.com/office/drawing/2014/main" id="{DBBA8B61-CF6D-4C57-BED2-1FE51A046C26}"/>
                        </a:ext>
                      </a:extLst>
                    </p:cNvPr>
                    <p:cNvSpPr/>
                    <p:nvPr/>
                  </p:nvSpPr>
                  <p:spPr>
                    <a:xfrm>
                      <a:off x="3975471"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47" name="Freeform 273">
                      <a:extLst>
                        <a:ext uri="{FF2B5EF4-FFF2-40B4-BE49-F238E27FC236}">
                          <a16:creationId xmlns:a16="http://schemas.microsoft.com/office/drawing/2014/main" id="{54300B78-7435-457F-BA22-8129899D996C}"/>
                        </a:ext>
                      </a:extLst>
                    </p:cNvPr>
                    <p:cNvSpPr/>
                    <p:nvPr/>
                  </p:nvSpPr>
                  <p:spPr>
                    <a:xfrm>
                      <a:off x="3424635" y="3342341"/>
                      <a:ext cx="45720"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48" name="Freeform 274">
                      <a:extLst>
                        <a:ext uri="{FF2B5EF4-FFF2-40B4-BE49-F238E27FC236}">
                          <a16:creationId xmlns:a16="http://schemas.microsoft.com/office/drawing/2014/main" id="{BF0E1760-5195-417B-B7C8-03EF282ECE4E}"/>
                        </a:ext>
                      </a:extLst>
                    </p:cNvPr>
                    <p:cNvSpPr/>
                    <p:nvPr/>
                  </p:nvSpPr>
                  <p:spPr>
                    <a:xfrm>
                      <a:off x="3483091"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49" name="Freeform 275">
                      <a:extLst>
                        <a:ext uri="{FF2B5EF4-FFF2-40B4-BE49-F238E27FC236}">
                          <a16:creationId xmlns:a16="http://schemas.microsoft.com/office/drawing/2014/main" id="{41049369-F711-4583-BBEB-4E5B520ABEE7}"/>
                        </a:ext>
                      </a:extLst>
                    </p:cNvPr>
                    <p:cNvSpPr/>
                    <p:nvPr/>
                  </p:nvSpPr>
                  <p:spPr>
                    <a:xfrm>
                      <a:off x="3671802"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50" name="Freeform 276">
                      <a:extLst>
                        <a:ext uri="{FF2B5EF4-FFF2-40B4-BE49-F238E27FC236}">
                          <a16:creationId xmlns:a16="http://schemas.microsoft.com/office/drawing/2014/main" id="{BDA7F8C7-46D1-4E55-83EA-DDF89B41F0A7}"/>
                        </a:ext>
                      </a:extLst>
                    </p:cNvPr>
                    <p:cNvSpPr/>
                    <p:nvPr/>
                  </p:nvSpPr>
                  <p:spPr>
                    <a:xfrm>
                      <a:off x="3701944" y="3360336"/>
                      <a:ext cx="4572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51" name="Freeform 277">
                      <a:extLst>
                        <a:ext uri="{FF2B5EF4-FFF2-40B4-BE49-F238E27FC236}">
                          <a16:creationId xmlns:a16="http://schemas.microsoft.com/office/drawing/2014/main" id="{8FF550D8-F666-440B-A9A1-C94702EFF088}"/>
                        </a:ext>
                      </a:extLst>
                    </p:cNvPr>
                    <p:cNvSpPr/>
                    <p:nvPr/>
                  </p:nvSpPr>
                  <p:spPr>
                    <a:xfrm>
                      <a:off x="3782799" y="3357001"/>
                      <a:ext cx="31772"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52" name="Freeform 278">
                      <a:extLst>
                        <a:ext uri="{FF2B5EF4-FFF2-40B4-BE49-F238E27FC236}">
                          <a16:creationId xmlns:a16="http://schemas.microsoft.com/office/drawing/2014/main" id="{8AEC0B8E-4326-49DF-9860-FFCF939215EC}"/>
                        </a:ext>
                      </a:extLst>
                    </p:cNvPr>
                    <p:cNvSpPr/>
                    <p:nvPr/>
                  </p:nvSpPr>
                  <p:spPr>
                    <a:xfrm>
                      <a:off x="3816908" y="3357001"/>
                      <a:ext cx="40004" cy="18812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53" name="Freeform 279">
                      <a:extLst>
                        <a:ext uri="{FF2B5EF4-FFF2-40B4-BE49-F238E27FC236}">
                          <a16:creationId xmlns:a16="http://schemas.microsoft.com/office/drawing/2014/main" id="{5BDC6A87-9957-4686-A91C-173B9EE2139E}"/>
                        </a:ext>
                      </a:extLst>
                    </p:cNvPr>
                    <p:cNvSpPr/>
                    <p:nvPr/>
                  </p:nvSpPr>
                  <p:spPr>
                    <a:xfrm>
                      <a:off x="3900425"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54" name="Freeform 280">
                      <a:extLst>
                        <a:ext uri="{FF2B5EF4-FFF2-40B4-BE49-F238E27FC236}">
                          <a16:creationId xmlns:a16="http://schemas.microsoft.com/office/drawing/2014/main" id="{DAF9D72E-FBE5-4AC3-A867-6CAE2C7602EC}"/>
                        </a:ext>
                      </a:extLst>
                    </p:cNvPr>
                    <p:cNvSpPr/>
                    <p:nvPr/>
                  </p:nvSpPr>
                  <p:spPr>
                    <a:xfrm>
                      <a:off x="3934834" y="3360334"/>
                      <a:ext cx="3048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55" name="Freeform 281">
                      <a:extLst>
                        <a:ext uri="{FF2B5EF4-FFF2-40B4-BE49-F238E27FC236}">
                          <a16:creationId xmlns:a16="http://schemas.microsoft.com/office/drawing/2014/main" id="{97BCF187-AEC3-4AD8-8B74-A0C9EB13E273}"/>
                        </a:ext>
                      </a:extLst>
                    </p:cNvPr>
                    <p:cNvSpPr/>
                    <p:nvPr/>
                  </p:nvSpPr>
                  <p:spPr>
                    <a:xfrm>
                      <a:off x="4008842" y="3354224"/>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56" name="Freeform 282">
                      <a:extLst>
                        <a:ext uri="{FF2B5EF4-FFF2-40B4-BE49-F238E27FC236}">
                          <a16:creationId xmlns:a16="http://schemas.microsoft.com/office/drawing/2014/main" id="{10C81E3E-B30A-4EA1-ADCE-FE3E044BF361}"/>
                        </a:ext>
                      </a:extLst>
                    </p:cNvPr>
                    <p:cNvSpPr/>
                    <p:nvPr/>
                  </p:nvSpPr>
                  <p:spPr>
                    <a:xfrm>
                      <a:off x="4037755" y="3365286"/>
                      <a:ext cx="45720"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57" name="Freeform 283">
                      <a:extLst>
                        <a:ext uri="{FF2B5EF4-FFF2-40B4-BE49-F238E27FC236}">
                          <a16:creationId xmlns:a16="http://schemas.microsoft.com/office/drawing/2014/main" id="{4BD1CD18-2D58-463E-8442-0A836D417AB1}"/>
                        </a:ext>
                      </a:extLst>
                    </p:cNvPr>
                    <p:cNvSpPr/>
                    <p:nvPr/>
                  </p:nvSpPr>
                  <p:spPr>
                    <a:xfrm>
                      <a:off x="4194721" y="3326342"/>
                      <a:ext cx="45720"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58" name="Oval 257">
                      <a:extLst>
                        <a:ext uri="{FF2B5EF4-FFF2-40B4-BE49-F238E27FC236}">
                          <a16:creationId xmlns:a16="http://schemas.microsoft.com/office/drawing/2014/main" id="{25108023-FC49-4F97-A2CE-91E86B8198B3}"/>
                        </a:ext>
                      </a:extLst>
                    </p:cNvPr>
                    <p:cNvSpPr/>
                    <p:nvPr/>
                  </p:nvSpPr>
                  <p:spPr>
                    <a:xfrm>
                      <a:off x="4194721"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59" name="Freeform 285">
                      <a:extLst>
                        <a:ext uri="{FF2B5EF4-FFF2-40B4-BE49-F238E27FC236}">
                          <a16:creationId xmlns:a16="http://schemas.microsoft.com/office/drawing/2014/main" id="{AA0AA65F-7E94-4561-B797-C50167F7505A}"/>
                        </a:ext>
                      </a:extLst>
                    </p:cNvPr>
                    <p:cNvSpPr/>
                    <p:nvPr/>
                  </p:nvSpPr>
                  <p:spPr>
                    <a:xfrm>
                      <a:off x="4256462" y="3365286"/>
                      <a:ext cx="46259"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60" name="Oval 259">
                      <a:extLst>
                        <a:ext uri="{FF2B5EF4-FFF2-40B4-BE49-F238E27FC236}">
                          <a16:creationId xmlns:a16="http://schemas.microsoft.com/office/drawing/2014/main" id="{BA28E3FB-D5FC-47DB-B24A-FB9EEF36D1F5}"/>
                        </a:ext>
                      </a:extLst>
                    </p:cNvPr>
                    <p:cNvSpPr/>
                    <p:nvPr/>
                  </p:nvSpPr>
                  <p:spPr>
                    <a:xfrm>
                      <a:off x="4310028"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61" name="Oval 260">
                      <a:extLst>
                        <a:ext uri="{FF2B5EF4-FFF2-40B4-BE49-F238E27FC236}">
                          <a16:creationId xmlns:a16="http://schemas.microsoft.com/office/drawing/2014/main" id="{D1B7A7B2-F1D1-46D4-A25D-294235C53A3A}"/>
                        </a:ext>
                      </a:extLst>
                    </p:cNvPr>
                    <p:cNvSpPr/>
                    <p:nvPr/>
                  </p:nvSpPr>
                  <p:spPr>
                    <a:xfrm>
                      <a:off x="4086720"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62" name="Oval 261">
                      <a:extLst>
                        <a:ext uri="{FF2B5EF4-FFF2-40B4-BE49-F238E27FC236}">
                          <a16:creationId xmlns:a16="http://schemas.microsoft.com/office/drawing/2014/main" id="{EC61D73D-D47B-4385-B830-C9B1BBEAAFDE}"/>
                        </a:ext>
                      </a:extLst>
                    </p:cNvPr>
                    <p:cNvSpPr/>
                    <p:nvPr/>
                  </p:nvSpPr>
                  <p:spPr>
                    <a:xfrm>
                      <a:off x="4422171"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63" name="Oval 262">
                      <a:extLst>
                        <a:ext uri="{FF2B5EF4-FFF2-40B4-BE49-F238E27FC236}">
                          <a16:creationId xmlns:a16="http://schemas.microsoft.com/office/drawing/2014/main" id="{A9AE10B3-77F2-4B2B-87FE-9224A87C110B}"/>
                        </a:ext>
                      </a:extLst>
                    </p:cNvPr>
                    <p:cNvSpPr/>
                    <p:nvPr/>
                  </p:nvSpPr>
                  <p:spPr>
                    <a:xfrm>
                      <a:off x="4537836"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64" name="Oval 263">
                      <a:extLst>
                        <a:ext uri="{FF2B5EF4-FFF2-40B4-BE49-F238E27FC236}">
                          <a16:creationId xmlns:a16="http://schemas.microsoft.com/office/drawing/2014/main" id="{5B483059-46CC-4186-854A-C90278EEA5E7}"/>
                        </a:ext>
                      </a:extLst>
                    </p:cNvPr>
                    <p:cNvSpPr/>
                    <p:nvPr/>
                  </p:nvSpPr>
                  <p:spPr>
                    <a:xfrm>
                      <a:off x="4645835" y="3253280"/>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65" name="Freeform 291">
                      <a:extLst>
                        <a:ext uri="{FF2B5EF4-FFF2-40B4-BE49-F238E27FC236}">
                          <a16:creationId xmlns:a16="http://schemas.microsoft.com/office/drawing/2014/main" id="{C054121A-C74F-4CAF-AD9E-5312D3AD55A4}"/>
                        </a:ext>
                      </a:extLst>
                    </p:cNvPr>
                    <p:cNvSpPr/>
                    <p:nvPr/>
                  </p:nvSpPr>
                  <p:spPr>
                    <a:xfrm>
                      <a:off x="4095002" y="3342341"/>
                      <a:ext cx="45720"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66" name="Freeform 292">
                      <a:extLst>
                        <a:ext uri="{FF2B5EF4-FFF2-40B4-BE49-F238E27FC236}">
                          <a16:creationId xmlns:a16="http://schemas.microsoft.com/office/drawing/2014/main" id="{BF32C602-D2D6-4283-A852-F7CEEA5770BB}"/>
                        </a:ext>
                      </a:extLst>
                    </p:cNvPr>
                    <p:cNvSpPr/>
                    <p:nvPr/>
                  </p:nvSpPr>
                  <p:spPr>
                    <a:xfrm>
                      <a:off x="4153455"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67" name="Freeform 293">
                      <a:extLst>
                        <a:ext uri="{FF2B5EF4-FFF2-40B4-BE49-F238E27FC236}">
                          <a16:creationId xmlns:a16="http://schemas.microsoft.com/office/drawing/2014/main" id="{5EB924D0-BE66-49A4-A7C2-935C1FBF02AA}"/>
                        </a:ext>
                      </a:extLst>
                    </p:cNvPr>
                    <p:cNvSpPr/>
                    <p:nvPr/>
                  </p:nvSpPr>
                  <p:spPr>
                    <a:xfrm>
                      <a:off x="4342167"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68" name="Freeform 294">
                      <a:extLst>
                        <a:ext uri="{FF2B5EF4-FFF2-40B4-BE49-F238E27FC236}">
                          <a16:creationId xmlns:a16="http://schemas.microsoft.com/office/drawing/2014/main" id="{A01C3BBF-E3C6-43BE-9A07-D9B55017C9AF}"/>
                        </a:ext>
                      </a:extLst>
                    </p:cNvPr>
                    <p:cNvSpPr/>
                    <p:nvPr/>
                  </p:nvSpPr>
                  <p:spPr>
                    <a:xfrm>
                      <a:off x="4372306" y="3360336"/>
                      <a:ext cx="4572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69" name="Freeform 295">
                      <a:extLst>
                        <a:ext uri="{FF2B5EF4-FFF2-40B4-BE49-F238E27FC236}">
                          <a16:creationId xmlns:a16="http://schemas.microsoft.com/office/drawing/2014/main" id="{8E636AC0-CF60-4DFB-83BA-3A3CE9E4658B}"/>
                        </a:ext>
                      </a:extLst>
                    </p:cNvPr>
                    <p:cNvSpPr/>
                    <p:nvPr/>
                  </p:nvSpPr>
                  <p:spPr>
                    <a:xfrm>
                      <a:off x="4453158" y="3357001"/>
                      <a:ext cx="31772"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70" name="Freeform 296">
                      <a:extLst>
                        <a:ext uri="{FF2B5EF4-FFF2-40B4-BE49-F238E27FC236}">
                          <a16:creationId xmlns:a16="http://schemas.microsoft.com/office/drawing/2014/main" id="{00A1C499-2E61-4670-8584-B4A1A14C95DC}"/>
                        </a:ext>
                      </a:extLst>
                    </p:cNvPr>
                    <p:cNvSpPr/>
                    <p:nvPr/>
                  </p:nvSpPr>
                  <p:spPr>
                    <a:xfrm>
                      <a:off x="4487266" y="3357001"/>
                      <a:ext cx="40005" cy="18812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71" name="Freeform 297">
                      <a:extLst>
                        <a:ext uri="{FF2B5EF4-FFF2-40B4-BE49-F238E27FC236}">
                          <a16:creationId xmlns:a16="http://schemas.microsoft.com/office/drawing/2014/main" id="{07D06E02-F9EB-4EB2-A204-718D8AA32258}"/>
                        </a:ext>
                      </a:extLst>
                    </p:cNvPr>
                    <p:cNvSpPr/>
                    <p:nvPr/>
                  </p:nvSpPr>
                  <p:spPr>
                    <a:xfrm>
                      <a:off x="4570783" y="3357001"/>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72" name="Freeform 298">
                      <a:extLst>
                        <a:ext uri="{FF2B5EF4-FFF2-40B4-BE49-F238E27FC236}">
                          <a16:creationId xmlns:a16="http://schemas.microsoft.com/office/drawing/2014/main" id="{0C1C23FA-A17B-4185-A33A-E01C229D6724}"/>
                        </a:ext>
                      </a:extLst>
                    </p:cNvPr>
                    <p:cNvSpPr/>
                    <p:nvPr/>
                  </p:nvSpPr>
                  <p:spPr>
                    <a:xfrm>
                      <a:off x="4605197" y="3360337"/>
                      <a:ext cx="30480" cy="184787"/>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73" name="Freeform 299">
                      <a:extLst>
                        <a:ext uri="{FF2B5EF4-FFF2-40B4-BE49-F238E27FC236}">
                          <a16:creationId xmlns:a16="http://schemas.microsoft.com/office/drawing/2014/main" id="{EAE78E11-A21E-4B1F-9598-12CA89F2E5E4}"/>
                        </a:ext>
                      </a:extLst>
                    </p:cNvPr>
                    <p:cNvSpPr/>
                    <p:nvPr/>
                  </p:nvSpPr>
                  <p:spPr>
                    <a:xfrm>
                      <a:off x="4679200" y="3354227"/>
                      <a:ext cx="20633" cy="188120"/>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74" name="Freeform 300">
                      <a:extLst>
                        <a:ext uri="{FF2B5EF4-FFF2-40B4-BE49-F238E27FC236}">
                          <a16:creationId xmlns:a16="http://schemas.microsoft.com/office/drawing/2014/main" id="{F3506EFA-B6B3-4D09-A4AC-92225C65287F}"/>
                        </a:ext>
                      </a:extLst>
                    </p:cNvPr>
                    <p:cNvSpPr/>
                    <p:nvPr/>
                  </p:nvSpPr>
                  <p:spPr>
                    <a:xfrm>
                      <a:off x="4708115" y="3365285"/>
                      <a:ext cx="45720"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75" name="Freeform 301">
                      <a:extLst>
                        <a:ext uri="{FF2B5EF4-FFF2-40B4-BE49-F238E27FC236}">
                          <a16:creationId xmlns:a16="http://schemas.microsoft.com/office/drawing/2014/main" id="{2A87CD51-23CB-40AB-BC31-FE8112016A4E}"/>
                        </a:ext>
                      </a:extLst>
                    </p:cNvPr>
                    <p:cNvSpPr/>
                    <p:nvPr/>
                  </p:nvSpPr>
                  <p:spPr>
                    <a:xfrm>
                      <a:off x="4876992" y="3326341"/>
                      <a:ext cx="45720"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76" name="Oval 275">
                      <a:extLst>
                        <a:ext uri="{FF2B5EF4-FFF2-40B4-BE49-F238E27FC236}">
                          <a16:creationId xmlns:a16="http://schemas.microsoft.com/office/drawing/2014/main" id="{073F9A99-2A87-4232-A176-392D63CAA811}"/>
                        </a:ext>
                      </a:extLst>
                    </p:cNvPr>
                    <p:cNvSpPr/>
                    <p:nvPr/>
                  </p:nvSpPr>
                  <p:spPr>
                    <a:xfrm>
                      <a:off x="4876992" y="3253278"/>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77" name="Freeform 303">
                      <a:extLst>
                        <a:ext uri="{FF2B5EF4-FFF2-40B4-BE49-F238E27FC236}">
                          <a16:creationId xmlns:a16="http://schemas.microsoft.com/office/drawing/2014/main" id="{88199FB7-393B-4A10-BB64-B538D5B66419}"/>
                        </a:ext>
                      </a:extLst>
                    </p:cNvPr>
                    <p:cNvSpPr/>
                    <p:nvPr/>
                  </p:nvSpPr>
                  <p:spPr>
                    <a:xfrm>
                      <a:off x="4938734" y="3365283"/>
                      <a:ext cx="46259" cy="179835"/>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78" name="Oval 277">
                      <a:extLst>
                        <a:ext uri="{FF2B5EF4-FFF2-40B4-BE49-F238E27FC236}">
                          <a16:creationId xmlns:a16="http://schemas.microsoft.com/office/drawing/2014/main" id="{0840FAF0-88F2-4596-975A-02DEBFBAF5DA}"/>
                        </a:ext>
                      </a:extLst>
                    </p:cNvPr>
                    <p:cNvSpPr/>
                    <p:nvPr/>
                  </p:nvSpPr>
                  <p:spPr>
                    <a:xfrm>
                      <a:off x="4992299" y="3253277"/>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79" name="Oval 278">
                      <a:extLst>
                        <a:ext uri="{FF2B5EF4-FFF2-40B4-BE49-F238E27FC236}">
                          <a16:creationId xmlns:a16="http://schemas.microsoft.com/office/drawing/2014/main" id="{FEA0536B-0D39-4024-B0A6-E231E9C18E2A}"/>
                        </a:ext>
                      </a:extLst>
                    </p:cNvPr>
                    <p:cNvSpPr/>
                    <p:nvPr/>
                  </p:nvSpPr>
                  <p:spPr>
                    <a:xfrm>
                      <a:off x="4768993" y="3253277"/>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80" name="Oval 279">
                      <a:extLst>
                        <a:ext uri="{FF2B5EF4-FFF2-40B4-BE49-F238E27FC236}">
                          <a16:creationId xmlns:a16="http://schemas.microsoft.com/office/drawing/2014/main" id="{65656E40-B233-4203-AEA6-9A59200CBB11}"/>
                        </a:ext>
                      </a:extLst>
                    </p:cNvPr>
                    <p:cNvSpPr/>
                    <p:nvPr/>
                  </p:nvSpPr>
                  <p:spPr>
                    <a:xfrm>
                      <a:off x="5104443" y="3253277"/>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81" name="Oval 280">
                      <a:extLst>
                        <a:ext uri="{FF2B5EF4-FFF2-40B4-BE49-F238E27FC236}">
                          <a16:creationId xmlns:a16="http://schemas.microsoft.com/office/drawing/2014/main" id="{4E3CA499-2AA1-47F7-8968-5B6834EE1FC4}"/>
                        </a:ext>
                      </a:extLst>
                    </p:cNvPr>
                    <p:cNvSpPr/>
                    <p:nvPr/>
                  </p:nvSpPr>
                  <p:spPr>
                    <a:xfrm>
                      <a:off x="5220108" y="3253277"/>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82" name="Oval 281">
                      <a:extLst>
                        <a:ext uri="{FF2B5EF4-FFF2-40B4-BE49-F238E27FC236}">
                          <a16:creationId xmlns:a16="http://schemas.microsoft.com/office/drawing/2014/main" id="{00F10CBB-0C1F-4D97-A8DE-BC3F11245CC8}"/>
                        </a:ext>
                      </a:extLst>
                    </p:cNvPr>
                    <p:cNvSpPr/>
                    <p:nvPr/>
                  </p:nvSpPr>
                  <p:spPr>
                    <a:xfrm>
                      <a:off x="5328105" y="3253268"/>
                      <a:ext cx="108001" cy="108001"/>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83" name="Freeform 309">
                      <a:extLst>
                        <a:ext uri="{FF2B5EF4-FFF2-40B4-BE49-F238E27FC236}">
                          <a16:creationId xmlns:a16="http://schemas.microsoft.com/office/drawing/2014/main" id="{F9AB7F68-C4E7-431C-BA4B-80402D995891}"/>
                        </a:ext>
                      </a:extLst>
                    </p:cNvPr>
                    <p:cNvSpPr/>
                    <p:nvPr/>
                  </p:nvSpPr>
                  <p:spPr>
                    <a:xfrm>
                      <a:off x="4777272" y="3342314"/>
                      <a:ext cx="45720" cy="19999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84" name="Freeform 310">
                      <a:extLst>
                        <a:ext uri="{FF2B5EF4-FFF2-40B4-BE49-F238E27FC236}">
                          <a16:creationId xmlns:a16="http://schemas.microsoft.com/office/drawing/2014/main" id="{686B3525-28B9-40F8-9588-0D5DA301A3A7}"/>
                        </a:ext>
                      </a:extLst>
                    </p:cNvPr>
                    <p:cNvSpPr/>
                    <p:nvPr/>
                  </p:nvSpPr>
                  <p:spPr>
                    <a:xfrm>
                      <a:off x="4835725" y="3356974"/>
                      <a:ext cx="20633" cy="188118"/>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85" name="Freeform 311">
                      <a:extLst>
                        <a:ext uri="{FF2B5EF4-FFF2-40B4-BE49-F238E27FC236}">
                          <a16:creationId xmlns:a16="http://schemas.microsoft.com/office/drawing/2014/main" id="{0923D3F8-3713-4FA6-AFF0-A48D06C0046A}"/>
                        </a:ext>
                      </a:extLst>
                    </p:cNvPr>
                    <p:cNvSpPr/>
                    <p:nvPr/>
                  </p:nvSpPr>
                  <p:spPr>
                    <a:xfrm>
                      <a:off x="5024435" y="3356974"/>
                      <a:ext cx="20633" cy="188118"/>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86" name="Freeform 312">
                      <a:extLst>
                        <a:ext uri="{FF2B5EF4-FFF2-40B4-BE49-F238E27FC236}">
                          <a16:creationId xmlns:a16="http://schemas.microsoft.com/office/drawing/2014/main" id="{16921C90-5702-44EA-ACCF-B84FC1ABA641}"/>
                        </a:ext>
                      </a:extLst>
                    </p:cNvPr>
                    <p:cNvSpPr/>
                    <p:nvPr/>
                  </p:nvSpPr>
                  <p:spPr>
                    <a:xfrm>
                      <a:off x="5054568" y="3360309"/>
                      <a:ext cx="4572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87" name="Freeform 313">
                      <a:extLst>
                        <a:ext uri="{FF2B5EF4-FFF2-40B4-BE49-F238E27FC236}">
                          <a16:creationId xmlns:a16="http://schemas.microsoft.com/office/drawing/2014/main" id="{DA712989-85F0-4A72-8F25-6BAFE382EF13}"/>
                        </a:ext>
                      </a:extLst>
                    </p:cNvPr>
                    <p:cNvSpPr/>
                    <p:nvPr/>
                  </p:nvSpPr>
                  <p:spPr>
                    <a:xfrm>
                      <a:off x="5135428" y="3356974"/>
                      <a:ext cx="31772" cy="179833"/>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88" name="Freeform 314">
                      <a:extLst>
                        <a:ext uri="{FF2B5EF4-FFF2-40B4-BE49-F238E27FC236}">
                          <a16:creationId xmlns:a16="http://schemas.microsoft.com/office/drawing/2014/main" id="{976C3929-9BA5-4DC8-B0F2-6ED566F838CD}"/>
                        </a:ext>
                      </a:extLst>
                    </p:cNvPr>
                    <p:cNvSpPr/>
                    <p:nvPr/>
                  </p:nvSpPr>
                  <p:spPr>
                    <a:xfrm>
                      <a:off x="5169537" y="3356974"/>
                      <a:ext cx="40005" cy="188118"/>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89" name="Freeform 315">
                      <a:extLst>
                        <a:ext uri="{FF2B5EF4-FFF2-40B4-BE49-F238E27FC236}">
                          <a16:creationId xmlns:a16="http://schemas.microsoft.com/office/drawing/2014/main" id="{F59FFCD1-9889-4682-A293-F939A31634D5}"/>
                        </a:ext>
                      </a:extLst>
                    </p:cNvPr>
                    <p:cNvSpPr/>
                    <p:nvPr/>
                  </p:nvSpPr>
                  <p:spPr>
                    <a:xfrm>
                      <a:off x="5253060" y="3356974"/>
                      <a:ext cx="20633" cy="188118"/>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90" name="Freeform 316">
                      <a:extLst>
                        <a:ext uri="{FF2B5EF4-FFF2-40B4-BE49-F238E27FC236}">
                          <a16:creationId xmlns:a16="http://schemas.microsoft.com/office/drawing/2014/main" id="{0C4EE7F2-4FA6-4A74-950D-6A2E03ED1DBB}"/>
                        </a:ext>
                      </a:extLst>
                    </p:cNvPr>
                    <p:cNvSpPr/>
                    <p:nvPr/>
                  </p:nvSpPr>
                  <p:spPr>
                    <a:xfrm>
                      <a:off x="5287452" y="3360308"/>
                      <a:ext cx="3048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91" name="Freeform 317">
                      <a:extLst>
                        <a:ext uri="{FF2B5EF4-FFF2-40B4-BE49-F238E27FC236}">
                          <a16:creationId xmlns:a16="http://schemas.microsoft.com/office/drawing/2014/main" id="{63E1D2A2-6676-423C-AE48-0D3005319885}"/>
                        </a:ext>
                      </a:extLst>
                    </p:cNvPr>
                    <p:cNvSpPr/>
                    <p:nvPr/>
                  </p:nvSpPr>
                  <p:spPr>
                    <a:xfrm>
                      <a:off x="5361471" y="3354206"/>
                      <a:ext cx="20633" cy="188118"/>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92" name="Freeform 318">
                      <a:extLst>
                        <a:ext uri="{FF2B5EF4-FFF2-40B4-BE49-F238E27FC236}">
                          <a16:creationId xmlns:a16="http://schemas.microsoft.com/office/drawing/2014/main" id="{4128B2F6-5678-4F3B-B4F5-5185DD52CBB0}"/>
                        </a:ext>
                      </a:extLst>
                    </p:cNvPr>
                    <p:cNvSpPr/>
                    <p:nvPr/>
                  </p:nvSpPr>
                  <p:spPr>
                    <a:xfrm>
                      <a:off x="5390301" y="3365265"/>
                      <a:ext cx="45720"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grpSp>
              <p:grpSp>
                <p:nvGrpSpPr>
                  <p:cNvPr id="148" name="Group 147">
                    <a:extLst>
                      <a:ext uri="{FF2B5EF4-FFF2-40B4-BE49-F238E27FC236}">
                        <a16:creationId xmlns:a16="http://schemas.microsoft.com/office/drawing/2014/main" id="{5CE750F8-1ECB-46CB-8BC8-3F05451E5E69}"/>
                      </a:ext>
                    </a:extLst>
                  </p:cNvPr>
                  <p:cNvGrpSpPr/>
                  <p:nvPr/>
                </p:nvGrpSpPr>
                <p:grpSpPr>
                  <a:xfrm flipV="1">
                    <a:off x="1951308" y="1919224"/>
                    <a:ext cx="1761002" cy="200507"/>
                    <a:chOff x="2846596" y="3861048"/>
                    <a:chExt cx="2704806" cy="291842"/>
                  </a:xfrm>
                  <a:solidFill>
                    <a:schemeClr val="bg1"/>
                  </a:solidFill>
                </p:grpSpPr>
                <p:sp>
                  <p:nvSpPr>
                    <p:cNvPr id="149" name="Freeform 175">
                      <a:extLst>
                        <a:ext uri="{FF2B5EF4-FFF2-40B4-BE49-F238E27FC236}">
                          <a16:creationId xmlns:a16="http://schemas.microsoft.com/office/drawing/2014/main" id="{1EB0419A-E80D-4B04-8E54-B576BE1CED59}"/>
                        </a:ext>
                      </a:extLst>
                    </p:cNvPr>
                    <p:cNvSpPr/>
                    <p:nvPr/>
                  </p:nvSpPr>
                  <p:spPr>
                    <a:xfrm>
                      <a:off x="2954596" y="3934111"/>
                      <a:ext cx="45719"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50" name="Oval 149">
                      <a:extLst>
                        <a:ext uri="{FF2B5EF4-FFF2-40B4-BE49-F238E27FC236}">
                          <a16:creationId xmlns:a16="http://schemas.microsoft.com/office/drawing/2014/main" id="{263A200F-8D3D-405F-936C-C65D3E101F90}"/>
                        </a:ext>
                      </a:extLst>
                    </p:cNvPr>
                    <p:cNvSpPr/>
                    <p:nvPr/>
                  </p:nvSpPr>
                  <p:spPr>
                    <a:xfrm>
                      <a:off x="2954596"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51" name="Freeform 177">
                      <a:extLst>
                        <a:ext uri="{FF2B5EF4-FFF2-40B4-BE49-F238E27FC236}">
                          <a16:creationId xmlns:a16="http://schemas.microsoft.com/office/drawing/2014/main" id="{8C3B7A67-0356-4C2F-B346-DFCBBED8CC93}"/>
                        </a:ext>
                      </a:extLst>
                    </p:cNvPr>
                    <p:cNvSpPr/>
                    <p:nvPr/>
                  </p:nvSpPr>
                  <p:spPr>
                    <a:xfrm>
                      <a:off x="3016337" y="3973054"/>
                      <a:ext cx="46259"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52" name="Oval 151">
                      <a:extLst>
                        <a:ext uri="{FF2B5EF4-FFF2-40B4-BE49-F238E27FC236}">
                          <a16:creationId xmlns:a16="http://schemas.microsoft.com/office/drawing/2014/main" id="{51E28109-19F8-4CB7-A79D-284DB6C9DBA6}"/>
                        </a:ext>
                      </a:extLst>
                    </p:cNvPr>
                    <p:cNvSpPr/>
                    <p:nvPr/>
                  </p:nvSpPr>
                  <p:spPr>
                    <a:xfrm>
                      <a:off x="3069902"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53" name="Oval 152">
                      <a:extLst>
                        <a:ext uri="{FF2B5EF4-FFF2-40B4-BE49-F238E27FC236}">
                          <a16:creationId xmlns:a16="http://schemas.microsoft.com/office/drawing/2014/main" id="{B5F4A34B-D887-4DE8-B07A-DAEEA2FAED9F}"/>
                        </a:ext>
                      </a:extLst>
                    </p:cNvPr>
                    <p:cNvSpPr/>
                    <p:nvPr/>
                  </p:nvSpPr>
                  <p:spPr>
                    <a:xfrm>
                      <a:off x="2846596"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54" name="Oval 153">
                      <a:extLst>
                        <a:ext uri="{FF2B5EF4-FFF2-40B4-BE49-F238E27FC236}">
                          <a16:creationId xmlns:a16="http://schemas.microsoft.com/office/drawing/2014/main" id="{E58864ED-A466-49AB-AAC2-F647FF75F4CF}"/>
                        </a:ext>
                      </a:extLst>
                    </p:cNvPr>
                    <p:cNvSpPr/>
                    <p:nvPr/>
                  </p:nvSpPr>
                  <p:spPr>
                    <a:xfrm>
                      <a:off x="3182045"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55" name="Oval 154">
                      <a:extLst>
                        <a:ext uri="{FF2B5EF4-FFF2-40B4-BE49-F238E27FC236}">
                          <a16:creationId xmlns:a16="http://schemas.microsoft.com/office/drawing/2014/main" id="{A71877BB-9FA5-45B0-978C-6A5EC7378698}"/>
                        </a:ext>
                      </a:extLst>
                    </p:cNvPr>
                    <p:cNvSpPr/>
                    <p:nvPr/>
                  </p:nvSpPr>
                  <p:spPr>
                    <a:xfrm>
                      <a:off x="3297710"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56" name="Oval 155">
                      <a:extLst>
                        <a:ext uri="{FF2B5EF4-FFF2-40B4-BE49-F238E27FC236}">
                          <a16:creationId xmlns:a16="http://schemas.microsoft.com/office/drawing/2014/main" id="{9D54B60E-19CD-4D5F-BFE3-091C902D5CEE}"/>
                        </a:ext>
                      </a:extLst>
                    </p:cNvPr>
                    <p:cNvSpPr/>
                    <p:nvPr/>
                  </p:nvSpPr>
                  <p:spPr>
                    <a:xfrm>
                      <a:off x="3405710"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57" name="Freeform 183">
                      <a:extLst>
                        <a:ext uri="{FF2B5EF4-FFF2-40B4-BE49-F238E27FC236}">
                          <a16:creationId xmlns:a16="http://schemas.microsoft.com/office/drawing/2014/main" id="{CDF96EDA-B328-4280-8042-DC97D7A816F0}"/>
                        </a:ext>
                      </a:extLst>
                    </p:cNvPr>
                    <p:cNvSpPr/>
                    <p:nvPr/>
                  </p:nvSpPr>
                  <p:spPr>
                    <a:xfrm>
                      <a:off x="2854877" y="3950109"/>
                      <a:ext cx="45719"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58" name="Freeform 184">
                      <a:extLst>
                        <a:ext uri="{FF2B5EF4-FFF2-40B4-BE49-F238E27FC236}">
                          <a16:creationId xmlns:a16="http://schemas.microsoft.com/office/drawing/2014/main" id="{3E0575E5-E0C6-4B9A-8376-7277085C92C7}"/>
                        </a:ext>
                      </a:extLst>
                    </p:cNvPr>
                    <p:cNvSpPr/>
                    <p:nvPr/>
                  </p:nvSpPr>
                  <p:spPr>
                    <a:xfrm>
                      <a:off x="2913332"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59" name="Freeform 185">
                      <a:extLst>
                        <a:ext uri="{FF2B5EF4-FFF2-40B4-BE49-F238E27FC236}">
                          <a16:creationId xmlns:a16="http://schemas.microsoft.com/office/drawing/2014/main" id="{3FEE6C0E-4180-467E-B4ED-AB2B5384B533}"/>
                        </a:ext>
                      </a:extLst>
                    </p:cNvPr>
                    <p:cNvSpPr/>
                    <p:nvPr/>
                  </p:nvSpPr>
                  <p:spPr>
                    <a:xfrm>
                      <a:off x="3102044"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60" name="Freeform 186">
                      <a:extLst>
                        <a:ext uri="{FF2B5EF4-FFF2-40B4-BE49-F238E27FC236}">
                          <a16:creationId xmlns:a16="http://schemas.microsoft.com/office/drawing/2014/main" id="{A5A3A14C-0A72-4CA1-9F4E-393239E79B4D}"/>
                        </a:ext>
                      </a:extLst>
                    </p:cNvPr>
                    <p:cNvSpPr/>
                    <p:nvPr/>
                  </p:nvSpPr>
                  <p:spPr>
                    <a:xfrm>
                      <a:off x="3132183" y="3968104"/>
                      <a:ext cx="45719"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61" name="Freeform 187">
                      <a:extLst>
                        <a:ext uri="{FF2B5EF4-FFF2-40B4-BE49-F238E27FC236}">
                          <a16:creationId xmlns:a16="http://schemas.microsoft.com/office/drawing/2014/main" id="{175A4019-9B96-44F0-8787-EF9064EE6116}"/>
                        </a:ext>
                      </a:extLst>
                    </p:cNvPr>
                    <p:cNvSpPr/>
                    <p:nvPr/>
                  </p:nvSpPr>
                  <p:spPr>
                    <a:xfrm>
                      <a:off x="3213037" y="3964769"/>
                      <a:ext cx="31771"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62" name="Freeform 188">
                      <a:extLst>
                        <a:ext uri="{FF2B5EF4-FFF2-40B4-BE49-F238E27FC236}">
                          <a16:creationId xmlns:a16="http://schemas.microsoft.com/office/drawing/2014/main" id="{69206812-3F81-4739-97D5-288225FF248C}"/>
                        </a:ext>
                      </a:extLst>
                    </p:cNvPr>
                    <p:cNvSpPr/>
                    <p:nvPr/>
                  </p:nvSpPr>
                  <p:spPr>
                    <a:xfrm>
                      <a:off x="3247146" y="3964769"/>
                      <a:ext cx="40005" cy="188119"/>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63" name="Freeform 189">
                      <a:extLst>
                        <a:ext uri="{FF2B5EF4-FFF2-40B4-BE49-F238E27FC236}">
                          <a16:creationId xmlns:a16="http://schemas.microsoft.com/office/drawing/2014/main" id="{361DE03E-2C9F-4C6E-9726-C6CC4861BA80}"/>
                        </a:ext>
                      </a:extLst>
                    </p:cNvPr>
                    <p:cNvSpPr/>
                    <p:nvPr/>
                  </p:nvSpPr>
                  <p:spPr>
                    <a:xfrm>
                      <a:off x="3330663"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64" name="Freeform 190">
                      <a:extLst>
                        <a:ext uri="{FF2B5EF4-FFF2-40B4-BE49-F238E27FC236}">
                          <a16:creationId xmlns:a16="http://schemas.microsoft.com/office/drawing/2014/main" id="{CC0AF94C-0250-4722-896F-55FC7838A883}"/>
                        </a:ext>
                      </a:extLst>
                    </p:cNvPr>
                    <p:cNvSpPr/>
                    <p:nvPr/>
                  </p:nvSpPr>
                  <p:spPr>
                    <a:xfrm>
                      <a:off x="3365072" y="3968103"/>
                      <a:ext cx="3048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65" name="Freeform 191">
                      <a:extLst>
                        <a:ext uri="{FF2B5EF4-FFF2-40B4-BE49-F238E27FC236}">
                          <a16:creationId xmlns:a16="http://schemas.microsoft.com/office/drawing/2014/main" id="{DB02887D-4532-4CAF-8D88-1F3D14A1B29A}"/>
                        </a:ext>
                      </a:extLst>
                    </p:cNvPr>
                    <p:cNvSpPr/>
                    <p:nvPr/>
                  </p:nvSpPr>
                  <p:spPr>
                    <a:xfrm>
                      <a:off x="3439078" y="3961992"/>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66" name="Freeform 192">
                      <a:extLst>
                        <a:ext uri="{FF2B5EF4-FFF2-40B4-BE49-F238E27FC236}">
                          <a16:creationId xmlns:a16="http://schemas.microsoft.com/office/drawing/2014/main" id="{443EFC72-7F13-4937-9019-AE7A59A74B1D}"/>
                        </a:ext>
                      </a:extLst>
                    </p:cNvPr>
                    <p:cNvSpPr/>
                    <p:nvPr/>
                  </p:nvSpPr>
                  <p:spPr>
                    <a:xfrm>
                      <a:off x="3467991" y="3973054"/>
                      <a:ext cx="45719"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67" name="Freeform 193">
                      <a:extLst>
                        <a:ext uri="{FF2B5EF4-FFF2-40B4-BE49-F238E27FC236}">
                          <a16:creationId xmlns:a16="http://schemas.microsoft.com/office/drawing/2014/main" id="{8D55951D-6CEE-4728-A0FF-CB3AB63A77E7}"/>
                        </a:ext>
                      </a:extLst>
                    </p:cNvPr>
                    <p:cNvSpPr/>
                    <p:nvPr/>
                  </p:nvSpPr>
                  <p:spPr>
                    <a:xfrm>
                      <a:off x="3639653" y="3934111"/>
                      <a:ext cx="45719"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68" name="Oval 167">
                      <a:extLst>
                        <a:ext uri="{FF2B5EF4-FFF2-40B4-BE49-F238E27FC236}">
                          <a16:creationId xmlns:a16="http://schemas.microsoft.com/office/drawing/2014/main" id="{DC3E77AD-80DD-4AE3-906C-6B41CDF53AB8}"/>
                        </a:ext>
                      </a:extLst>
                    </p:cNvPr>
                    <p:cNvSpPr/>
                    <p:nvPr/>
                  </p:nvSpPr>
                  <p:spPr>
                    <a:xfrm>
                      <a:off x="3639653"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69" name="Freeform 195">
                      <a:extLst>
                        <a:ext uri="{FF2B5EF4-FFF2-40B4-BE49-F238E27FC236}">
                          <a16:creationId xmlns:a16="http://schemas.microsoft.com/office/drawing/2014/main" id="{E73712B9-44ED-427D-97C9-98408FFFFF8F}"/>
                        </a:ext>
                      </a:extLst>
                    </p:cNvPr>
                    <p:cNvSpPr/>
                    <p:nvPr/>
                  </p:nvSpPr>
                  <p:spPr>
                    <a:xfrm>
                      <a:off x="3701394" y="3973054"/>
                      <a:ext cx="46259"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70" name="Oval 169">
                      <a:extLst>
                        <a:ext uri="{FF2B5EF4-FFF2-40B4-BE49-F238E27FC236}">
                          <a16:creationId xmlns:a16="http://schemas.microsoft.com/office/drawing/2014/main" id="{40E722E8-8CAE-4E63-902F-FEC8DBD45865}"/>
                        </a:ext>
                      </a:extLst>
                    </p:cNvPr>
                    <p:cNvSpPr/>
                    <p:nvPr/>
                  </p:nvSpPr>
                  <p:spPr>
                    <a:xfrm>
                      <a:off x="3754959"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71" name="Oval 170">
                      <a:extLst>
                        <a:ext uri="{FF2B5EF4-FFF2-40B4-BE49-F238E27FC236}">
                          <a16:creationId xmlns:a16="http://schemas.microsoft.com/office/drawing/2014/main" id="{F8A75153-C910-4EAF-BFF7-C4A522CB70C8}"/>
                        </a:ext>
                      </a:extLst>
                    </p:cNvPr>
                    <p:cNvSpPr/>
                    <p:nvPr/>
                  </p:nvSpPr>
                  <p:spPr>
                    <a:xfrm>
                      <a:off x="3531653"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72" name="Oval 171">
                      <a:extLst>
                        <a:ext uri="{FF2B5EF4-FFF2-40B4-BE49-F238E27FC236}">
                          <a16:creationId xmlns:a16="http://schemas.microsoft.com/office/drawing/2014/main" id="{476A1B8C-E416-4261-BCCF-7B35FE6C37C9}"/>
                        </a:ext>
                      </a:extLst>
                    </p:cNvPr>
                    <p:cNvSpPr/>
                    <p:nvPr/>
                  </p:nvSpPr>
                  <p:spPr>
                    <a:xfrm>
                      <a:off x="3867102"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73" name="Oval 172">
                      <a:extLst>
                        <a:ext uri="{FF2B5EF4-FFF2-40B4-BE49-F238E27FC236}">
                          <a16:creationId xmlns:a16="http://schemas.microsoft.com/office/drawing/2014/main" id="{973C8174-715D-4478-A526-1A9B2BB6378F}"/>
                        </a:ext>
                      </a:extLst>
                    </p:cNvPr>
                    <p:cNvSpPr/>
                    <p:nvPr/>
                  </p:nvSpPr>
                  <p:spPr>
                    <a:xfrm>
                      <a:off x="3982767"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74" name="Oval 173">
                      <a:extLst>
                        <a:ext uri="{FF2B5EF4-FFF2-40B4-BE49-F238E27FC236}">
                          <a16:creationId xmlns:a16="http://schemas.microsoft.com/office/drawing/2014/main" id="{9E13EA0F-92DC-4EDC-9DDC-EC2221491DF6}"/>
                        </a:ext>
                      </a:extLst>
                    </p:cNvPr>
                    <p:cNvSpPr/>
                    <p:nvPr/>
                  </p:nvSpPr>
                  <p:spPr>
                    <a:xfrm>
                      <a:off x="4090767"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75" name="Freeform 201">
                      <a:extLst>
                        <a:ext uri="{FF2B5EF4-FFF2-40B4-BE49-F238E27FC236}">
                          <a16:creationId xmlns:a16="http://schemas.microsoft.com/office/drawing/2014/main" id="{F47BEF76-2328-49AA-BFB1-259B9FC5FBAC}"/>
                        </a:ext>
                      </a:extLst>
                    </p:cNvPr>
                    <p:cNvSpPr/>
                    <p:nvPr/>
                  </p:nvSpPr>
                  <p:spPr>
                    <a:xfrm>
                      <a:off x="3539934" y="3950109"/>
                      <a:ext cx="45719"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76" name="Freeform 202">
                      <a:extLst>
                        <a:ext uri="{FF2B5EF4-FFF2-40B4-BE49-F238E27FC236}">
                          <a16:creationId xmlns:a16="http://schemas.microsoft.com/office/drawing/2014/main" id="{621781A0-336C-4C93-8AD6-0C32A2C8B0D1}"/>
                        </a:ext>
                      </a:extLst>
                    </p:cNvPr>
                    <p:cNvSpPr/>
                    <p:nvPr/>
                  </p:nvSpPr>
                  <p:spPr>
                    <a:xfrm>
                      <a:off x="3598389"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77" name="Freeform 203">
                      <a:extLst>
                        <a:ext uri="{FF2B5EF4-FFF2-40B4-BE49-F238E27FC236}">
                          <a16:creationId xmlns:a16="http://schemas.microsoft.com/office/drawing/2014/main" id="{9A73E57C-2CDB-495E-947B-DC16C9E50D8D}"/>
                        </a:ext>
                      </a:extLst>
                    </p:cNvPr>
                    <p:cNvSpPr/>
                    <p:nvPr/>
                  </p:nvSpPr>
                  <p:spPr>
                    <a:xfrm>
                      <a:off x="3787101"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78" name="Freeform 204">
                      <a:extLst>
                        <a:ext uri="{FF2B5EF4-FFF2-40B4-BE49-F238E27FC236}">
                          <a16:creationId xmlns:a16="http://schemas.microsoft.com/office/drawing/2014/main" id="{D32F03D3-78F5-4063-AD19-D5C61869A0DA}"/>
                        </a:ext>
                      </a:extLst>
                    </p:cNvPr>
                    <p:cNvSpPr/>
                    <p:nvPr/>
                  </p:nvSpPr>
                  <p:spPr>
                    <a:xfrm>
                      <a:off x="3817240" y="3968104"/>
                      <a:ext cx="45719"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79" name="Freeform 205">
                      <a:extLst>
                        <a:ext uri="{FF2B5EF4-FFF2-40B4-BE49-F238E27FC236}">
                          <a16:creationId xmlns:a16="http://schemas.microsoft.com/office/drawing/2014/main" id="{B0852EBF-552C-4FE3-AD28-3866E24E215B}"/>
                        </a:ext>
                      </a:extLst>
                    </p:cNvPr>
                    <p:cNvSpPr/>
                    <p:nvPr/>
                  </p:nvSpPr>
                  <p:spPr>
                    <a:xfrm>
                      <a:off x="3898094" y="3964769"/>
                      <a:ext cx="31771"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80" name="Freeform 206">
                      <a:extLst>
                        <a:ext uri="{FF2B5EF4-FFF2-40B4-BE49-F238E27FC236}">
                          <a16:creationId xmlns:a16="http://schemas.microsoft.com/office/drawing/2014/main" id="{1C835D5A-4E1D-4981-97B2-856C0098D87B}"/>
                        </a:ext>
                      </a:extLst>
                    </p:cNvPr>
                    <p:cNvSpPr/>
                    <p:nvPr/>
                  </p:nvSpPr>
                  <p:spPr>
                    <a:xfrm>
                      <a:off x="3932203" y="3964769"/>
                      <a:ext cx="40005" cy="188119"/>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81" name="Freeform 207">
                      <a:extLst>
                        <a:ext uri="{FF2B5EF4-FFF2-40B4-BE49-F238E27FC236}">
                          <a16:creationId xmlns:a16="http://schemas.microsoft.com/office/drawing/2014/main" id="{15D204DF-370B-4C0E-A727-416B4D0D14D9}"/>
                        </a:ext>
                      </a:extLst>
                    </p:cNvPr>
                    <p:cNvSpPr/>
                    <p:nvPr/>
                  </p:nvSpPr>
                  <p:spPr>
                    <a:xfrm>
                      <a:off x="4015720"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82" name="Freeform 208">
                      <a:extLst>
                        <a:ext uri="{FF2B5EF4-FFF2-40B4-BE49-F238E27FC236}">
                          <a16:creationId xmlns:a16="http://schemas.microsoft.com/office/drawing/2014/main" id="{93FB8BE4-1F1C-42E7-A27C-0CD5A5BAD7EC}"/>
                        </a:ext>
                      </a:extLst>
                    </p:cNvPr>
                    <p:cNvSpPr/>
                    <p:nvPr/>
                  </p:nvSpPr>
                  <p:spPr>
                    <a:xfrm>
                      <a:off x="4050129" y="3968103"/>
                      <a:ext cx="3048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83" name="Freeform 209">
                      <a:extLst>
                        <a:ext uri="{FF2B5EF4-FFF2-40B4-BE49-F238E27FC236}">
                          <a16:creationId xmlns:a16="http://schemas.microsoft.com/office/drawing/2014/main" id="{67779A98-BB43-4FE6-8BD5-868D39428C66}"/>
                        </a:ext>
                      </a:extLst>
                    </p:cNvPr>
                    <p:cNvSpPr/>
                    <p:nvPr/>
                  </p:nvSpPr>
                  <p:spPr>
                    <a:xfrm>
                      <a:off x="4124135" y="3961992"/>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84" name="Freeform 210">
                      <a:extLst>
                        <a:ext uri="{FF2B5EF4-FFF2-40B4-BE49-F238E27FC236}">
                          <a16:creationId xmlns:a16="http://schemas.microsoft.com/office/drawing/2014/main" id="{BD453992-30CA-4BFA-A5E7-274ECC2D4646}"/>
                        </a:ext>
                      </a:extLst>
                    </p:cNvPr>
                    <p:cNvSpPr/>
                    <p:nvPr/>
                  </p:nvSpPr>
                  <p:spPr>
                    <a:xfrm>
                      <a:off x="4153048" y="3973054"/>
                      <a:ext cx="45719"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85" name="Freeform 211">
                      <a:extLst>
                        <a:ext uri="{FF2B5EF4-FFF2-40B4-BE49-F238E27FC236}">
                          <a16:creationId xmlns:a16="http://schemas.microsoft.com/office/drawing/2014/main" id="{8E431C51-5258-4AF4-80A7-960C1389417B}"/>
                        </a:ext>
                      </a:extLst>
                    </p:cNvPr>
                    <p:cNvSpPr/>
                    <p:nvPr/>
                  </p:nvSpPr>
                  <p:spPr>
                    <a:xfrm>
                      <a:off x="4310014" y="3934111"/>
                      <a:ext cx="45719"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86" name="Oval 185">
                      <a:extLst>
                        <a:ext uri="{FF2B5EF4-FFF2-40B4-BE49-F238E27FC236}">
                          <a16:creationId xmlns:a16="http://schemas.microsoft.com/office/drawing/2014/main" id="{7029D370-3B63-4613-9B29-A85B2D5AB15D}"/>
                        </a:ext>
                      </a:extLst>
                    </p:cNvPr>
                    <p:cNvSpPr/>
                    <p:nvPr/>
                  </p:nvSpPr>
                  <p:spPr>
                    <a:xfrm>
                      <a:off x="4310014"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87" name="Freeform 213">
                      <a:extLst>
                        <a:ext uri="{FF2B5EF4-FFF2-40B4-BE49-F238E27FC236}">
                          <a16:creationId xmlns:a16="http://schemas.microsoft.com/office/drawing/2014/main" id="{6BFD372D-D7FD-4AA1-B796-66668DF55EB1}"/>
                        </a:ext>
                      </a:extLst>
                    </p:cNvPr>
                    <p:cNvSpPr/>
                    <p:nvPr/>
                  </p:nvSpPr>
                  <p:spPr>
                    <a:xfrm>
                      <a:off x="4371755" y="3973054"/>
                      <a:ext cx="46259"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88" name="Oval 187">
                      <a:extLst>
                        <a:ext uri="{FF2B5EF4-FFF2-40B4-BE49-F238E27FC236}">
                          <a16:creationId xmlns:a16="http://schemas.microsoft.com/office/drawing/2014/main" id="{02224349-E37C-4007-A3F9-9C9E205C7E2B}"/>
                        </a:ext>
                      </a:extLst>
                    </p:cNvPr>
                    <p:cNvSpPr/>
                    <p:nvPr/>
                  </p:nvSpPr>
                  <p:spPr>
                    <a:xfrm>
                      <a:off x="4425320"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89" name="Oval 188">
                      <a:extLst>
                        <a:ext uri="{FF2B5EF4-FFF2-40B4-BE49-F238E27FC236}">
                          <a16:creationId xmlns:a16="http://schemas.microsoft.com/office/drawing/2014/main" id="{1DAF1885-F116-4E89-ABD3-D822C36C5407}"/>
                        </a:ext>
                      </a:extLst>
                    </p:cNvPr>
                    <p:cNvSpPr/>
                    <p:nvPr/>
                  </p:nvSpPr>
                  <p:spPr>
                    <a:xfrm>
                      <a:off x="4202014"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90" name="Oval 189">
                      <a:extLst>
                        <a:ext uri="{FF2B5EF4-FFF2-40B4-BE49-F238E27FC236}">
                          <a16:creationId xmlns:a16="http://schemas.microsoft.com/office/drawing/2014/main" id="{AEDFFEDC-AEFF-4044-9F8C-F280E5D99F86}"/>
                        </a:ext>
                      </a:extLst>
                    </p:cNvPr>
                    <p:cNvSpPr/>
                    <p:nvPr/>
                  </p:nvSpPr>
                  <p:spPr>
                    <a:xfrm>
                      <a:off x="4537463"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91" name="Oval 190">
                      <a:extLst>
                        <a:ext uri="{FF2B5EF4-FFF2-40B4-BE49-F238E27FC236}">
                          <a16:creationId xmlns:a16="http://schemas.microsoft.com/office/drawing/2014/main" id="{9BFB799F-F7CF-4792-853E-566482D7F95E}"/>
                        </a:ext>
                      </a:extLst>
                    </p:cNvPr>
                    <p:cNvSpPr/>
                    <p:nvPr/>
                  </p:nvSpPr>
                  <p:spPr>
                    <a:xfrm>
                      <a:off x="4653128"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92" name="Oval 191">
                      <a:extLst>
                        <a:ext uri="{FF2B5EF4-FFF2-40B4-BE49-F238E27FC236}">
                          <a16:creationId xmlns:a16="http://schemas.microsoft.com/office/drawing/2014/main" id="{5FC4371C-C406-4160-84F6-FF49600B1760}"/>
                        </a:ext>
                      </a:extLst>
                    </p:cNvPr>
                    <p:cNvSpPr/>
                    <p:nvPr/>
                  </p:nvSpPr>
                  <p:spPr>
                    <a:xfrm>
                      <a:off x="4761128"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93" name="Freeform 219">
                      <a:extLst>
                        <a:ext uri="{FF2B5EF4-FFF2-40B4-BE49-F238E27FC236}">
                          <a16:creationId xmlns:a16="http://schemas.microsoft.com/office/drawing/2014/main" id="{A7D262A1-868D-49CA-9997-955633B4E9A1}"/>
                        </a:ext>
                      </a:extLst>
                    </p:cNvPr>
                    <p:cNvSpPr/>
                    <p:nvPr/>
                  </p:nvSpPr>
                  <p:spPr>
                    <a:xfrm>
                      <a:off x="4210295" y="3950109"/>
                      <a:ext cx="45719"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94" name="Freeform 220">
                      <a:extLst>
                        <a:ext uri="{FF2B5EF4-FFF2-40B4-BE49-F238E27FC236}">
                          <a16:creationId xmlns:a16="http://schemas.microsoft.com/office/drawing/2014/main" id="{7BC3DC0D-D9DE-4CCA-892F-7BA42758F101}"/>
                        </a:ext>
                      </a:extLst>
                    </p:cNvPr>
                    <p:cNvSpPr/>
                    <p:nvPr/>
                  </p:nvSpPr>
                  <p:spPr>
                    <a:xfrm>
                      <a:off x="4268750"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95" name="Freeform 221">
                      <a:extLst>
                        <a:ext uri="{FF2B5EF4-FFF2-40B4-BE49-F238E27FC236}">
                          <a16:creationId xmlns:a16="http://schemas.microsoft.com/office/drawing/2014/main" id="{F83CD509-D65A-496C-9DA6-AA0749F8B8DD}"/>
                        </a:ext>
                      </a:extLst>
                    </p:cNvPr>
                    <p:cNvSpPr/>
                    <p:nvPr/>
                  </p:nvSpPr>
                  <p:spPr>
                    <a:xfrm>
                      <a:off x="4457462"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96" name="Freeform 222">
                      <a:extLst>
                        <a:ext uri="{FF2B5EF4-FFF2-40B4-BE49-F238E27FC236}">
                          <a16:creationId xmlns:a16="http://schemas.microsoft.com/office/drawing/2014/main" id="{39CFF5AF-BAF7-4738-A32B-0E42C29B2040}"/>
                        </a:ext>
                      </a:extLst>
                    </p:cNvPr>
                    <p:cNvSpPr/>
                    <p:nvPr/>
                  </p:nvSpPr>
                  <p:spPr>
                    <a:xfrm>
                      <a:off x="4487601" y="3968104"/>
                      <a:ext cx="45719"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97" name="Freeform 223">
                      <a:extLst>
                        <a:ext uri="{FF2B5EF4-FFF2-40B4-BE49-F238E27FC236}">
                          <a16:creationId xmlns:a16="http://schemas.microsoft.com/office/drawing/2014/main" id="{61F9ACA9-A2FD-443E-A3EA-F92DDE332372}"/>
                        </a:ext>
                      </a:extLst>
                    </p:cNvPr>
                    <p:cNvSpPr/>
                    <p:nvPr/>
                  </p:nvSpPr>
                  <p:spPr>
                    <a:xfrm>
                      <a:off x="4568455" y="3964769"/>
                      <a:ext cx="31771"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98" name="Freeform 224">
                      <a:extLst>
                        <a:ext uri="{FF2B5EF4-FFF2-40B4-BE49-F238E27FC236}">
                          <a16:creationId xmlns:a16="http://schemas.microsoft.com/office/drawing/2014/main" id="{C97A4390-D7AD-4E1C-B372-BA394E427768}"/>
                        </a:ext>
                      </a:extLst>
                    </p:cNvPr>
                    <p:cNvSpPr/>
                    <p:nvPr/>
                  </p:nvSpPr>
                  <p:spPr>
                    <a:xfrm>
                      <a:off x="4602564" y="3964769"/>
                      <a:ext cx="40005" cy="188119"/>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99" name="Freeform 225">
                      <a:extLst>
                        <a:ext uri="{FF2B5EF4-FFF2-40B4-BE49-F238E27FC236}">
                          <a16:creationId xmlns:a16="http://schemas.microsoft.com/office/drawing/2014/main" id="{EF59B7CE-C569-45C2-8ECC-215567B44C5F}"/>
                        </a:ext>
                      </a:extLst>
                    </p:cNvPr>
                    <p:cNvSpPr/>
                    <p:nvPr/>
                  </p:nvSpPr>
                  <p:spPr>
                    <a:xfrm>
                      <a:off x="4686081"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00" name="Freeform 226">
                      <a:extLst>
                        <a:ext uri="{FF2B5EF4-FFF2-40B4-BE49-F238E27FC236}">
                          <a16:creationId xmlns:a16="http://schemas.microsoft.com/office/drawing/2014/main" id="{39254D61-FDE1-4043-9EF1-A5EBC6CE606D}"/>
                        </a:ext>
                      </a:extLst>
                    </p:cNvPr>
                    <p:cNvSpPr/>
                    <p:nvPr/>
                  </p:nvSpPr>
                  <p:spPr>
                    <a:xfrm>
                      <a:off x="4720490" y="3968103"/>
                      <a:ext cx="3048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01" name="Freeform 227">
                      <a:extLst>
                        <a:ext uri="{FF2B5EF4-FFF2-40B4-BE49-F238E27FC236}">
                          <a16:creationId xmlns:a16="http://schemas.microsoft.com/office/drawing/2014/main" id="{CD33EDCA-70CB-49B2-B6FD-802EBDB63D01}"/>
                        </a:ext>
                      </a:extLst>
                    </p:cNvPr>
                    <p:cNvSpPr/>
                    <p:nvPr/>
                  </p:nvSpPr>
                  <p:spPr>
                    <a:xfrm>
                      <a:off x="4794496" y="3961992"/>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02" name="Freeform 228">
                      <a:extLst>
                        <a:ext uri="{FF2B5EF4-FFF2-40B4-BE49-F238E27FC236}">
                          <a16:creationId xmlns:a16="http://schemas.microsoft.com/office/drawing/2014/main" id="{EA4850F5-1E9B-4ACE-9446-29757B65D006}"/>
                        </a:ext>
                      </a:extLst>
                    </p:cNvPr>
                    <p:cNvSpPr/>
                    <p:nvPr/>
                  </p:nvSpPr>
                  <p:spPr>
                    <a:xfrm>
                      <a:off x="4823409" y="3973054"/>
                      <a:ext cx="45719"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03" name="Freeform 229">
                      <a:extLst>
                        <a:ext uri="{FF2B5EF4-FFF2-40B4-BE49-F238E27FC236}">
                          <a16:creationId xmlns:a16="http://schemas.microsoft.com/office/drawing/2014/main" id="{90712B78-18E4-4466-864A-F633B7A980DF}"/>
                        </a:ext>
                      </a:extLst>
                    </p:cNvPr>
                    <p:cNvSpPr/>
                    <p:nvPr/>
                  </p:nvSpPr>
                  <p:spPr>
                    <a:xfrm>
                      <a:off x="4992288" y="3934111"/>
                      <a:ext cx="45719" cy="216000"/>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04" name="Oval 203">
                      <a:extLst>
                        <a:ext uri="{FF2B5EF4-FFF2-40B4-BE49-F238E27FC236}">
                          <a16:creationId xmlns:a16="http://schemas.microsoft.com/office/drawing/2014/main" id="{61427FA9-0B99-4070-B86F-0913B2C2783F}"/>
                        </a:ext>
                      </a:extLst>
                    </p:cNvPr>
                    <p:cNvSpPr/>
                    <p:nvPr/>
                  </p:nvSpPr>
                  <p:spPr>
                    <a:xfrm>
                      <a:off x="4992288"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05" name="Freeform 231">
                      <a:extLst>
                        <a:ext uri="{FF2B5EF4-FFF2-40B4-BE49-F238E27FC236}">
                          <a16:creationId xmlns:a16="http://schemas.microsoft.com/office/drawing/2014/main" id="{E381C2CF-E305-4B0F-88EF-BE1C1CAB9629}"/>
                        </a:ext>
                      </a:extLst>
                    </p:cNvPr>
                    <p:cNvSpPr/>
                    <p:nvPr/>
                  </p:nvSpPr>
                  <p:spPr>
                    <a:xfrm>
                      <a:off x="5054029" y="3973054"/>
                      <a:ext cx="46259"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06" name="Oval 205">
                      <a:extLst>
                        <a:ext uri="{FF2B5EF4-FFF2-40B4-BE49-F238E27FC236}">
                          <a16:creationId xmlns:a16="http://schemas.microsoft.com/office/drawing/2014/main" id="{D7460C5F-6EC6-44B7-ABFD-994A93B0E72C}"/>
                        </a:ext>
                      </a:extLst>
                    </p:cNvPr>
                    <p:cNvSpPr/>
                    <p:nvPr/>
                  </p:nvSpPr>
                  <p:spPr>
                    <a:xfrm>
                      <a:off x="5107594"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07" name="Oval 206">
                      <a:extLst>
                        <a:ext uri="{FF2B5EF4-FFF2-40B4-BE49-F238E27FC236}">
                          <a16:creationId xmlns:a16="http://schemas.microsoft.com/office/drawing/2014/main" id="{D82820D9-F799-44E5-A2AC-9FCA8C969CE9}"/>
                        </a:ext>
                      </a:extLst>
                    </p:cNvPr>
                    <p:cNvSpPr/>
                    <p:nvPr/>
                  </p:nvSpPr>
                  <p:spPr>
                    <a:xfrm>
                      <a:off x="4884288"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08" name="Oval 207">
                      <a:extLst>
                        <a:ext uri="{FF2B5EF4-FFF2-40B4-BE49-F238E27FC236}">
                          <a16:creationId xmlns:a16="http://schemas.microsoft.com/office/drawing/2014/main" id="{E01AB252-5188-4C07-B1C7-9CC62D08CE74}"/>
                        </a:ext>
                      </a:extLst>
                    </p:cNvPr>
                    <p:cNvSpPr/>
                    <p:nvPr/>
                  </p:nvSpPr>
                  <p:spPr>
                    <a:xfrm>
                      <a:off x="5219737"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09" name="Oval 208">
                      <a:extLst>
                        <a:ext uri="{FF2B5EF4-FFF2-40B4-BE49-F238E27FC236}">
                          <a16:creationId xmlns:a16="http://schemas.microsoft.com/office/drawing/2014/main" id="{DB5CE4E7-ED45-4B08-B07E-E358C8C80701}"/>
                        </a:ext>
                      </a:extLst>
                    </p:cNvPr>
                    <p:cNvSpPr/>
                    <p:nvPr/>
                  </p:nvSpPr>
                  <p:spPr>
                    <a:xfrm>
                      <a:off x="5335402"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10" name="Oval 209">
                      <a:extLst>
                        <a:ext uri="{FF2B5EF4-FFF2-40B4-BE49-F238E27FC236}">
                          <a16:creationId xmlns:a16="http://schemas.microsoft.com/office/drawing/2014/main" id="{3CE5118A-1462-4603-98C9-6CB9595526A7}"/>
                        </a:ext>
                      </a:extLst>
                    </p:cNvPr>
                    <p:cNvSpPr/>
                    <p:nvPr/>
                  </p:nvSpPr>
                  <p:spPr>
                    <a:xfrm>
                      <a:off x="5443402" y="3861048"/>
                      <a:ext cx="108000" cy="108000"/>
                    </a:xfrm>
                    <a:prstGeom prst="ellipse">
                      <a:avLst/>
                    </a:prstGeom>
                    <a:grp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11" name="Freeform 237">
                      <a:extLst>
                        <a:ext uri="{FF2B5EF4-FFF2-40B4-BE49-F238E27FC236}">
                          <a16:creationId xmlns:a16="http://schemas.microsoft.com/office/drawing/2014/main" id="{F500B4AC-6A46-4CF6-BAC7-CD0B9134F8CC}"/>
                        </a:ext>
                      </a:extLst>
                    </p:cNvPr>
                    <p:cNvSpPr/>
                    <p:nvPr/>
                  </p:nvSpPr>
                  <p:spPr>
                    <a:xfrm>
                      <a:off x="4892569" y="3950109"/>
                      <a:ext cx="45719" cy="200001"/>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12" name="Freeform 238">
                      <a:extLst>
                        <a:ext uri="{FF2B5EF4-FFF2-40B4-BE49-F238E27FC236}">
                          <a16:creationId xmlns:a16="http://schemas.microsoft.com/office/drawing/2014/main" id="{B1C3C139-E301-4F54-893F-59F251F906DA}"/>
                        </a:ext>
                      </a:extLst>
                    </p:cNvPr>
                    <p:cNvSpPr/>
                    <p:nvPr/>
                  </p:nvSpPr>
                  <p:spPr>
                    <a:xfrm>
                      <a:off x="4951024"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13" name="Freeform 239">
                      <a:extLst>
                        <a:ext uri="{FF2B5EF4-FFF2-40B4-BE49-F238E27FC236}">
                          <a16:creationId xmlns:a16="http://schemas.microsoft.com/office/drawing/2014/main" id="{BD81074A-A8B9-4D93-92D8-F28C952C51DB}"/>
                        </a:ext>
                      </a:extLst>
                    </p:cNvPr>
                    <p:cNvSpPr/>
                    <p:nvPr/>
                  </p:nvSpPr>
                  <p:spPr>
                    <a:xfrm>
                      <a:off x="5139736"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14" name="Freeform 240">
                      <a:extLst>
                        <a:ext uri="{FF2B5EF4-FFF2-40B4-BE49-F238E27FC236}">
                          <a16:creationId xmlns:a16="http://schemas.microsoft.com/office/drawing/2014/main" id="{DC5D6B95-4EFE-46ED-B74B-69D6BAD3F602}"/>
                        </a:ext>
                      </a:extLst>
                    </p:cNvPr>
                    <p:cNvSpPr/>
                    <p:nvPr/>
                  </p:nvSpPr>
                  <p:spPr>
                    <a:xfrm>
                      <a:off x="5169875" y="3968104"/>
                      <a:ext cx="45719"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15" name="Freeform 241">
                      <a:extLst>
                        <a:ext uri="{FF2B5EF4-FFF2-40B4-BE49-F238E27FC236}">
                          <a16:creationId xmlns:a16="http://schemas.microsoft.com/office/drawing/2014/main" id="{9AAA0701-8F40-4FCC-BAB4-8C2D2254C437}"/>
                        </a:ext>
                      </a:extLst>
                    </p:cNvPr>
                    <p:cNvSpPr/>
                    <p:nvPr/>
                  </p:nvSpPr>
                  <p:spPr>
                    <a:xfrm>
                      <a:off x="5250729" y="3964769"/>
                      <a:ext cx="31771" cy="17983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16" name="Freeform 242">
                      <a:extLst>
                        <a:ext uri="{FF2B5EF4-FFF2-40B4-BE49-F238E27FC236}">
                          <a16:creationId xmlns:a16="http://schemas.microsoft.com/office/drawing/2014/main" id="{5D4CF2BB-58A7-4453-AE97-82D3C71C0B57}"/>
                        </a:ext>
                      </a:extLst>
                    </p:cNvPr>
                    <p:cNvSpPr/>
                    <p:nvPr/>
                  </p:nvSpPr>
                  <p:spPr>
                    <a:xfrm>
                      <a:off x="5284838" y="3964769"/>
                      <a:ext cx="40005" cy="188119"/>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17" name="Freeform 243">
                      <a:extLst>
                        <a:ext uri="{FF2B5EF4-FFF2-40B4-BE49-F238E27FC236}">
                          <a16:creationId xmlns:a16="http://schemas.microsoft.com/office/drawing/2014/main" id="{FFFCDCF9-DF6E-40D8-BCFD-C48B142518F7}"/>
                        </a:ext>
                      </a:extLst>
                    </p:cNvPr>
                    <p:cNvSpPr/>
                    <p:nvPr/>
                  </p:nvSpPr>
                  <p:spPr>
                    <a:xfrm>
                      <a:off x="5368355" y="3964769"/>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18" name="Freeform 244">
                      <a:extLst>
                        <a:ext uri="{FF2B5EF4-FFF2-40B4-BE49-F238E27FC236}">
                          <a16:creationId xmlns:a16="http://schemas.microsoft.com/office/drawing/2014/main" id="{CB456851-546A-42E7-AD22-FD3740896759}"/>
                        </a:ext>
                      </a:extLst>
                    </p:cNvPr>
                    <p:cNvSpPr/>
                    <p:nvPr/>
                  </p:nvSpPr>
                  <p:spPr>
                    <a:xfrm>
                      <a:off x="5402764" y="3968103"/>
                      <a:ext cx="30480" cy="18478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19" name="Freeform 245">
                      <a:extLst>
                        <a:ext uri="{FF2B5EF4-FFF2-40B4-BE49-F238E27FC236}">
                          <a16:creationId xmlns:a16="http://schemas.microsoft.com/office/drawing/2014/main" id="{7C00D8CD-F37A-4D91-A01B-C726B4669776}"/>
                        </a:ext>
                      </a:extLst>
                    </p:cNvPr>
                    <p:cNvSpPr/>
                    <p:nvPr/>
                  </p:nvSpPr>
                  <p:spPr>
                    <a:xfrm>
                      <a:off x="5476770" y="3961992"/>
                      <a:ext cx="20632" cy="188119"/>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220" name="Freeform 246">
                      <a:extLst>
                        <a:ext uri="{FF2B5EF4-FFF2-40B4-BE49-F238E27FC236}">
                          <a16:creationId xmlns:a16="http://schemas.microsoft.com/office/drawing/2014/main" id="{83C242DA-73A0-46D0-95BB-1CE065935A12}"/>
                        </a:ext>
                      </a:extLst>
                    </p:cNvPr>
                    <p:cNvSpPr/>
                    <p:nvPr/>
                  </p:nvSpPr>
                  <p:spPr>
                    <a:xfrm>
                      <a:off x="5505683" y="3973054"/>
                      <a:ext cx="45719" cy="17983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grp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grpSp>
            </p:grpSp>
            <p:sp>
              <p:nvSpPr>
                <p:cNvPr id="69" name="Freeform 95">
                  <a:extLst>
                    <a:ext uri="{FF2B5EF4-FFF2-40B4-BE49-F238E27FC236}">
                      <a16:creationId xmlns:a16="http://schemas.microsoft.com/office/drawing/2014/main" id="{A2A84933-0BFC-4934-B66A-E7C7E8015020}"/>
                    </a:ext>
                  </a:extLst>
                </p:cNvPr>
                <p:cNvSpPr/>
                <p:nvPr/>
              </p:nvSpPr>
              <p:spPr>
                <a:xfrm>
                  <a:off x="1907303" y="1614093"/>
                  <a:ext cx="29766" cy="148401"/>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70" name="Oval 69">
                  <a:extLst>
                    <a:ext uri="{FF2B5EF4-FFF2-40B4-BE49-F238E27FC236}">
                      <a16:creationId xmlns:a16="http://schemas.microsoft.com/office/drawing/2014/main" id="{D36971C6-A064-40F7-8764-E1F6C8EC1F12}"/>
                    </a:ext>
                  </a:extLst>
                </p:cNvPr>
                <p:cNvSpPr/>
                <p:nvPr/>
              </p:nvSpPr>
              <p:spPr>
                <a:xfrm>
                  <a:off x="1907303"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71" name="Freeform 97">
                  <a:extLst>
                    <a:ext uri="{FF2B5EF4-FFF2-40B4-BE49-F238E27FC236}">
                      <a16:creationId xmlns:a16="http://schemas.microsoft.com/office/drawing/2014/main" id="{B0D1F5C6-0922-48A4-A79B-E71DEADFB94E}"/>
                    </a:ext>
                  </a:extLst>
                </p:cNvPr>
                <p:cNvSpPr/>
                <p:nvPr/>
              </p:nvSpPr>
              <p:spPr>
                <a:xfrm>
                  <a:off x="1947500" y="1640849"/>
                  <a:ext cx="30117" cy="12355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72" name="Oval 71">
                  <a:extLst>
                    <a:ext uri="{FF2B5EF4-FFF2-40B4-BE49-F238E27FC236}">
                      <a16:creationId xmlns:a16="http://schemas.microsoft.com/office/drawing/2014/main" id="{B079D89F-C0AD-4949-AEB4-59F7790F1D69}"/>
                    </a:ext>
                  </a:extLst>
                </p:cNvPr>
                <p:cNvSpPr/>
                <p:nvPr/>
              </p:nvSpPr>
              <p:spPr>
                <a:xfrm>
                  <a:off x="1982373"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73" name="Oval 72">
                  <a:extLst>
                    <a:ext uri="{FF2B5EF4-FFF2-40B4-BE49-F238E27FC236}">
                      <a16:creationId xmlns:a16="http://schemas.microsoft.com/office/drawing/2014/main" id="{F4B5F555-AAF2-43ED-ACCF-F55C71225E92}"/>
                    </a:ext>
                  </a:extLst>
                </p:cNvPr>
                <p:cNvSpPr/>
                <p:nvPr/>
              </p:nvSpPr>
              <p:spPr>
                <a:xfrm>
                  <a:off x="1836988"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74" name="Oval 73">
                  <a:extLst>
                    <a:ext uri="{FF2B5EF4-FFF2-40B4-BE49-F238E27FC236}">
                      <a16:creationId xmlns:a16="http://schemas.microsoft.com/office/drawing/2014/main" id="{B0181FEF-C8CD-47F3-A88E-C818A17146B5}"/>
                    </a:ext>
                  </a:extLst>
                </p:cNvPr>
                <p:cNvSpPr/>
                <p:nvPr/>
              </p:nvSpPr>
              <p:spPr>
                <a:xfrm>
                  <a:off x="2055384"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75" name="Oval 74">
                  <a:extLst>
                    <a:ext uri="{FF2B5EF4-FFF2-40B4-BE49-F238E27FC236}">
                      <a16:creationId xmlns:a16="http://schemas.microsoft.com/office/drawing/2014/main" id="{C66E78F1-F7E8-4207-B6F8-3A3FAC46C65F}"/>
                    </a:ext>
                  </a:extLst>
                </p:cNvPr>
                <p:cNvSpPr/>
                <p:nvPr/>
              </p:nvSpPr>
              <p:spPr>
                <a:xfrm>
                  <a:off x="2130688"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76" name="Oval 75">
                  <a:extLst>
                    <a:ext uri="{FF2B5EF4-FFF2-40B4-BE49-F238E27FC236}">
                      <a16:creationId xmlns:a16="http://schemas.microsoft.com/office/drawing/2014/main" id="{1D5E04DE-317B-4E8F-AC15-727D094A8A40}"/>
                    </a:ext>
                  </a:extLst>
                </p:cNvPr>
                <p:cNvSpPr/>
                <p:nvPr/>
              </p:nvSpPr>
              <p:spPr>
                <a:xfrm>
                  <a:off x="2201002"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77" name="Freeform 103">
                  <a:extLst>
                    <a:ext uri="{FF2B5EF4-FFF2-40B4-BE49-F238E27FC236}">
                      <a16:creationId xmlns:a16="http://schemas.microsoft.com/office/drawing/2014/main" id="{572BE23E-8494-4343-8B3B-CA131D52F920}"/>
                    </a:ext>
                  </a:extLst>
                </p:cNvPr>
                <p:cNvSpPr/>
                <p:nvPr/>
              </p:nvSpPr>
              <p:spPr>
                <a:xfrm>
                  <a:off x="1842378" y="1625085"/>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78" name="Freeform 104">
                  <a:extLst>
                    <a:ext uri="{FF2B5EF4-FFF2-40B4-BE49-F238E27FC236}">
                      <a16:creationId xmlns:a16="http://schemas.microsoft.com/office/drawing/2014/main" id="{FA15CC96-BCEA-469A-8E45-59A11195A3B9}"/>
                    </a:ext>
                  </a:extLst>
                </p:cNvPr>
                <p:cNvSpPr/>
                <p:nvPr/>
              </p:nvSpPr>
              <p:spPr>
                <a:xfrm>
                  <a:off x="1880437"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79" name="Freeform 105">
                  <a:extLst>
                    <a:ext uri="{FF2B5EF4-FFF2-40B4-BE49-F238E27FC236}">
                      <a16:creationId xmlns:a16="http://schemas.microsoft.com/office/drawing/2014/main" id="{C4CC0E13-CC84-4FCA-A39D-B8C3A9D86152}"/>
                    </a:ext>
                  </a:extLst>
                </p:cNvPr>
                <p:cNvSpPr/>
                <p:nvPr/>
              </p:nvSpPr>
              <p:spPr>
                <a:xfrm>
                  <a:off x="2003300"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80" name="Freeform 106">
                  <a:extLst>
                    <a:ext uri="{FF2B5EF4-FFF2-40B4-BE49-F238E27FC236}">
                      <a16:creationId xmlns:a16="http://schemas.microsoft.com/office/drawing/2014/main" id="{17219FF6-7156-4723-8C36-E00626A48C64}"/>
                    </a:ext>
                  </a:extLst>
                </p:cNvPr>
                <p:cNvSpPr/>
                <p:nvPr/>
              </p:nvSpPr>
              <p:spPr>
                <a:xfrm>
                  <a:off x="2022923" y="1637448"/>
                  <a:ext cx="29766" cy="12695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81" name="Freeform 107">
                  <a:extLst>
                    <a:ext uri="{FF2B5EF4-FFF2-40B4-BE49-F238E27FC236}">
                      <a16:creationId xmlns:a16="http://schemas.microsoft.com/office/drawing/2014/main" id="{61019DFF-51D0-4749-9EE6-58356D3E52CE}"/>
                    </a:ext>
                  </a:extLst>
                </p:cNvPr>
                <p:cNvSpPr/>
                <p:nvPr/>
              </p:nvSpPr>
              <p:spPr>
                <a:xfrm>
                  <a:off x="2075564" y="1635157"/>
                  <a:ext cx="20685" cy="12355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82" name="Freeform 108">
                  <a:extLst>
                    <a:ext uri="{FF2B5EF4-FFF2-40B4-BE49-F238E27FC236}">
                      <a16:creationId xmlns:a16="http://schemas.microsoft.com/office/drawing/2014/main" id="{6627465F-DEAE-422B-8158-3B0F98FC2B9A}"/>
                    </a:ext>
                  </a:extLst>
                </p:cNvPr>
                <p:cNvSpPr/>
                <p:nvPr/>
              </p:nvSpPr>
              <p:spPr>
                <a:xfrm>
                  <a:off x="2097770" y="1635157"/>
                  <a:ext cx="26045" cy="129246"/>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83" name="Freeform 109">
                  <a:extLst>
                    <a:ext uri="{FF2B5EF4-FFF2-40B4-BE49-F238E27FC236}">
                      <a16:creationId xmlns:a16="http://schemas.microsoft.com/office/drawing/2014/main" id="{F863CF7E-E9E1-4C75-8554-AF9210DEFAAD}"/>
                    </a:ext>
                  </a:extLst>
                </p:cNvPr>
                <p:cNvSpPr/>
                <p:nvPr/>
              </p:nvSpPr>
              <p:spPr>
                <a:xfrm>
                  <a:off x="2152144"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84" name="Freeform 110">
                  <a:extLst>
                    <a:ext uri="{FF2B5EF4-FFF2-40B4-BE49-F238E27FC236}">
                      <a16:creationId xmlns:a16="http://schemas.microsoft.com/office/drawing/2014/main" id="{B3CCB970-6A2A-44AC-85F0-9332A1421350}"/>
                    </a:ext>
                  </a:extLst>
                </p:cNvPr>
                <p:cNvSpPr/>
                <p:nvPr/>
              </p:nvSpPr>
              <p:spPr>
                <a:xfrm>
                  <a:off x="2174545" y="1637447"/>
                  <a:ext cx="19844" cy="12695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85" name="Freeform 111">
                  <a:extLst>
                    <a:ext uri="{FF2B5EF4-FFF2-40B4-BE49-F238E27FC236}">
                      <a16:creationId xmlns:a16="http://schemas.microsoft.com/office/drawing/2014/main" id="{04275102-4A54-4B0F-BFB6-34398B236204}"/>
                    </a:ext>
                  </a:extLst>
                </p:cNvPr>
                <p:cNvSpPr/>
                <p:nvPr/>
              </p:nvSpPr>
              <p:spPr>
                <a:xfrm>
                  <a:off x="2222728" y="1633249"/>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86" name="Freeform 112">
                  <a:extLst>
                    <a:ext uri="{FF2B5EF4-FFF2-40B4-BE49-F238E27FC236}">
                      <a16:creationId xmlns:a16="http://schemas.microsoft.com/office/drawing/2014/main" id="{CBE9F621-362E-49BF-92C5-9F23BE38E5F1}"/>
                    </a:ext>
                  </a:extLst>
                </p:cNvPr>
                <p:cNvSpPr/>
                <p:nvPr/>
              </p:nvSpPr>
              <p:spPr>
                <a:xfrm>
                  <a:off x="2241552" y="1640849"/>
                  <a:ext cx="29766" cy="1235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87" name="Freeform 113">
                  <a:extLst>
                    <a:ext uri="{FF2B5EF4-FFF2-40B4-BE49-F238E27FC236}">
                      <a16:creationId xmlns:a16="http://schemas.microsoft.com/office/drawing/2014/main" id="{6806CAFB-5BE4-4FB6-A7A1-4851FCF1E726}"/>
                    </a:ext>
                  </a:extLst>
                </p:cNvPr>
                <p:cNvSpPr/>
                <p:nvPr/>
              </p:nvSpPr>
              <p:spPr>
                <a:xfrm>
                  <a:off x="2353314" y="1614093"/>
                  <a:ext cx="29766" cy="148401"/>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88" name="Oval 87">
                  <a:extLst>
                    <a:ext uri="{FF2B5EF4-FFF2-40B4-BE49-F238E27FC236}">
                      <a16:creationId xmlns:a16="http://schemas.microsoft.com/office/drawing/2014/main" id="{A25CD07B-FEC2-44DE-94FE-99684D5D7DFD}"/>
                    </a:ext>
                  </a:extLst>
                </p:cNvPr>
                <p:cNvSpPr/>
                <p:nvPr/>
              </p:nvSpPr>
              <p:spPr>
                <a:xfrm>
                  <a:off x="2353314"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89" name="Freeform 115">
                  <a:extLst>
                    <a:ext uri="{FF2B5EF4-FFF2-40B4-BE49-F238E27FC236}">
                      <a16:creationId xmlns:a16="http://schemas.microsoft.com/office/drawing/2014/main" id="{B32ED640-00B9-4E82-BFBC-16D3466048FC}"/>
                    </a:ext>
                  </a:extLst>
                </p:cNvPr>
                <p:cNvSpPr/>
                <p:nvPr/>
              </p:nvSpPr>
              <p:spPr>
                <a:xfrm>
                  <a:off x="2393510" y="1640849"/>
                  <a:ext cx="30117" cy="12355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90" name="Oval 89">
                  <a:extLst>
                    <a:ext uri="{FF2B5EF4-FFF2-40B4-BE49-F238E27FC236}">
                      <a16:creationId xmlns:a16="http://schemas.microsoft.com/office/drawing/2014/main" id="{021B4811-D397-42A1-BBBE-5D51C59507B1}"/>
                    </a:ext>
                  </a:extLst>
                </p:cNvPr>
                <p:cNvSpPr/>
                <p:nvPr/>
              </p:nvSpPr>
              <p:spPr>
                <a:xfrm>
                  <a:off x="2428384"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91" name="Oval 90">
                  <a:extLst>
                    <a:ext uri="{FF2B5EF4-FFF2-40B4-BE49-F238E27FC236}">
                      <a16:creationId xmlns:a16="http://schemas.microsoft.com/office/drawing/2014/main" id="{624B9E3A-7E3C-49D3-83F4-FC3744A9BDE5}"/>
                    </a:ext>
                  </a:extLst>
                </p:cNvPr>
                <p:cNvSpPr/>
                <p:nvPr/>
              </p:nvSpPr>
              <p:spPr>
                <a:xfrm>
                  <a:off x="2283000"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92" name="Oval 91">
                  <a:extLst>
                    <a:ext uri="{FF2B5EF4-FFF2-40B4-BE49-F238E27FC236}">
                      <a16:creationId xmlns:a16="http://schemas.microsoft.com/office/drawing/2014/main" id="{21265799-1B17-4B2E-ACF7-95F9BE3FAF79}"/>
                    </a:ext>
                  </a:extLst>
                </p:cNvPr>
                <p:cNvSpPr/>
                <p:nvPr/>
              </p:nvSpPr>
              <p:spPr>
                <a:xfrm>
                  <a:off x="2501395"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93" name="Oval 92">
                  <a:extLst>
                    <a:ext uri="{FF2B5EF4-FFF2-40B4-BE49-F238E27FC236}">
                      <a16:creationId xmlns:a16="http://schemas.microsoft.com/office/drawing/2014/main" id="{31D50701-AEDE-4C80-B5AC-99D373A67B36}"/>
                    </a:ext>
                  </a:extLst>
                </p:cNvPr>
                <p:cNvSpPr/>
                <p:nvPr/>
              </p:nvSpPr>
              <p:spPr>
                <a:xfrm>
                  <a:off x="2576700"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94" name="Oval 93">
                  <a:extLst>
                    <a:ext uri="{FF2B5EF4-FFF2-40B4-BE49-F238E27FC236}">
                      <a16:creationId xmlns:a16="http://schemas.microsoft.com/office/drawing/2014/main" id="{D28E2D3F-CB5E-4D64-A9D6-9C4FFA911D54}"/>
                    </a:ext>
                  </a:extLst>
                </p:cNvPr>
                <p:cNvSpPr/>
                <p:nvPr/>
              </p:nvSpPr>
              <p:spPr>
                <a:xfrm>
                  <a:off x="2647014"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95" name="Freeform 121">
                  <a:extLst>
                    <a:ext uri="{FF2B5EF4-FFF2-40B4-BE49-F238E27FC236}">
                      <a16:creationId xmlns:a16="http://schemas.microsoft.com/office/drawing/2014/main" id="{76A2EF0B-1C04-4011-9849-C10A3F89BFED}"/>
                    </a:ext>
                  </a:extLst>
                </p:cNvPr>
                <p:cNvSpPr/>
                <p:nvPr/>
              </p:nvSpPr>
              <p:spPr>
                <a:xfrm>
                  <a:off x="2288391" y="1625085"/>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96" name="Freeform 122">
                  <a:extLst>
                    <a:ext uri="{FF2B5EF4-FFF2-40B4-BE49-F238E27FC236}">
                      <a16:creationId xmlns:a16="http://schemas.microsoft.com/office/drawing/2014/main" id="{27A7CB9F-9287-40E4-9414-96CFF523C36F}"/>
                    </a:ext>
                  </a:extLst>
                </p:cNvPr>
                <p:cNvSpPr/>
                <p:nvPr/>
              </p:nvSpPr>
              <p:spPr>
                <a:xfrm>
                  <a:off x="2326449"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97" name="Freeform 123">
                  <a:extLst>
                    <a:ext uri="{FF2B5EF4-FFF2-40B4-BE49-F238E27FC236}">
                      <a16:creationId xmlns:a16="http://schemas.microsoft.com/office/drawing/2014/main" id="{10319BCD-8FD6-4992-85C5-BBC2B53812D6}"/>
                    </a:ext>
                  </a:extLst>
                </p:cNvPr>
                <p:cNvSpPr/>
                <p:nvPr/>
              </p:nvSpPr>
              <p:spPr>
                <a:xfrm>
                  <a:off x="2449309"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98" name="Freeform 124">
                  <a:extLst>
                    <a:ext uri="{FF2B5EF4-FFF2-40B4-BE49-F238E27FC236}">
                      <a16:creationId xmlns:a16="http://schemas.microsoft.com/office/drawing/2014/main" id="{337C7466-C2C1-4AF6-A0EE-4E699EC485C7}"/>
                    </a:ext>
                  </a:extLst>
                </p:cNvPr>
                <p:cNvSpPr/>
                <p:nvPr/>
              </p:nvSpPr>
              <p:spPr>
                <a:xfrm>
                  <a:off x="2468933" y="1637448"/>
                  <a:ext cx="29766" cy="12695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99" name="Freeform 125">
                  <a:extLst>
                    <a:ext uri="{FF2B5EF4-FFF2-40B4-BE49-F238E27FC236}">
                      <a16:creationId xmlns:a16="http://schemas.microsoft.com/office/drawing/2014/main" id="{B1C0ECAC-1302-47A1-A2F8-AD67B7CD8423}"/>
                    </a:ext>
                  </a:extLst>
                </p:cNvPr>
                <p:cNvSpPr/>
                <p:nvPr/>
              </p:nvSpPr>
              <p:spPr>
                <a:xfrm>
                  <a:off x="2521574" y="1635157"/>
                  <a:ext cx="20685" cy="123554"/>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00" name="Freeform 126">
                  <a:extLst>
                    <a:ext uri="{FF2B5EF4-FFF2-40B4-BE49-F238E27FC236}">
                      <a16:creationId xmlns:a16="http://schemas.microsoft.com/office/drawing/2014/main" id="{E8C0F512-85DE-4788-AD7C-98BB2117C4EA}"/>
                    </a:ext>
                  </a:extLst>
                </p:cNvPr>
                <p:cNvSpPr/>
                <p:nvPr/>
              </p:nvSpPr>
              <p:spPr>
                <a:xfrm>
                  <a:off x="2543781" y="1635157"/>
                  <a:ext cx="26045" cy="129246"/>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01" name="Freeform 127">
                  <a:extLst>
                    <a:ext uri="{FF2B5EF4-FFF2-40B4-BE49-F238E27FC236}">
                      <a16:creationId xmlns:a16="http://schemas.microsoft.com/office/drawing/2014/main" id="{2E514CE4-AD3D-4E18-A989-42FCD61340FD}"/>
                    </a:ext>
                  </a:extLst>
                </p:cNvPr>
                <p:cNvSpPr/>
                <p:nvPr/>
              </p:nvSpPr>
              <p:spPr>
                <a:xfrm>
                  <a:off x="2598155"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02" name="Freeform 128">
                  <a:extLst>
                    <a:ext uri="{FF2B5EF4-FFF2-40B4-BE49-F238E27FC236}">
                      <a16:creationId xmlns:a16="http://schemas.microsoft.com/office/drawing/2014/main" id="{67E60CA0-E45A-46FD-B5DE-2366E70FA3CA}"/>
                    </a:ext>
                  </a:extLst>
                </p:cNvPr>
                <p:cNvSpPr/>
                <p:nvPr/>
              </p:nvSpPr>
              <p:spPr>
                <a:xfrm>
                  <a:off x="2620557" y="1637447"/>
                  <a:ext cx="19844" cy="126956"/>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03" name="Freeform 129">
                  <a:extLst>
                    <a:ext uri="{FF2B5EF4-FFF2-40B4-BE49-F238E27FC236}">
                      <a16:creationId xmlns:a16="http://schemas.microsoft.com/office/drawing/2014/main" id="{C7587919-5207-48DB-9A4F-5FC0D4A30199}"/>
                    </a:ext>
                  </a:extLst>
                </p:cNvPr>
                <p:cNvSpPr/>
                <p:nvPr/>
              </p:nvSpPr>
              <p:spPr>
                <a:xfrm>
                  <a:off x="2668740" y="1633249"/>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04" name="Freeform 130">
                  <a:extLst>
                    <a:ext uri="{FF2B5EF4-FFF2-40B4-BE49-F238E27FC236}">
                      <a16:creationId xmlns:a16="http://schemas.microsoft.com/office/drawing/2014/main" id="{47464F05-6595-434B-99D3-1CA2B75537C5}"/>
                    </a:ext>
                  </a:extLst>
                </p:cNvPr>
                <p:cNvSpPr/>
                <p:nvPr/>
              </p:nvSpPr>
              <p:spPr>
                <a:xfrm>
                  <a:off x="2687564" y="1640849"/>
                  <a:ext cx="29766" cy="1235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05" name="Oval 104">
                  <a:extLst>
                    <a:ext uri="{FF2B5EF4-FFF2-40B4-BE49-F238E27FC236}">
                      <a16:creationId xmlns:a16="http://schemas.microsoft.com/office/drawing/2014/main" id="{FA0CF64F-26C1-4AEC-B782-869080388830}"/>
                    </a:ext>
                  </a:extLst>
                </p:cNvPr>
                <p:cNvSpPr/>
                <p:nvPr/>
              </p:nvSpPr>
              <p:spPr>
                <a:xfrm>
                  <a:off x="2719443" y="1563896"/>
                  <a:ext cx="70314" cy="74201"/>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06" name="Freeform 132">
                  <a:extLst>
                    <a:ext uri="{FF2B5EF4-FFF2-40B4-BE49-F238E27FC236}">
                      <a16:creationId xmlns:a16="http://schemas.microsoft.com/office/drawing/2014/main" id="{0FBC8E7E-ED0F-42AC-8C7A-357145D998BF}"/>
                    </a:ext>
                  </a:extLst>
                </p:cNvPr>
                <p:cNvSpPr/>
                <p:nvPr/>
              </p:nvSpPr>
              <p:spPr>
                <a:xfrm>
                  <a:off x="2724835" y="1625085"/>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07" name="Freeform 133">
                  <a:extLst>
                    <a:ext uri="{FF2B5EF4-FFF2-40B4-BE49-F238E27FC236}">
                      <a16:creationId xmlns:a16="http://schemas.microsoft.com/office/drawing/2014/main" id="{E295A7E5-F094-4660-8857-108B88BA522B}"/>
                    </a:ext>
                  </a:extLst>
                </p:cNvPr>
                <p:cNvSpPr/>
                <p:nvPr/>
              </p:nvSpPr>
              <p:spPr>
                <a:xfrm>
                  <a:off x="2762891" y="1635157"/>
                  <a:ext cx="13433" cy="129246"/>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08" name="Freeform 134">
                  <a:extLst>
                    <a:ext uri="{FF2B5EF4-FFF2-40B4-BE49-F238E27FC236}">
                      <a16:creationId xmlns:a16="http://schemas.microsoft.com/office/drawing/2014/main" id="{6F952E80-B233-49B5-90CF-F898413A588C}"/>
                    </a:ext>
                  </a:extLst>
                </p:cNvPr>
                <p:cNvSpPr/>
                <p:nvPr/>
              </p:nvSpPr>
              <p:spPr>
                <a:xfrm flipV="1">
                  <a:off x="1907331" y="1782882"/>
                  <a:ext cx="29766" cy="148401"/>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09" name="Oval 108">
                  <a:extLst>
                    <a:ext uri="{FF2B5EF4-FFF2-40B4-BE49-F238E27FC236}">
                      <a16:creationId xmlns:a16="http://schemas.microsoft.com/office/drawing/2014/main" id="{36F055D8-48FD-48BD-8286-747A569EC1C4}"/>
                    </a:ext>
                  </a:extLst>
                </p:cNvPr>
                <p:cNvSpPr/>
                <p:nvPr/>
              </p:nvSpPr>
              <p:spPr>
                <a:xfrm flipV="1">
                  <a:off x="1907331"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10" name="Freeform 136">
                  <a:extLst>
                    <a:ext uri="{FF2B5EF4-FFF2-40B4-BE49-F238E27FC236}">
                      <a16:creationId xmlns:a16="http://schemas.microsoft.com/office/drawing/2014/main" id="{0E28E2FE-989D-4B43-9786-CB11F81A4A04}"/>
                    </a:ext>
                  </a:extLst>
                </p:cNvPr>
                <p:cNvSpPr/>
                <p:nvPr/>
              </p:nvSpPr>
              <p:spPr>
                <a:xfrm flipV="1">
                  <a:off x="1947528" y="1780974"/>
                  <a:ext cx="30118" cy="123553"/>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11" name="Oval 110">
                  <a:extLst>
                    <a:ext uri="{FF2B5EF4-FFF2-40B4-BE49-F238E27FC236}">
                      <a16:creationId xmlns:a16="http://schemas.microsoft.com/office/drawing/2014/main" id="{7A7F2552-2892-4801-BD88-F22B40C120E2}"/>
                    </a:ext>
                  </a:extLst>
                </p:cNvPr>
                <p:cNvSpPr/>
                <p:nvPr/>
              </p:nvSpPr>
              <p:spPr>
                <a:xfrm flipV="1">
                  <a:off x="1982403"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12" name="Oval 111">
                  <a:extLst>
                    <a:ext uri="{FF2B5EF4-FFF2-40B4-BE49-F238E27FC236}">
                      <a16:creationId xmlns:a16="http://schemas.microsoft.com/office/drawing/2014/main" id="{6D03F896-6675-42F1-AD23-78AAD1123FA3}"/>
                    </a:ext>
                  </a:extLst>
                </p:cNvPr>
                <p:cNvSpPr/>
                <p:nvPr/>
              </p:nvSpPr>
              <p:spPr>
                <a:xfrm flipV="1">
                  <a:off x="1837016"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13" name="Oval 112">
                  <a:extLst>
                    <a:ext uri="{FF2B5EF4-FFF2-40B4-BE49-F238E27FC236}">
                      <a16:creationId xmlns:a16="http://schemas.microsoft.com/office/drawing/2014/main" id="{166B12A7-23B1-4562-B377-16B6B1BDFB87}"/>
                    </a:ext>
                  </a:extLst>
                </p:cNvPr>
                <p:cNvSpPr/>
                <p:nvPr/>
              </p:nvSpPr>
              <p:spPr>
                <a:xfrm flipV="1">
                  <a:off x="2055415"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14" name="Oval 113">
                  <a:extLst>
                    <a:ext uri="{FF2B5EF4-FFF2-40B4-BE49-F238E27FC236}">
                      <a16:creationId xmlns:a16="http://schemas.microsoft.com/office/drawing/2014/main" id="{071DA561-84A6-483C-AC38-F4DE1272D776}"/>
                    </a:ext>
                  </a:extLst>
                </p:cNvPr>
                <p:cNvSpPr/>
                <p:nvPr/>
              </p:nvSpPr>
              <p:spPr>
                <a:xfrm flipV="1">
                  <a:off x="2130720"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15" name="Oval 114">
                  <a:extLst>
                    <a:ext uri="{FF2B5EF4-FFF2-40B4-BE49-F238E27FC236}">
                      <a16:creationId xmlns:a16="http://schemas.microsoft.com/office/drawing/2014/main" id="{F42D5539-00D7-49C4-81C2-ED657B55EA5A}"/>
                    </a:ext>
                  </a:extLst>
                </p:cNvPr>
                <p:cNvSpPr/>
                <p:nvPr/>
              </p:nvSpPr>
              <p:spPr>
                <a:xfrm flipV="1">
                  <a:off x="2201035"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16" name="Freeform 142">
                  <a:extLst>
                    <a:ext uri="{FF2B5EF4-FFF2-40B4-BE49-F238E27FC236}">
                      <a16:creationId xmlns:a16="http://schemas.microsoft.com/office/drawing/2014/main" id="{5800BB41-E056-4540-BE10-0AE884E194B9}"/>
                    </a:ext>
                  </a:extLst>
                </p:cNvPr>
                <p:cNvSpPr/>
                <p:nvPr/>
              </p:nvSpPr>
              <p:spPr>
                <a:xfrm flipV="1">
                  <a:off x="1842407" y="1782883"/>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17" name="Freeform 143">
                  <a:extLst>
                    <a:ext uri="{FF2B5EF4-FFF2-40B4-BE49-F238E27FC236}">
                      <a16:creationId xmlns:a16="http://schemas.microsoft.com/office/drawing/2014/main" id="{DB89AB88-4758-4BAA-A7A4-7151413282B7}"/>
                    </a:ext>
                  </a:extLst>
                </p:cNvPr>
                <p:cNvSpPr/>
                <p:nvPr/>
              </p:nvSpPr>
              <p:spPr>
                <a:xfrm flipV="1">
                  <a:off x="1880465"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18" name="Freeform 144">
                  <a:extLst>
                    <a:ext uri="{FF2B5EF4-FFF2-40B4-BE49-F238E27FC236}">
                      <a16:creationId xmlns:a16="http://schemas.microsoft.com/office/drawing/2014/main" id="{424A1580-0562-48D0-85B8-902D5341C685}"/>
                    </a:ext>
                  </a:extLst>
                </p:cNvPr>
                <p:cNvSpPr/>
                <p:nvPr/>
              </p:nvSpPr>
              <p:spPr>
                <a:xfrm flipV="1">
                  <a:off x="2003329"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19" name="Freeform 145">
                  <a:extLst>
                    <a:ext uri="{FF2B5EF4-FFF2-40B4-BE49-F238E27FC236}">
                      <a16:creationId xmlns:a16="http://schemas.microsoft.com/office/drawing/2014/main" id="{6A16C82F-996E-4896-82A3-51777B68B9F5}"/>
                    </a:ext>
                  </a:extLst>
                </p:cNvPr>
                <p:cNvSpPr/>
                <p:nvPr/>
              </p:nvSpPr>
              <p:spPr>
                <a:xfrm flipV="1">
                  <a:off x="2022951" y="1780973"/>
                  <a:ext cx="29766" cy="1269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20" name="Freeform 146">
                  <a:extLst>
                    <a:ext uri="{FF2B5EF4-FFF2-40B4-BE49-F238E27FC236}">
                      <a16:creationId xmlns:a16="http://schemas.microsoft.com/office/drawing/2014/main" id="{F9CC8267-CCDE-4DCF-92B8-56555176A808}"/>
                    </a:ext>
                  </a:extLst>
                </p:cNvPr>
                <p:cNvSpPr/>
                <p:nvPr/>
              </p:nvSpPr>
              <p:spPr>
                <a:xfrm flipV="1">
                  <a:off x="2075593" y="1786666"/>
                  <a:ext cx="20685" cy="123553"/>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21" name="Freeform 147">
                  <a:extLst>
                    <a:ext uri="{FF2B5EF4-FFF2-40B4-BE49-F238E27FC236}">
                      <a16:creationId xmlns:a16="http://schemas.microsoft.com/office/drawing/2014/main" id="{72CC6720-2053-47A3-8D8D-1FA46427EAE3}"/>
                    </a:ext>
                  </a:extLst>
                </p:cNvPr>
                <p:cNvSpPr/>
                <p:nvPr/>
              </p:nvSpPr>
              <p:spPr>
                <a:xfrm flipV="1">
                  <a:off x="2097800" y="1780974"/>
                  <a:ext cx="26046" cy="129245"/>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22" name="Freeform 148">
                  <a:extLst>
                    <a:ext uri="{FF2B5EF4-FFF2-40B4-BE49-F238E27FC236}">
                      <a16:creationId xmlns:a16="http://schemas.microsoft.com/office/drawing/2014/main" id="{CCCBCF2A-9FC3-4C1E-B3C5-E9616CAF139C}"/>
                    </a:ext>
                  </a:extLst>
                </p:cNvPr>
                <p:cNvSpPr/>
                <p:nvPr/>
              </p:nvSpPr>
              <p:spPr>
                <a:xfrm flipV="1">
                  <a:off x="2152175"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23" name="Freeform 149">
                  <a:extLst>
                    <a:ext uri="{FF2B5EF4-FFF2-40B4-BE49-F238E27FC236}">
                      <a16:creationId xmlns:a16="http://schemas.microsoft.com/office/drawing/2014/main" id="{E4BB0B57-E389-46DE-A8D4-520F19179ED9}"/>
                    </a:ext>
                  </a:extLst>
                </p:cNvPr>
                <p:cNvSpPr/>
                <p:nvPr/>
              </p:nvSpPr>
              <p:spPr>
                <a:xfrm flipV="1">
                  <a:off x="2174577" y="1780974"/>
                  <a:ext cx="19844" cy="1269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24" name="Freeform 150">
                  <a:extLst>
                    <a:ext uri="{FF2B5EF4-FFF2-40B4-BE49-F238E27FC236}">
                      <a16:creationId xmlns:a16="http://schemas.microsoft.com/office/drawing/2014/main" id="{43D57C3D-B5D4-4E01-B280-52D1853A2461}"/>
                    </a:ext>
                  </a:extLst>
                </p:cNvPr>
                <p:cNvSpPr/>
                <p:nvPr/>
              </p:nvSpPr>
              <p:spPr>
                <a:xfrm flipV="1">
                  <a:off x="2222760" y="1782882"/>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25" name="Freeform 151">
                  <a:extLst>
                    <a:ext uri="{FF2B5EF4-FFF2-40B4-BE49-F238E27FC236}">
                      <a16:creationId xmlns:a16="http://schemas.microsoft.com/office/drawing/2014/main" id="{A7C184F5-FC80-4380-8D17-CB939803F05A}"/>
                    </a:ext>
                  </a:extLst>
                </p:cNvPr>
                <p:cNvSpPr/>
                <p:nvPr/>
              </p:nvSpPr>
              <p:spPr>
                <a:xfrm flipV="1">
                  <a:off x="2241584" y="1780973"/>
                  <a:ext cx="29766" cy="123554"/>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26" name="Freeform 152">
                  <a:extLst>
                    <a:ext uri="{FF2B5EF4-FFF2-40B4-BE49-F238E27FC236}">
                      <a16:creationId xmlns:a16="http://schemas.microsoft.com/office/drawing/2014/main" id="{2FD58D7D-374E-4339-B2BF-74E5513C760C}"/>
                    </a:ext>
                  </a:extLst>
                </p:cNvPr>
                <p:cNvSpPr/>
                <p:nvPr/>
              </p:nvSpPr>
              <p:spPr>
                <a:xfrm flipV="1">
                  <a:off x="2353347" y="1782882"/>
                  <a:ext cx="29766" cy="148401"/>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8100" h="285750">
                      <a:moveTo>
                        <a:pt x="14287" y="0"/>
                      </a:moveTo>
                      <a:cubicBezTo>
                        <a:pt x="15875" y="12700"/>
                        <a:pt x="17583" y="25386"/>
                        <a:pt x="19050" y="38100"/>
                      </a:cubicBezTo>
                      <a:cubicBezTo>
                        <a:pt x="22346" y="66661"/>
                        <a:pt x="17897" y="97130"/>
                        <a:pt x="28575" y="123825"/>
                      </a:cubicBezTo>
                      <a:lnTo>
                        <a:pt x="38100" y="147638"/>
                      </a:lnTo>
                      <a:cubicBezTo>
                        <a:pt x="34925" y="161925"/>
                        <a:pt x="34204" y="176990"/>
                        <a:pt x="28575" y="190500"/>
                      </a:cubicBezTo>
                      <a:cubicBezTo>
                        <a:pt x="25984" y="196717"/>
                        <a:pt x="17857" y="199076"/>
                        <a:pt x="14287" y="204788"/>
                      </a:cubicBezTo>
                      <a:cubicBezTo>
                        <a:pt x="6814" y="216745"/>
                        <a:pt x="3403" y="234036"/>
                        <a:pt x="0" y="247650"/>
                      </a:cubicBezTo>
                      <a:lnTo>
                        <a:pt x="4762"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27" name="Oval 126">
                  <a:extLst>
                    <a:ext uri="{FF2B5EF4-FFF2-40B4-BE49-F238E27FC236}">
                      <a16:creationId xmlns:a16="http://schemas.microsoft.com/office/drawing/2014/main" id="{E45A6B62-DB16-4260-B24E-095596B78985}"/>
                    </a:ext>
                  </a:extLst>
                </p:cNvPr>
                <p:cNvSpPr/>
                <p:nvPr/>
              </p:nvSpPr>
              <p:spPr>
                <a:xfrm flipV="1">
                  <a:off x="2353347"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28" name="Freeform 154">
                  <a:extLst>
                    <a:ext uri="{FF2B5EF4-FFF2-40B4-BE49-F238E27FC236}">
                      <a16:creationId xmlns:a16="http://schemas.microsoft.com/office/drawing/2014/main" id="{4694256D-8C9A-4848-A333-14294A75BA5B}"/>
                    </a:ext>
                  </a:extLst>
                </p:cNvPr>
                <p:cNvSpPr/>
                <p:nvPr/>
              </p:nvSpPr>
              <p:spPr>
                <a:xfrm flipV="1">
                  <a:off x="2393544" y="1780974"/>
                  <a:ext cx="30118" cy="123553"/>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92517" h="304800">
                      <a:moveTo>
                        <a:pt x="15161" y="0"/>
                      </a:moveTo>
                      <a:cubicBezTo>
                        <a:pt x="40561" y="33338"/>
                        <a:pt x="73179" y="62251"/>
                        <a:pt x="91361" y="100013"/>
                      </a:cubicBezTo>
                      <a:cubicBezTo>
                        <a:pt x="95981" y="109608"/>
                        <a:pt x="85849" y="122555"/>
                        <a:pt x="77074" y="128588"/>
                      </a:cubicBezTo>
                      <a:cubicBezTo>
                        <a:pt x="58853" y="141115"/>
                        <a:pt x="35799" y="144463"/>
                        <a:pt x="15161" y="152400"/>
                      </a:cubicBezTo>
                      <a:cubicBezTo>
                        <a:pt x="10399" y="163513"/>
                        <a:pt x="-3616" y="174513"/>
                        <a:pt x="874" y="185738"/>
                      </a:cubicBezTo>
                      <a:cubicBezTo>
                        <a:pt x="7107" y="201320"/>
                        <a:pt x="54890" y="231274"/>
                        <a:pt x="72311" y="242888"/>
                      </a:cubicBezTo>
                      <a:cubicBezTo>
                        <a:pt x="45393" y="258270"/>
                        <a:pt x="34862" y="258863"/>
                        <a:pt x="19924" y="285750"/>
                      </a:cubicBezTo>
                      <a:cubicBezTo>
                        <a:pt x="16745" y="291472"/>
                        <a:pt x="15161" y="304800"/>
                        <a:pt x="1516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29" name="Oval 128">
                  <a:extLst>
                    <a:ext uri="{FF2B5EF4-FFF2-40B4-BE49-F238E27FC236}">
                      <a16:creationId xmlns:a16="http://schemas.microsoft.com/office/drawing/2014/main" id="{DB9BA9BD-33A9-4C30-ADE8-D4A14F951BC1}"/>
                    </a:ext>
                  </a:extLst>
                </p:cNvPr>
                <p:cNvSpPr/>
                <p:nvPr/>
              </p:nvSpPr>
              <p:spPr>
                <a:xfrm flipV="1">
                  <a:off x="2428419"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30" name="Oval 129">
                  <a:extLst>
                    <a:ext uri="{FF2B5EF4-FFF2-40B4-BE49-F238E27FC236}">
                      <a16:creationId xmlns:a16="http://schemas.microsoft.com/office/drawing/2014/main" id="{7CE6F8C2-55DF-4DA7-822F-E67A337F437B}"/>
                    </a:ext>
                  </a:extLst>
                </p:cNvPr>
                <p:cNvSpPr/>
                <p:nvPr/>
              </p:nvSpPr>
              <p:spPr>
                <a:xfrm flipV="1">
                  <a:off x="2283032"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31" name="Oval 130">
                  <a:extLst>
                    <a:ext uri="{FF2B5EF4-FFF2-40B4-BE49-F238E27FC236}">
                      <a16:creationId xmlns:a16="http://schemas.microsoft.com/office/drawing/2014/main" id="{80DD7BCA-584B-49AD-A180-779AE0933147}"/>
                    </a:ext>
                  </a:extLst>
                </p:cNvPr>
                <p:cNvSpPr/>
                <p:nvPr/>
              </p:nvSpPr>
              <p:spPr>
                <a:xfrm flipV="1">
                  <a:off x="2501431"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32" name="Oval 131">
                  <a:extLst>
                    <a:ext uri="{FF2B5EF4-FFF2-40B4-BE49-F238E27FC236}">
                      <a16:creationId xmlns:a16="http://schemas.microsoft.com/office/drawing/2014/main" id="{7B1E2060-7C8E-48CD-B547-22167DEDDF39}"/>
                    </a:ext>
                  </a:extLst>
                </p:cNvPr>
                <p:cNvSpPr/>
                <p:nvPr/>
              </p:nvSpPr>
              <p:spPr>
                <a:xfrm flipV="1">
                  <a:off x="2576736"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33" name="Oval 132">
                  <a:extLst>
                    <a:ext uri="{FF2B5EF4-FFF2-40B4-BE49-F238E27FC236}">
                      <a16:creationId xmlns:a16="http://schemas.microsoft.com/office/drawing/2014/main" id="{0466B54E-E527-45F7-B49D-19D418F0A2C2}"/>
                    </a:ext>
                  </a:extLst>
                </p:cNvPr>
                <p:cNvSpPr/>
                <p:nvPr/>
              </p:nvSpPr>
              <p:spPr>
                <a:xfrm flipV="1">
                  <a:off x="2647051"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34" name="Freeform 160">
                  <a:extLst>
                    <a:ext uri="{FF2B5EF4-FFF2-40B4-BE49-F238E27FC236}">
                      <a16:creationId xmlns:a16="http://schemas.microsoft.com/office/drawing/2014/main" id="{7FFDF2B5-C6BF-4F56-81DF-DE2B7B9FCBE9}"/>
                    </a:ext>
                  </a:extLst>
                </p:cNvPr>
                <p:cNvSpPr/>
                <p:nvPr/>
              </p:nvSpPr>
              <p:spPr>
                <a:xfrm flipV="1">
                  <a:off x="2288423" y="1782883"/>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35" name="Freeform 161">
                  <a:extLst>
                    <a:ext uri="{FF2B5EF4-FFF2-40B4-BE49-F238E27FC236}">
                      <a16:creationId xmlns:a16="http://schemas.microsoft.com/office/drawing/2014/main" id="{888D9355-7601-46DC-9E2F-9DA95F236E7F}"/>
                    </a:ext>
                  </a:extLst>
                </p:cNvPr>
                <p:cNvSpPr/>
                <p:nvPr/>
              </p:nvSpPr>
              <p:spPr>
                <a:xfrm flipV="1">
                  <a:off x="2326481"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36" name="Freeform 162">
                  <a:extLst>
                    <a:ext uri="{FF2B5EF4-FFF2-40B4-BE49-F238E27FC236}">
                      <a16:creationId xmlns:a16="http://schemas.microsoft.com/office/drawing/2014/main" id="{DFC99884-4AC8-42D4-9174-73D2FB836524}"/>
                    </a:ext>
                  </a:extLst>
                </p:cNvPr>
                <p:cNvSpPr/>
                <p:nvPr/>
              </p:nvSpPr>
              <p:spPr>
                <a:xfrm flipV="1">
                  <a:off x="2449345"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37" name="Freeform 163">
                  <a:extLst>
                    <a:ext uri="{FF2B5EF4-FFF2-40B4-BE49-F238E27FC236}">
                      <a16:creationId xmlns:a16="http://schemas.microsoft.com/office/drawing/2014/main" id="{781132B8-B344-4FC5-B99B-9C98A2522767}"/>
                    </a:ext>
                  </a:extLst>
                </p:cNvPr>
                <p:cNvSpPr/>
                <p:nvPr/>
              </p:nvSpPr>
              <p:spPr>
                <a:xfrm flipV="1">
                  <a:off x="2468967" y="1780973"/>
                  <a:ext cx="29766" cy="1269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38" name="Freeform 164">
                  <a:extLst>
                    <a:ext uri="{FF2B5EF4-FFF2-40B4-BE49-F238E27FC236}">
                      <a16:creationId xmlns:a16="http://schemas.microsoft.com/office/drawing/2014/main" id="{09E35AAD-E6BF-4EDE-88DE-8ECBCAB04C44}"/>
                    </a:ext>
                  </a:extLst>
                </p:cNvPr>
                <p:cNvSpPr/>
                <p:nvPr/>
              </p:nvSpPr>
              <p:spPr>
                <a:xfrm flipV="1">
                  <a:off x="2521609" y="1786666"/>
                  <a:ext cx="20685" cy="123553"/>
                </a:xfrm>
                <a:custGeom>
                  <a:avLst/>
                  <a:gdLst>
                    <a:gd name="connsiteX0" fmla="*/ 15161 w 92517"/>
                    <a:gd name="connsiteY0" fmla="*/ 0 h 304800"/>
                    <a:gd name="connsiteX1" fmla="*/ 91361 w 92517"/>
                    <a:gd name="connsiteY1" fmla="*/ 100013 h 304800"/>
                    <a:gd name="connsiteX2" fmla="*/ 77074 w 92517"/>
                    <a:gd name="connsiteY2" fmla="*/ 128588 h 304800"/>
                    <a:gd name="connsiteX3" fmla="*/ 15161 w 92517"/>
                    <a:gd name="connsiteY3" fmla="*/ 152400 h 304800"/>
                    <a:gd name="connsiteX4" fmla="*/ 874 w 92517"/>
                    <a:gd name="connsiteY4" fmla="*/ 185738 h 304800"/>
                    <a:gd name="connsiteX5" fmla="*/ 72311 w 92517"/>
                    <a:gd name="connsiteY5" fmla="*/ 242888 h 304800"/>
                    <a:gd name="connsiteX6" fmla="*/ 19924 w 92517"/>
                    <a:gd name="connsiteY6" fmla="*/ 285750 h 304800"/>
                    <a:gd name="connsiteX7" fmla="*/ 15161 w 92517"/>
                    <a:gd name="connsiteY7" fmla="*/ 304800 h 304800"/>
                    <a:gd name="connsiteX0" fmla="*/ 181 w 91147"/>
                    <a:gd name="connsiteY0" fmla="*/ 0 h 304800"/>
                    <a:gd name="connsiteX1" fmla="*/ 76381 w 91147"/>
                    <a:gd name="connsiteY1" fmla="*/ 100013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181 w 91147"/>
                    <a:gd name="connsiteY0" fmla="*/ 0 h 304800"/>
                    <a:gd name="connsiteX1" fmla="*/ 38282 w 91147"/>
                    <a:gd name="connsiteY1" fmla="*/ 67725 h 304800"/>
                    <a:gd name="connsiteX2" fmla="*/ 62094 w 91147"/>
                    <a:gd name="connsiteY2" fmla="*/ 128588 h 304800"/>
                    <a:gd name="connsiteX3" fmla="*/ 181 w 91147"/>
                    <a:gd name="connsiteY3" fmla="*/ 152400 h 304800"/>
                    <a:gd name="connsiteX4" fmla="*/ 90669 w 91147"/>
                    <a:gd name="connsiteY4" fmla="*/ 205918 h 304800"/>
                    <a:gd name="connsiteX5" fmla="*/ 57331 w 91147"/>
                    <a:gd name="connsiteY5" fmla="*/ 242888 h 304800"/>
                    <a:gd name="connsiteX6" fmla="*/ 4944 w 91147"/>
                    <a:gd name="connsiteY6" fmla="*/ 285750 h 304800"/>
                    <a:gd name="connsiteX7" fmla="*/ 181 w 91147"/>
                    <a:gd name="connsiteY7" fmla="*/ 304800 h 304800"/>
                    <a:gd name="connsiteX0" fmla="*/ 621 w 63541"/>
                    <a:gd name="connsiteY0" fmla="*/ 0 h 304800"/>
                    <a:gd name="connsiteX1" fmla="*/ 38722 w 63541"/>
                    <a:gd name="connsiteY1" fmla="*/ 67725 h 304800"/>
                    <a:gd name="connsiteX2" fmla="*/ 62534 w 63541"/>
                    <a:gd name="connsiteY2" fmla="*/ 128588 h 304800"/>
                    <a:gd name="connsiteX3" fmla="*/ 621 w 63541"/>
                    <a:gd name="connsiteY3" fmla="*/ 152400 h 304800"/>
                    <a:gd name="connsiteX4" fmla="*/ 24436 w 63541"/>
                    <a:gd name="connsiteY4" fmla="*/ 222062 h 304800"/>
                    <a:gd name="connsiteX5" fmla="*/ 57771 w 63541"/>
                    <a:gd name="connsiteY5" fmla="*/ 242888 h 304800"/>
                    <a:gd name="connsiteX6" fmla="*/ 5384 w 63541"/>
                    <a:gd name="connsiteY6" fmla="*/ 285750 h 304800"/>
                    <a:gd name="connsiteX7" fmla="*/ 621 w 63541"/>
                    <a:gd name="connsiteY7" fmla="*/ 304800 h 304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3541" h="304800">
                      <a:moveTo>
                        <a:pt x="621" y="0"/>
                      </a:moveTo>
                      <a:cubicBezTo>
                        <a:pt x="26021" y="33338"/>
                        <a:pt x="20540" y="29963"/>
                        <a:pt x="38722" y="67725"/>
                      </a:cubicBezTo>
                      <a:cubicBezTo>
                        <a:pt x="43342" y="77320"/>
                        <a:pt x="68884" y="114476"/>
                        <a:pt x="62534" y="128588"/>
                      </a:cubicBezTo>
                      <a:cubicBezTo>
                        <a:pt x="56184" y="142701"/>
                        <a:pt x="21259" y="144463"/>
                        <a:pt x="621" y="152400"/>
                      </a:cubicBezTo>
                      <a:cubicBezTo>
                        <a:pt x="-4141" y="163513"/>
                        <a:pt x="19946" y="210837"/>
                        <a:pt x="24436" y="222062"/>
                      </a:cubicBezTo>
                      <a:cubicBezTo>
                        <a:pt x="30669" y="237644"/>
                        <a:pt x="40350" y="231274"/>
                        <a:pt x="57771" y="242888"/>
                      </a:cubicBezTo>
                      <a:cubicBezTo>
                        <a:pt x="30853" y="258270"/>
                        <a:pt x="20322" y="258863"/>
                        <a:pt x="5384" y="285750"/>
                      </a:cubicBezTo>
                      <a:cubicBezTo>
                        <a:pt x="2205" y="291472"/>
                        <a:pt x="621" y="304800"/>
                        <a:pt x="621" y="304800"/>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39" name="Freeform 165">
                  <a:extLst>
                    <a:ext uri="{FF2B5EF4-FFF2-40B4-BE49-F238E27FC236}">
                      <a16:creationId xmlns:a16="http://schemas.microsoft.com/office/drawing/2014/main" id="{5924526E-5B1B-4606-AB2B-CAD3CE89EF1B}"/>
                    </a:ext>
                  </a:extLst>
                </p:cNvPr>
                <p:cNvSpPr/>
                <p:nvPr/>
              </p:nvSpPr>
              <p:spPr>
                <a:xfrm flipV="1">
                  <a:off x="2543816" y="1780974"/>
                  <a:ext cx="26046" cy="129245"/>
                </a:xfrm>
                <a:custGeom>
                  <a:avLst/>
                  <a:gdLst>
                    <a:gd name="connsiteX0" fmla="*/ 14287 w 38100"/>
                    <a:gd name="connsiteY0" fmla="*/ 0 h 285750"/>
                    <a:gd name="connsiteX1" fmla="*/ 19050 w 38100"/>
                    <a:gd name="connsiteY1" fmla="*/ 38100 h 285750"/>
                    <a:gd name="connsiteX2" fmla="*/ 28575 w 38100"/>
                    <a:gd name="connsiteY2" fmla="*/ 123825 h 285750"/>
                    <a:gd name="connsiteX3" fmla="*/ 38100 w 38100"/>
                    <a:gd name="connsiteY3" fmla="*/ 147638 h 285750"/>
                    <a:gd name="connsiteX4" fmla="*/ 28575 w 38100"/>
                    <a:gd name="connsiteY4" fmla="*/ 190500 h 285750"/>
                    <a:gd name="connsiteX5" fmla="*/ 14287 w 38100"/>
                    <a:gd name="connsiteY5" fmla="*/ 204788 h 285750"/>
                    <a:gd name="connsiteX6" fmla="*/ 0 w 38100"/>
                    <a:gd name="connsiteY6" fmla="*/ 247650 h 285750"/>
                    <a:gd name="connsiteX7" fmla="*/ 4762 w 38100"/>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9525 w 33338"/>
                    <a:gd name="connsiteY5" fmla="*/ 204788 h 285750"/>
                    <a:gd name="connsiteX6" fmla="*/ 25004 w 33338"/>
                    <a:gd name="connsiteY6" fmla="*/ 262118 h 285750"/>
                    <a:gd name="connsiteX7" fmla="*/ 0 w 33338"/>
                    <a:gd name="connsiteY7" fmla="*/ 285750 h 285750"/>
                    <a:gd name="connsiteX0" fmla="*/ 9525 w 33338"/>
                    <a:gd name="connsiteY0" fmla="*/ 0 h 285750"/>
                    <a:gd name="connsiteX1" fmla="*/ 14288 w 33338"/>
                    <a:gd name="connsiteY1" fmla="*/ 38100 h 285750"/>
                    <a:gd name="connsiteX2" fmla="*/ 23813 w 33338"/>
                    <a:gd name="connsiteY2" fmla="*/ 123825 h 285750"/>
                    <a:gd name="connsiteX3" fmla="*/ 33338 w 33338"/>
                    <a:gd name="connsiteY3" fmla="*/ 147638 h 285750"/>
                    <a:gd name="connsiteX4" fmla="*/ 23813 w 33338"/>
                    <a:gd name="connsiteY4" fmla="*/ 190500 h 285750"/>
                    <a:gd name="connsiteX5" fmla="*/ 25400 w 33338"/>
                    <a:gd name="connsiteY5" fmla="*/ 204788 h 285750"/>
                    <a:gd name="connsiteX6" fmla="*/ 25004 w 33338"/>
                    <a:gd name="connsiteY6" fmla="*/ 262118 h 285750"/>
                    <a:gd name="connsiteX7" fmla="*/ 0 w 33338"/>
                    <a:gd name="connsiteY7" fmla="*/ 285750 h 2857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3338" h="285750">
                      <a:moveTo>
                        <a:pt x="9525" y="0"/>
                      </a:moveTo>
                      <a:cubicBezTo>
                        <a:pt x="11113" y="12700"/>
                        <a:pt x="12821" y="25386"/>
                        <a:pt x="14288" y="38100"/>
                      </a:cubicBezTo>
                      <a:cubicBezTo>
                        <a:pt x="17584" y="66661"/>
                        <a:pt x="13135" y="97130"/>
                        <a:pt x="23813" y="123825"/>
                      </a:cubicBezTo>
                      <a:lnTo>
                        <a:pt x="33338" y="147638"/>
                      </a:lnTo>
                      <a:cubicBezTo>
                        <a:pt x="30163" y="161925"/>
                        <a:pt x="25136" y="180975"/>
                        <a:pt x="23813" y="190500"/>
                      </a:cubicBezTo>
                      <a:cubicBezTo>
                        <a:pt x="22490" y="200025"/>
                        <a:pt x="25202" y="192852"/>
                        <a:pt x="25400" y="204788"/>
                      </a:cubicBezTo>
                      <a:cubicBezTo>
                        <a:pt x="25599" y="216724"/>
                        <a:pt x="28407" y="248504"/>
                        <a:pt x="25004" y="262118"/>
                      </a:cubicBezTo>
                      <a:lnTo>
                        <a:pt x="0" y="285750"/>
                      </a:ln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40" name="Freeform 166">
                  <a:extLst>
                    <a:ext uri="{FF2B5EF4-FFF2-40B4-BE49-F238E27FC236}">
                      <a16:creationId xmlns:a16="http://schemas.microsoft.com/office/drawing/2014/main" id="{C363A9E5-ABD3-49AD-8C9E-1865A92719F1}"/>
                    </a:ext>
                  </a:extLst>
                </p:cNvPr>
                <p:cNvSpPr/>
                <p:nvPr/>
              </p:nvSpPr>
              <p:spPr>
                <a:xfrm flipV="1">
                  <a:off x="2598191"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41" name="Freeform 167">
                  <a:extLst>
                    <a:ext uri="{FF2B5EF4-FFF2-40B4-BE49-F238E27FC236}">
                      <a16:creationId xmlns:a16="http://schemas.microsoft.com/office/drawing/2014/main" id="{22C7D3C4-AC24-44E3-9F2E-BBED9B22A081}"/>
                    </a:ext>
                  </a:extLst>
                </p:cNvPr>
                <p:cNvSpPr/>
                <p:nvPr/>
              </p:nvSpPr>
              <p:spPr>
                <a:xfrm flipV="1">
                  <a:off x="2620593" y="1780974"/>
                  <a:ext cx="19844" cy="126955"/>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 name="connsiteX0" fmla="*/ 4 w 19054"/>
                    <a:gd name="connsiteY0" fmla="*/ 0 h 159544"/>
                    <a:gd name="connsiteX1" fmla="*/ 11911 w 19054"/>
                    <a:gd name="connsiteY1" fmla="*/ 19050 h 159544"/>
                    <a:gd name="connsiteX2" fmla="*/ 4 w 19054"/>
                    <a:gd name="connsiteY2" fmla="*/ 47625 h 159544"/>
                    <a:gd name="connsiteX3" fmla="*/ 13250 w 19054"/>
                    <a:gd name="connsiteY3" fmla="*/ 66023 h 159544"/>
                    <a:gd name="connsiteX4" fmla="*/ 2386 w 19054"/>
                    <a:gd name="connsiteY4" fmla="*/ 73819 h 159544"/>
                    <a:gd name="connsiteX5" fmla="*/ 14292 w 19054"/>
                    <a:gd name="connsiteY5" fmla="*/ 90487 h 159544"/>
                    <a:gd name="connsiteX6" fmla="*/ 19054 w 19054"/>
                    <a:gd name="connsiteY6" fmla="*/ 111919 h 159544"/>
                    <a:gd name="connsiteX7" fmla="*/ 7148 w 19054"/>
                    <a:gd name="connsiteY7" fmla="*/ 150019 h 159544"/>
                    <a:gd name="connsiteX8" fmla="*/ 4767 w 19054"/>
                    <a:gd name="connsiteY8" fmla="*/ 159544 h 159544"/>
                    <a:gd name="connsiteX0" fmla="*/ 0 w 19050"/>
                    <a:gd name="connsiteY0" fmla="*/ 0 h 159544"/>
                    <a:gd name="connsiteX1" fmla="*/ 11907 w 19050"/>
                    <a:gd name="connsiteY1" fmla="*/ 19050 h 159544"/>
                    <a:gd name="connsiteX2" fmla="*/ 12279 w 19050"/>
                    <a:gd name="connsiteY2" fmla="*/ 43513 h 159544"/>
                    <a:gd name="connsiteX3" fmla="*/ 13246 w 19050"/>
                    <a:gd name="connsiteY3" fmla="*/ 66023 h 159544"/>
                    <a:gd name="connsiteX4" fmla="*/ 2382 w 19050"/>
                    <a:gd name="connsiteY4" fmla="*/ 73819 h 159544"/>
                    <a:gd name="connsiteX5" fmla="*/ 14288 w 19050"/>
                    <a:gd name="connsiteY5" fmla="*/ 90487 h 159544"/>
                    <a:gd name="connsiteX6" fmla="*/ 19050 w 19050"/>
                    <a:gd name="connsiteY6" fmla="*/ 111919 h 159544"/>
                    <a:gd name="connsiteX7" fmla="*/ 7144 w 19050"/>
                    <a:gd name="connsiteY7" fmla="*/ 150019 h 159544"/>
                    <a:gd name="connsiteX8" fmla="*/ 4763 w 19050"/>
                    <a:gd name="connsiteY8" fmla="*/ 159544 h 159544"/>
                    <a:gd name="connsiteX0" fmla="*/ 0 w 14326"/>
                    <a:gd name="connsiteY0" fmla="*/ 0 h 159544"/>
                    <a:gd name="connsiteX1" fmla="*/ 11907 w 14326"/>
                    <a:gd name="connsiteY1" fmla="*/ 19050 h 159544"/>
                    <a:gd name="connsiteX2" fmla="*/ 12279 w 14326"/>
                    <a:gd name="connsiteY2" fmla="*/ 43513 h 159544"/>
                    <a:gd name="connsiteX3" fmla="*/ 13246 w 14326"/>
                    <a:gd name="connsiteY3" fmla="*/ 66023 h 159544"/>
                    <a:gd name="connsiteX4" fmla="*/ 2382 w 14326"/>
                    <a:gd name="connsiteY4" fmla="*/ 73819 h 159544"/>
                    <a:gd name="connsiteX5" fmla="*/ 14288 w 14326"/>
                    <a:gd name="connsiteY5" fmla="*/ 90487 h 159544"/>
                    <a:gd name="connsiteX6" fmla="*/ 6772 w 14326"/>
                    <a:gd name="connsiteY6" fmla="*/ 111919 h 159544"/>
                    <a:gd name="connsiteX7" fmla="*/ 7144 w 14326"/>
                    <a:gd name="connsiteY7" fmla="*/ 150019 h 159544"/>
                    <a:gd name="connsiteX8" fmla="*/ 4763 w 14326"/>
                    <a:gd name="connsiteY8" fmla="*/ 159544 h 159544"/>
                    <a:gd name="connsiteX0" fmla="*/ 0 w 14288"/>
                    <a:gd name="connsiteY0" fmla="*/ 0 h 159544"/>
                    <a:gd name="connsiteX1" fmla="*/ 11907 w 14288"/>
                    <a:gd name="connsiteY1" fmla="*/ 19050 h 159544"/>
                    <a:gd name="connsiteX2" fmla="*/ 12279 w 14288"/>
                    <a:gd name="connsiteY2" fmla="*/ 43513 h 159544"/>
                    <a:gd name="connsiteX3" fmla="*/ 13246 w 14288"/>
                    <a:gd name="connsiteY3" fmla="*/ 66023 h 159544"/>
                    <a:gd name="connsiteX4" fmla="*/ 6847 w 14288"/>
                    <a:gd name="connsiteY4" fmla="*/ 73819 h 159544"/>
                    <a:gd name="connsiteX5" fmla="*/ 14288 w 14288"/>
                    <a:gd name="connsiteY5" fmla="*/ 90487 h 159544"/>
                    <a:gd name="connsiteX6" fmla="*/ 6772 w 14288"/>
                    <a:gd name="connsiteY6" fmla="*/ 111919 h 159544"/>
                    <a:gd name="connsiteX7" fmla="*/ 7144 w 14288"/>
                    <a:gd name="connsiteY7" fmla="*/ 150019 h 159544"/>
                    <a:gd name="connsiteX8" fmla="*/ 4763 w 14288"/>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4288" h="159544">
                      <a:moveTo>
                        <a:pt x="0" y="0"/>
                      </a:moveTo>
                      <a:cubicBezTo>
                        <a:pt x="3969" y="6350"/>
                        <a:pt x="9861" y="11798"/>
                        <a:pt x="11907" y="19050"/>
                      </a:cubicBezTo>
                      <a:cubicBezTo>
                        <a:pt x="13954" y="26302"/>
                        <a:pt x="12056" y="35684"/>
                        <a:pt x="12279" y="43513"/>
                      </a:cubicBezTo>
                      <a:cubicBezTo>
                        <a:pt x="12502" y="51342"/>
                        <a:pt x="14040" y="61261"/>
                        <a:pt x="13246" y="66023"/>
                      </a:cubicBezTo>
                      <a:cubicBezTo>
                        <a:pt x="14834" y="69992"/>
                        <a:pt x="6673" y="69742"/>
                        <a:pt x="6847" y="73819"/>
                      </a:cubicBezTo>
                      <a:cubicBezTo>
                        <a:pt x="7021" y="77896"/>
                        <a:pt x="14301" y="84137"/>
                        <a:pt x="14288" y="90487"/>
                      </a:cubicBezTo>
                      <a:cubicBezTo>
                        <a:pt x="14276" y="96837"/>
                        <a:pt x="5185" y="104775"/>
                        <a:pt x="6772" y="111919"/>
                      </a:cubicBezTo>
                      <a:cubicBezTo>
                        <a:pt x="-2672" y="149699"/>
                        <a:pt x="7479" y="142082"/>
                        <a:pt x="7144" y="150019"/>
                      </a:cubicBezTo>
                      <a:cubicBezTo>
                        <a:pt x="6809" y="157956"/>
                        <a:pt x="4763" y="159544"/>
                        <a:pt x="4763"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42" name="Freeform 168">
                  <a:extLst>
                    <a:ext uri="{FF2B5EF4-FFF2-40B4-BE49-F238E27FC236}">
                      <a16:creationId xmlns:a16="http://schemas.microsoft.com/office/drawing/2014/main" id="{023F55BB-8711-48F4-8290-E66D84FF63C0}"/>
                    </a:ext>
                  </a:extLst>
                </p:cNvPr>
                <p:cNvSpPr/>
                <p:nvPr/>
              </p:nvSpPr>
              <p:spPr>
                <a:xfrm flipV="1">
                  <a:off x="2668776" y="1782882"/>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43" name="Freeform 169">
                  <a:extLst>
                    <a:ext uri="{FF2B5EF4-FFF2-40B4-BE49-F238E27FC236}">
                      <a16:creationId xmlns:a16="http://schemas.microsoft.com/office/drawing/2014/main" id="{946931D4-F86B-40CD-81AA-AE82972C1DD8}"/>
                    </a:ext>
                  </a:extLst>
                </p:cNvPr>
                <p:cNvSpPr/>
                <p:nvPr/>
              </p:nvSpPr>
              <p:spPr>
                <a:xfrm flipV="1">
                  <a:off x="2687600" y="1780973"/>
                  <a:ext cx="29766" cy="123554"/>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44" name="Oval 143">
                  <a:extLst>
                    <a:ext uri="{FF2B5EF4-FFF2-40B4-BE49-F238E27FC236}">
                      <a16:creationId xmlns:a16="http://schemas.microsoft.com/office/drawing/2014/main" id="{7C460029-E4FC-487F-BA04-71479B3BD065}"/>
                    </a:ext>
                  </a:extLst>
                </p:cNvPr>
                <p:cNvSpPr/>
                <p:nvPr/>
              </p:nvSpPr>
              <p:spPr>
                <a:xfrm flipV="1">
                  <a:off x="2719480" y="1907280"/>
                  <a:ext cx="70315" cy="74200"/>
                </a:xfrm>
                <a:prstGeom prst="ellipse">
                  <a:avLst/>
                </a:prstGeom>
                <a:solidFill>
                  <a:schemeClr val="bg1"/>
                </a:solidFill>
                <a:ln w="12700">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45" name="Freeform 171">
                  <a:extLst>
                    <a:ext uri="{FF2B5EF4-FFF2-40B4-BE49-F238E27FC236}">
                      <a16:creationId xmlns:a16="http://schemas.microsoft.com/office/drawing/2014/main" id="{18C1E9E9-B1A9-44E8-9BB6-B510B6410D0F}"/>
                    </a:ext>
                  </a:extLst>
                </p:cNvPr>
                <p:cNvSpPr/>
                <p:nvPr/>
              </p:nvSpPr>
              <p:spPr>
                <a:xfrm flipV="1">
                  <a:off x="2724871" y="1782883"/>
                  <a:ext cx="29766" cy="137409"/>
                </a:xfrm>
                <a:custGeom>
                  <a:avLst/>
                  <a:gdLst>
                    <a:gd name="connsiteX0" fmla="*/ 2381 w 21431"/>
                    <a:gd name="connsiteY0" fmla="*/ 0 h 159544"/>
                    <a:gd name="connsiteX1" fmla="*/ 14288 w 21431"/>
                    <a:gd name="connsiteY1" fmla="*/ 19050 h 159544"/>
                    <a:gd name="connsiteX2" fmla="*/ 2381 w 21431"/>
                    <a:gd name="connsiteY2" fmla="*/ 47625 h 159544"/>
                    <a:gd name="connsiteX3" fmla="*/ 0 w 21431"/>
                    <a:gd name="connsiteY3" fmla="*/ 61912 h 159544"/>
                    <a:gd name="connsiteX4" fmla="*/ 4763 w 21431"/>
                    <a:gd name="connsiteY4" fmla="*/ 73819 h 159544"/>
                    <a:gd name="connsiteX5" fmla="*/ 16669 w 21431"/>
                    <a:gd name="connsiteY5" fmla="*/ 90487 h 159544"/>
                    <a:gd name="connsiteX6" fmla="*/ 21431 w 21431"/>
                    <a:gd name="connsiteY6" fmla="*/ 111919 h 159544"/>
                    <a:gd name="connsiteX7" fmla="*/ 9525 w 21431"/>
                    <a:gd name="connsiteY7" fmla="*/ 150019 h 159544"/>
                    <a:gd name="connsiteX8" fmla="*/ 7144 w 21431"/>
                    <a:gd name="connsiteY8" fmla="*/ 159544 h 1595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1431" h="159544">
                      <a:moveTo>
                        <a:pt x="2381" y="0"/>
                      </a:moveTo>
                      <a:cubicBezTo>
                        <a:pt x="6350" y="6350"/>
                        <a:pt x="14288" y="11562"/>
                        <a:pt x="14288" y="19050"/>
                      </a:cubicBezTo>
                      <a:cubicBezTo>
                        <a:pt x="14288" y="29369"/>
                        <a:pt x="5644" y="37836"/>
                        <a:pt x="2381" y="47625"/>
                      </a:cubicBezTo>
                      <a:cubicBezTo>
                        <a:pt x="854" y="52205"/>
                        <a:pt x="794" y="57150"/>
                        <a:pt x="0" y="61912"/>
                      </a:cubicBezTo>
                      <a:cubicBezTo>
                        <a:pt x="1588" y="65881"/>
                        <a:pt x="2609" y="70127"/>
                        <a:pt x="4763" y="73819"/>
                      </a:cubicBezTo>
                      <a:cubicBezTo>
                        <a:pt x="8203" y="79717"/>
                        <a:pt x="13932" y="84232"/>
                        <a:pt x="16669" y="90487"/>
                      </a:cubicBezTo>
                      <a:cubicBezTo>
                        <a:pt x="19602" y="97192"/>
                        <a:pt x="19844" y="104775"/>
                        <a:pt x="21431" y="111919"/>
                      </a:cubicBezTo>
                      <a:cubicBezTo>
                        <a:pt x="11987" y="149699"/>
                        <a:pt x="22114" y="112251"/>
                        <a:pt x="9525" y="150019"/>
                      </a:cubicBezTo>
                      <a:cubicBezTo>
                        <a:pt x="8490" y="153124"/>
                        <a:pt x="7144" y="159544"/>
                        <a:pt x="7144" y="159544"/>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sp>
              <p:nvSpPr>
                <p:cNvPr id="146" name="Freeform 172">
                  <a:extLst>
                    <a:ext uri="{FF2B5EF4-FFF2-40B4-BE49-F238E27FC236}">
                      <a16:creationId xmlns:a16="http://schemas.microsoft.com/office/drawing/2014/main" id="{80786BAC-6821-40AC-B9A0-96CC9DAD4C1B}"/>
                    </a:ext>
                  </a:extLst>
                </p:cNvPr>
                <p:cNvSpPr/>
                <p:nvPr/>
              </p:nvSpPr>
              <p:spPr>
                <a:xfrm flipV="1">
                  <a:off x="2762929" y="1780974"/>
                  <a:ext cx="13433" cy="129245"/>
                </a:xfrm>
                <a:custGeom>
                  <a:avLst/>
                  <a:gdLst>
                    <a:gd name="connsiteX0" fmla="*/ 187 w 20632"/>
                    <a:gd name="connsiteY0" fmla="*/ 0 h 188119"/>
                    <a:gd name="connsiteX1" fmla="*/ 4950 w 20632"/>
                    <a:gd name="connsiteY1" fmla="*/ 47625 h 188119"/>
                    <a:gd name="connsiteX2" fmla="*/ 19237 w 20632"/>
                    <a:gd name="connsiteY2" fmla="*/ 61913 h 188119"/>
                    <a:gd name="connsiteX3" fmla="*/ 12094 w 20632"/>
                    <a:gd name="connsiteY3" fmla="*/ 97632 h 188119"/>
                    <a:gd name="connsiteX4" fmla="*/ 4950 w 20632"/>
                    <a:gd name="connsiteY4" fmla="*/ 109538 h 188119"/>
                    <a:gd name="connsiteX5" fmla="*/ 2569 w 20632"/>
                    <a:gd name="connsiteY5" fmla="*/ 116682 h 188119"/>
                    <a:gd name="connsiteX6" fmla="*/ 2569 w 20632"/>
                    <a:gd name="connsiteY6" fmla="*/ 171450 h 188119"/>
                    <a:gd name="connsiteX7" fmla="*/ 4950 w 20632"/>
                    <a:gd name="connsiteY7" fmla="*/ 178594 h 188119"/>
                    <a:gd name="connsiteX8" fmla="*/ 9712 w 20632"/>
                    <a:gd name="connsiteY8" fmla="*/ 188119 h 1881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0632" h="188119">
                      <a:moveTo>
                        <a:pt x="187" y="0"/>
                      </a:moveTo>
                      <a:cubicBezTo>
                        <a:pt x="1775" y="15875"/>
                        <a:pt x="258" y="32376"/>
                        <a:pt x="4950" y="47625"/>
                      </a:cubicBezTo>
                      <a:cubicBezTo>
                        <a:pt x="6931" y="54062"/>
                        <a:pt x="17337" y="55451"/>
                        <a:pt x="19237" y="61913"/>
                      </a:cubicBezTo>
                      <a:cubicBezTo>
                        <a:pt x="23193" y="75364"/>
                        <a:pt x="18081" y="86856"/>
                        <a:pt x="12094" y="97632"/>
                      </a:cubicBezTo>
                      <a:cubicBezTo>
                        <a:pt x="9846" y="101678"/>
                        <a:pt x="7020" y="105398"/>
                        <a:pt x="4950" y="109538"/>
                      </a:cubicBezTo>
                      <a:cubicBezTo>
                        <a:pt x="3827" y="111783"/>
                        <a:pt x="3363" y="114301"/>
                        <a:pt x="2569" y="116682"/>
                      </a:cubicBezTo>
                      <a:cubicBezTo>
                        <a:pt x="-457" y="143908"/>
                        <a:pt x="-1234" y="139124"/>
                        <a:pt x="2569" y="171450"/>
                      </a:cubicBezTo>
                      <a:cubicBezTo>
                        <a:pt x="2862" y="173943"/>
                        <a:pt x="3828" y="176349"/>
                        <a:pt x="4950" y="178594"/>
                      </a:cubicBezTo>
                      <a:cubicBezTo>
                        <a:pt x="10152" y="189000"/>
                        <a:pt x="9712" y="182155"/>
                        <a:pt x="9712" y="188119"/>
                      </a:cubicBezTo>
                    </a:path>
                  </a:pathLst>
                </a:custGeom>
                <a:solidFill>
                  <a:schemeClr val="bg1"/>
                </a:solidFill>
                <a:ln w="9525">
                  <a:solidFill>
                    <a:schemeClr val="bg2">
                      <a:lumMod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de-DE"/>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endParaRPr>
                </a:p>
              </p:txBody>
            </p:sp>
          </p:grpSp>
          <p:sp>
            <p:nvSpPr>
              <p:cNvPr id="37" name="TextBox 36">
                <a:extLst>
                  <a:ext uri="{FF2B5EF4-FFF2-40B4-BE49-F238E27FC236}">
                    <a16:creationId xmlns:a16="http://schemas.microsoft.com/office/drawing/2014/main" id="{53BAAC94-0893-427E-9A7A-B2749405FD0F}"/>
                  </a:ext>
                </a:extLst>
              </p:cNvPr>
              <p:cNvSpPr txBox="1"/>
              <p:nvPr/>
            </p:nvSpPr>
            <p:spPr>
              <a:xfrm>
                <a:off x="9752137" y="2381854"/>
                <a:ext cx="1626214"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0000">
                        <a:alpha val="95000"/>
                      </a:srgbClr>
                    </a:solidFill>
                    <a:effectLst/>
                    <a:uLnTx/>
                    <a:uFillTx/>
                    <a:latin typeface="Verdana" panose="020B0604030504040204" pitchFamily="34" charset="0"/>
                    <a:ea typeface="Verdana" panose="020B0604030504040204" pitchFamily="34" charset="0"/>
                    <a:cs typeface="Arial" pitchFamily="34" charset="0"/>
                  </a:rPr>
                  <a:t>Cell membrane</a:t>
                </a:r>
              </a:p>
            </p:txBody>
          </p:sp>
          <p:sp>
            <p:nvSpPr>
              <p:cNvPr id="38" name="TextBox 37">
                <a:extLst>
                  <a:ext uri="{FF2B5EF4-FFF2-40B4-BE49-F238E27FC236}">
                    <a16:creationId xmlns:a16="http://schemas.microsoft.com/office/drawing/2014/main" id="{038604E7-62F1-4AFF-9C73-17B59B9DD65D}"/>
                  </a:ext>
                </a:extLst>
              </p:cNvPr>
              <p:cNvSpPr txBox="1"/>
              <p:nvPr/>
            </p:nvSpPr>
            <p:spPr>
              <a:xfrm>
                <a:off x="9752137" y="2974416"/>
                <a:ext cx="1626214" cy="261610"/>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000000">
                        <a:alpha val="95000"/>
                      </a:srgbClr>
                    </a:solidFill>
                    <a:effectLst/>
                    <a:uLnTx/>
                    <a:uFillTx/>
                    <a:latin typeface="Verdana" panose="020B0604030504040204" pitchFamily="34" charset="0"/>
                    <a:ea typeface="Verdana" panose="020B0604030504040204" pitchFamily="34" charset="0"/>
                    <a:cs typeface="Arial" pitchFamily="34" charset="0"/>
                  </a:rPr>
                  <a:t>Cytoplasm</a:t>
                </a:r>
              </a:p>
            </p:txBody>
          </p:sp>
          <p:sp>
            <p:nvSpPr>
              <p:cNvPr id="39" name="TextBox 38">
                <a:extLst>
                  <a:ext uri="{FF2B5EF4-FFF2-40B4-BE49-F238E27FC236}">
                    <a16:creationId xmlns:a16="http://schemas.microsoft.com/office/drawing/2014/main" id="{1F996375-DF0A-4E40-8F6C-CF16BC872290}"/>
                  </a:ext>
                </a:extLst>
              </p:cNvPr>
              <p:cNvSpPr txBox="1"/>
              <p:nvPr/>
            </p:nvSpPr>
            <p:spPr>
              <a:xfrm>
                <a:off x="8726820" y="3176835"/>
                <a:ext cx="1443102" cy="430887"/>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3F3F3F">
                        <a:alpha val="95000"/>
                      </a:srgbClr>
                    </a:solidFill>
                    <a:effectLst/>
                    <a:uLnTx/>
                    <a:uFillTx/>
                    <a:latin typeface="Verdana" panose="020B0604030504040204" pitchFamily="34" charset="0"/>
                    <a:ea typeface="Verdana" panose="020B0604030504040204" pitchFamily="34" charset="0"/>
                    <a:cs typeface="+mn-cs"/>
                  </a:rPr>
                  <a:t>PI3K/</a:t>
                </a:r>
                <a:br>
                  <a:rPr kumimoji="0" lang="en-GB" sz="1100" b="1" i="0" u="none" strike="noStrike" kern="1200" cap="none" spc="0" normalizeH="0" baseline="0" noProof="0">
                    <a:ln>
                      <a:noFill/>
                    </a:ln>
                    <a:solidFill>
                      <a:srgbClr val="3F3F3F">
                        <a:alpha val="95000"/>
                      </a:srgbClr>
                    </a:solidFill>
                    <a:effectLst/>
                    <a:uLnTx/>
                    <a:uFillTx/>
                    <a:latin typeface="Verdana" panose="020B0604030504040204" pitchFamily="34" charset="0"/>
                    <a:ea typeface="Verdana" panose="020B0604030504040204" pitchFamily="34" charset="0"/>
                    <a:cs typeface="+mn-cs"/>
                  </a:rPr>
                </a:br>
                <a:r>
                  <a:rPr kumimoji="0" lang="en-GB" sz="1100" b="1" i="0" u="none" strike="noStrike" kern="1200" cap="none" spc="0" normalizeH="0" baseline="0" noProof="0">
                    <a:ln>
                      <a:noFill/>
                    </a:ln>
                    <a:solidFill>
                      <a:srgbClr val="3F3F3F">
                        <a:alpha val="95000"/>
                      </a:srgbClr>
                    </a:solidFill>
                    <a:effectLst/>
                    <a:uLnTx/>
                    <a:uFillTx/>
                    <a:latin typeface="Verdana" panose="020B0604030504040204" pitchFamily="34" charset="0"/>
                    <a:ea typeface="Verdana" panose="020B0604030504040204" pitchFamily="34" charset="0"/>
                    <a:cs typeface="+mn-cs"/>
                  </a:rPr>
                  <a:t>AKT/mTOR</a:t>
                </a:r>
                <a:endParaRPr kumimoji="0" lang="en-GB" sz="1100" b="1" i="0" u="none" strike="noStrike" kern="1200" cap="none" spc="0" normalizeH="0" baseline="0" noProof="0">
                  <a:ln>
                    <a:noFill/>
                  </a:ln>
                  <a:solidFill>
                    <a:srgbClr val="000000">
                      <a:alpha val="95000"/>
                    </a:srgbClr>
                  </a:solidFill>
                  <a:effectLst/>
                  <a:uLnTx/>
                  <a:uFillTx/>
                  <a:latin typeface="Verdana" panose="020B0604030504040204" pitchFamily="34" charset="0"/>
                  <a:ea typeface="Verdana" panose="020B0604030504040204" pitchFamily="34" charset="0"/>
                  <a:cs typeface="Arial" pitchFamily="34" charset="0"/>
                </a:endParaRPr>
              </a:p>
            </p:txBody>
          </p:sp>
          <p:grpSp>
            <p:nvGrpSpPr>
              <p:cNvPr id="40" name="Group 39">
                <a:extLst>
                  <a:ext uri="{FF2B5EF4-FFF2-40B4-BE49-F238E27FC236}">
                    <a16:creationId xmlns:a16="http://schemas.microsoft.com/office/drawing/2014/main" id="{4A8B3995-062E-480E-AB32-8BCE7DA09EEC}"/>
                  </a:ext>
                </a:extLst>
              </p:cNvPr>
              <p:cNvGrpSpPr/>
              <p:nvPr/>
            </p:nvGrpSpPr>
            <p:grpSpPr>
              <a:xfrm>
                <a:off x="6833863" y="2085598"/>
                <a:ext cx="692345" cy="1360414"/>
                <a:chOff x="4279550" y="1746253"/>
                <a:chExt cx="692345" cy="1360414"/>
              </a:xfrm>
            </p:grpSpPr>
            <p:grpSp>
              <p:nvGrpSpPr>
                <p:cNvPr id="48" name="Group 47">
                  <a:extLst>
                    <a:ext uri="{FF2B5EF4-FFF2-40B4-BE49-F238E27FC236}">
                      <a16:creationId xmlns:a16="http://schemas.microsoft.com/office/drawing/2014/main" id="{6335B3E8-64B1-499C-B09F-BC08FC7E8638}"/>
                    </a:ext>
                  </a:extLst>
                </p:cNvPr>
                <p:cNvGrpSpPr/>
                <p:nvPr/>
              </p:nvGrpSpPr>
              <p:grpSpPr>
                <a:xfrm>
                  <a:off x="4279550" y="1746253"/>
                  <a:ext cx="299420" cy="1360414"/>
                  <a:chOff x="4279550" y="1746253"/>
                  <a:chExt cx="299420" cy="1360414"/>
                </a:xfrm>
              </p:grpSpPr>
              <p:grpSp>
                <p:nvGrpSpPr>
                  <p:cNvPr id="59" name="Group 58">
                    <a:extLst>
                      <a:ext uri="{FF2B5EF4-FFF2-40B4-BE49-F238E27FC236}">
                        <a16:creationId xmlns:a16="http://schemas.microsoft.com/office/drawing/2014/main" id="{8B336F7B-D17A-4023-B862-51306BA012E6}"/>
                      </a:ext>
                    </a:extLst>
                  </p:cNvPr>
                  <p:cNvGrpSpPr/>
                  <p:nvPr/>
                </p:nvGrpSpPr>
                <p:grpSpPr>
                  <a:xfrm>
                    <a:off x="4427194" y="2653408"/>
                    <a:ext cx="151776" cy="453259"/>
                    <a:chOff x="4427194" y="2311143"/>
                    <a:chExt cx="151776" cy="665281"/>
                  </a:xfrm>
                </p:grpSpPr>
                <p:sp>
                  <p:nvSpPr>
                    <p:cNvPr id="65" name="Can 584">
                      <a:extLst>
                        <a:ext uri="{FF2B5EF4-FFF2-40B4-BE49-F238E27FC236}">
                          <a16:creationId xmlns:a16="http://schemas.microsoft.com/office/drawing/2014/main" id="{BEEAA7B5-3ABE-4B6F-8079-574DE940D5AF}"/>
                        </a:ext>
                      </a:extLst>
                    </p:cNvPr>
                    <p:cNvSpPr/>
                    <p:nvPr/>
                  </p:nvSpPr>
                  <p:spPr>
                    <a:xfrm>
                      <a:off x="4427194" y="2692774"/>
                      <a:ext cx="151776" cy="283650"/>
                    </a:xfrm>
                    <a:prstGeom prst="can">
                      <a:avLst/>
                    </a:prstGeom>
                    <a:solidFill>
                      <a:srgbClr val="0070C0"/>
                    </a:solidFill>
                    <a:ln>
                      <a:solidFill>
                        <a:srgbClr val="0034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mn-cs"/>
                      </a:endParaRPr>
                    </a:p>
                  </p:txBody>
                </p:sp>
                <p:cxnSp>
                  <p:nvCxnSpPr>
                    <p:cNvPr id="66" name="Straight Connector 65">
                      <a:extLst>
                        <a:ext uri="{FF2B5EF4-FFF2-40B4-BE49-F238E27FC236}">
                          <a16:creationId xmlns:a16="http://schemas.microsoft.com/office/drawing/2014/main" id="{12E03F47-53CB-4B97-8A97-67745E0872BC}"/>
                        </a:ext>
                      </a:extLst>
                    </p:cNvPr>
                    <p:cNvCxnSpPr>
                      <a:cxnSpLocks/>
                    </p:cNvCxnSpPr>
                    <p:nvPr/>
                  </p:nvCxnSpPr>
                  <p:spPr bwMode="auto">
                    <a:xfrm>
                      <a:off x="4503082" y="2548125"/>
                      <a:ext cx="0" cy="156702"/>
                    </a:xfrm>
                    <a:prstGeom prst="line">
                      <a:avLst/>
                    </a:prstGeom>
                    <a:solidFill>
                      <a:srgbClr val="C0C0C0"/>
                    </a:solidFill>
                    <a:ln w="28575" cap="rnd" cmpd="sng" algn="ctr">
                      <a:solidFill>
                        <a:srgbClr val="003479"/>
                      </a:solidFill>
                      <a:prstDash val="solid"/>
                      <a:round/>
                      <a:headEnd type="none" w="med" len="med"/>
                      <a:tailEnd type="none" w="med" len="med"/>
                    </a:ln>
                    <a:effectLst/>
                  </p:spPr>
                </p:cxnSp>
                <p:sp>
                  <p:nvSpPr>
                    <p:cNvPr id="67" name="Can 584">
                      <a:extLst>
                        <a:ext uri="{FF2B5EF4-FFF2-40B4-BE49-F238E27FC236}">
                          <a16:creationId xmlns:a16="http://schemas.microsoft.com/office/drawing/2014/main" id="{04FFAA49-CE71-447F-9986-B459104BD240}"/>
                        </a:ext>
                      </a:extLst>
                    </p:cNvPr>
                    <p:cNvSpPr/>
                    <p:nvPr/>
                  </p:nvSpPr>
                  <p:spPr>
                    <a:xfrm>
                      <a:off x="4427194" y="2311143"/>
                      <a:ext cx="151776" cy="283650"/>
                    </a:xfrm>
                    <a:prstGeom prst="can">
                      <a:avLst/>
                    </a:prstGeom>
                    <a:solidFill>
                      <a:srgbClr val="0070C0"/>
                    </a:solidFill>
                    <a:ln>
                      <a:solidFill>
                        <a:srgbClr val="0034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mn-cs"/>
                      </a:endParaRPr>
                    </a:p>
                  </p:txBody>
                </p:sp>
              </p:grpSp>
              <p:cxnSp>
                <p:nvCxnSpPr>
                  <p:cNvPr id="60" name="Straight Connector 59">
                    <a:extLst>
                      <a:ext uri="{FF2B5EF4-FFF2-40B4-BE49-F238E27FC236}">
                        <a16:creationId xmlns:a16="http://schemas.microsoft.com/office/drawing/2014/main" id="{CA3694D5-89C5-4A7A-AC40-AD1C01399D33}"/>
                      </a:ext>
                    </a:extLst>
                  </p:cNvPr>
                  <p:cNvCxnSpPr>
                    <a:cxnSpLocks/>
                    <a:endCxn id="67" idx="1"/>
                  </p:cNvCxnSpPr>
                  <p:nvPr/>
                </p:nvCxnSpPr>
                <p:spPr bwMode="auto">
                  <a:xfrm>
                    <a:off x="4501503" y="1958696"/>
                    <a:ext cx="1579" cy="694707"/>
                  </a:xfrm>
                  <a:prstGeom prst="line">
                    <a:avLst/>
                  </a:prstGeom>
                  <a:solidFill>
                    <a:srgbClr val="C0C0C0"/>
                  </a:solidFill>
                  <a:ln w="28575" cap="rnd" cmpd="sng" algn="ctr">
                    <a:solidFill>
                      <a:srgbClr val="003479"/>
                    </a:solidFill>
                    <a:prstDash val="solid"/>
                    <a:round/>
                    <a:headEnd type="none" w="med" len="med"/>
                    <a:tailEnd type="none" w="med" len="med"/>
                  </a:ln>
                  <a:effectLst/>
                </p:spPr>
              </p:cxnSp>
              <p:cxnSp>
                <p:nvCxnSpPr>
                  <p:cNvPr id="61" name="Straight Connector 60">
                    <a:extLst>
                      <a:ext uri="{FF2B5EF4-FFF2-40B4-BE49-F238E27FC236}">
                        <a16:creationId xmlns:a16="http://schemas.microsoft.com/office/drawing/2014/main" id="{B37DD953-026D-433D-AE3A-536C263084EF}"/>
                      </a:ext>
                    </a:extLst>
                  </p:cNvPr>
                  <p:cNvCxnSpPr>
                    <a:cxnSpLocks/>
                  </p:cNvCxnSpPr>
                  <p:nvPr/>
                </p:nvCxnSpPr>
                <p:spPr bwMode="auto">
                  <a:xfrm rot="18900000">
                    <a:off x="4418146" y="1752677"/>
                    <a:ext cx="0" cy="241447"/>
                  </a:xfrm>
                  <a:prstGeom prst="line">
                    <a:avLst/>
                  </a:prstGeom>
                  <a:solidFill>
                    <a:srgbClr val="C0C0C0"/>
                  </a:solidFill>
                  <a:ln w="28575" cap="rnd" cmpd="sng" algn="ctr">
                    <a:solidFill>
                      <a:srgbClr val="003479"/>
                    </a:solidFill>
                    <a:prstDash val="solid"/>
                    <a:round/>
                    <a:headEnd type="none" w="med" len="med"/>
                    <a:tailEnd type="none" w="med" len="med"/>
                  </a:ln>
                  <a:effectLst/>
                </p:spPr>
              </p:cxnSp>
              <p:sp>
                <p:nvSpPr>
                  <p:cNvPr id="62" name="Oval 61">
                    <a:extLst>
                      <a:ext uri="{FF2B5EF4-FFF2-40B4-BE49-F238E27FC236}">
                        <a16:creationId xmlns:a16="http://schemas.microsoft.com/office/drawing/2014/main" id="{CA673A32-3189-4E9E-B6F9-94E0685AAD88}"/>
                      </a:ext>
                    </a:extLst>
                  </p:cNvPr>
                  <p:cNvSpPr/>
                  <p:nvPr/>
                </p:nvSpPr>
                <p:spPr bwMode="auto">
                  <a:xfrm>
                    <a:off x="4279550" y="1746253"/>
                    <a:ext cx="103498" cy="103498"/>
                  </a:xfrm>
                  <a:prstGeom prst="ellipse">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alpha val="95000"/>
                        </a:srgbClr>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63" name="Oval 62">
                    <a:extLst>
                      <a:ext uri="{FF2B5EF4-FFF2-40B4-BE49-F238E27FC236}">
                        <a16:creationId xmlns:a16="http://schemas.microsoft.com/office/drawing/2014/main" id="{F4B93D07-6B4E-41B6-8E56-88D250412D73}"/>
                      </a:ext>
                    </a:extLst>
                  </p:cNvPr>
                  <p:cNvSpPr/>
                  <p:nvPr/>
                </p:nvSpPr>
                <p:spPr bwMode="auto">
                  <a:xfrm>
                    <a:off x="4449754" y="1906639"/>
                    <a:ext cx="103498" cy="103498"/>
                  </a:xfrm>
                  <a:prstGeom prst="ellipse">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alpha val="95000"/>
                        </a:srgbClr>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64" name="Oval 63">
                    <a:extLst>
                      <a:ext uri="{FF2B5EF4-FFF2-40B4-BE49-F238E27FC236}">
                        <a16:creationId xmlns:a16="http://schemas.microsoft.com/office/drawing/2014/main" id="{16016D83-EC40-4CCE-A814-CBA75EA34040}"/>
                      </a:ext>
                    </a:extLst>
                  </p:cNvPr>
                  <p:cNvSpPr/>
                  <p:nvPr/>
                </p:nvSpPr>
                <p:spPr bwMode="auto">
                  <a:xfrm>
                    <a:off x="4449754" y="2123718"/>
                    <a:ext cx="103498" cy="103498"/>
                  </a:xfrm>
                  <a:prstGeom prst="ellipse">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alpha val="95000"/>
                        </a:srgbClr>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grpSp>
            <p:grpSp>
              <p:nvGrpSpPr>
                <p:cNvPr id="49" name="Group 48">
                  <a:extLst>
                    <a:ext uri="{FF2B5EF4-FFF2-40B4-BE49-F238E27FC236}">
                      <a16:creationId xmlns:a16="http://schemas.microsoft.com/office/drawing/2014/main" id="{8BAEC1EC-2BF8-470B-905D-8A0100D69B69}"/>
                    </a:ext>
                  </a:extLst>
                </p:cNvPr>
                <p:cNvGrpSpPr/>
                <p:nvPr/>
              </p:nvGrpSpPr>
              <p:grpSpPr>
                <a:xfrm flipH="1">
                  <a:off x="4672475" y="1746253"/>
                  <a:ext cx="299420" cy="1360414"/>
                  <a:chOff x="4279550" y="1746253"/>
                  <a:chExt cx="299420" cy="1360414"/>
                </a:xfrm>
              </p:grpSpPr>
              <p:grpSp>
                <p:nvGrpSpPr>
                  <p:cNvPr id="50" name="Group 49">
                    <a:extLst>
                      <a:ext uri="{FF2B5EF4-FFF2-40B4-BE49-F238E27FC236}">
                        <a16:creationId xmlns:a16="http://schemas.microsoft.com/office/drawing/2014/main" id="{109BBE46-20D4-4909-8FFA-C3A8D902A1B7}"/>
                      </a:ext>
                    </a:extLst>
                  </p:cNvPr>
                  <p:cNvGrpSpPr/>
                  <p:nvPr/>
                </p:nvGrpSpPr>
                <p:grpSpPr>
                  <a:xfrm>
                    <a:off x="4427194" y="2653408"/>
                    <a:ext cx="151776" cy="453259"/>
                    <a:chOff x="4427194" y="2311143"/>
                    <a:chExt cx="151776" cy="665281"/>
                  </a:xfrm>
                </p:grpSpPr>
                <p:sp>
                  <p:nvSpPr>
                    <p:cNvPr id="56" name="Can 584">
                      <a:extLst>
                        <a:ext uri="{FF2B5EF4-FFF2-40B4-BE49-F238E27FC236}">
                          <a16:creationId xmlns:a16="http://schemas.microsoft.com/office/drawing/2014/main" id="{C9B80E25-458F-4AE1-9409-256AD8234BC1}"/>
                        </a:ext>
                      </a:extLst>
                    </p:cNvPr>
                    <p:cNvSpPr/>
                    <p:nvPr/>
                  </p:nvSpPr>
                  <p:spPr>
                    <a:xfrm>
                      <a:off x="4427194" y="2692774"/>
                      <a:ext cx="151776" cy="283650"/>
                    </a:xfrm>
                    <a:prstGeom prst="can">
                      <a:avLst/>
                    </a:prstGeom>
                    <a:solidFill>
                      <a:srgbClr val="0070C0"/>
                    </a:solidFill>
                    <a:ln>
                      <a:solidFill>
                        <a:srgbClr val="0034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mn-cs"/>
                      </a:endParaRPr>
                    </a:p>
                  </p:txBody>
                </p:sp>
                <p:cxnSp>
                  <p:nvCxnSpPr>
                    <p:cNvPr id="57" name="Straight Connector 56">
                      <a:extLst>
                        <a:ext uri="{FF2B5EF4-FFF2-40B4-BE49-F238E27FC236}">
                          <a16:creationId xmlns:a16="http://schemas.microsoft.com/office/drawing/2014/main" id="{6AD9216C-5025-48EE-8025-F6ED97FC98B6}"/>
                        </a:ext>
                      </a:extLst>
                    </p:cNvPr>
                    <p:cNvCxnSpPr>
                      <a:cxnSpLocks/>
                    </p:cNvCxnSpPr>
                    <p:nvPr/>
                  </p:nvCxnSpPr>
                  <p:spPr bwMode="auto">
                    <a:xfrm>
                      <a:off x="4503082" y="2548125"/>
                      <a:ext cx="0" cy="156702"/>
                    </a:xfrm>
                    <a:prstGeom prst="line">
                      <a:avLst/>
                    </a:prstGeom>
                    <a:solidFill>
                      <a:srgbClr val="C0C0C0"/>
                    </a:solidFill>
                    <a:ln w="28575" cap="rnd" cmpd="sng" algn="ctr">
                      <a:solidFill>
                        <a:srgbClr val="003479"/>
                      </a:solidFill>
                      <a:prstDash val="solid"/>
                      <a:round/>
                      <a:headEnd type="none" w="med" len="med"/>
                      <a:tailEnd type="none" w="med" len="med"/>
                    </a:ln>
                    <a:effectLst/>
                  </p:spPr>
                </p:cxnSp>
                <p:sp>
                  <p:nvSpPr>
                    <p:cNvPr id="58" name="Can 584">
                      <a:extLst>
                        <a:ext uri="{FF2B5EF4-FFF2-40B4-BE49-F238E27FC236}">
                          <a16:creationId xmlns:a16="http://schemas.microsoft.com/office/drawing/2014/main" id="{4C87AC0D-FB94-4FF7-A3EB-5FD0B247EF56}"/>
                        </a:ext>
                      </a:extLst>
                    </p:cNvPr>
                    <p:cNvSpPr/>
                    <p:nvPr/>
                  </p:nvSpPr>
                  <p:spPr>
                    <a:xfrm>
                      <a:off x="4427194" y="2311143"/>
                      <a:ext cx="151776" cy="283650"/>
                    </a:xfrm>
                    <a:prstGeom prst="can">
                      <a:avLst/>
                    </a:prstGeom>
                    <a:solidFill>
                      <a:srgbClr val="0070C0"/>
                    </a:solidFill>
                    <a:ln>
                      <a:solidFill>
                        <a:srgbClr val="00347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mn-cs"/>
                      </a:endParaRPr>
                    </a:p>
                  </p:txBody>
                </p:sp>
              </p:grpSp>
              <p:cxnSp>
                <p:nvCxnSpPr>
                  <p:cNvPr id="51" name="Straight Connector 50">
                    <a:extLst>
                      <a:ext uri="{FF2B5EF4-FFF2-40B4-BE49-F238E27FC236}">
                        <a16:creationId xmlns:a16="http://schemas.microsoft.com/office/drawing/2014/main" id="{1F187EFC-74E9-4840-AFC5-14D03AD09620}"/>
                      </a:ext>
                    </a:extLst>
                  </p:cNvPr>
                  <p:cNvCxnSpPr>
                    <a:cxnSpLocks/>
                    <a:endCxn id="58" idx="1"/>
                  </p:cNvCxnSpPr>
                  <p:nvPr/>
                </p:nvCxnSpPr>
                <p:spPr bwMode="auto">
                  <a:xfrm>
                    <a:off x="4501503" y="1958696"/>
                    <a:ext cx="1579" cy="694707"/>
                  </a:xfrm>
                  <a:prstGeom prst="line">
                    <a:avLst/>
                  </a:prstGeom>
                  <a:solidFill>
                    <a:srgbClr val="C0C0C0"/>
                  </a:solidFill>
                  <a:ln w="28575" cap="rnd" cmpd="sng" algn="ctr">
                    <a:solidFill>
                      <a:srgbClr val="003479"/>
                    </a:solidFill>
                    <a:prstDash val="solid"/>
                    <a:round/>
                    <a:headEnd type="none" w="med" len="med"/>
                    <a:tailEnd type="none" w="med" len="med"/>
                  </a:ln>
                  <a:effectLst/>
                </p:spPr>
              </p:cxnSp>
              <p:cxnSp>
                <p:nvCxnSpPr>
                  <p:cNvPr id="52" name="Straight Connector 51">
                    <a:extLst>
                      <a:ext uri="{FF2B5EF4-FFF2-40B4-BE49-F238E27FC236}">
                        <a16:creationId xmlns:a16="http://schemas.microsoft.com/office/drawing/2014/main" id="{069C5C15-A190-4150-B1C8-13A63217704B}"/>
                      </a:ext>
                    </a:extLst>
                  </p:cNvPr>
                  <p:cNvCxnSpPr>
                    <a:cxnSpLocks/>
                  </p:cNvCxnSpPr>
                  <p:nvPr/>
                </p:nvCxnSpPr>
                <p:spPr bwMode="auto">
                  <a:xfrm rot="18900000">
                    <a:off x="4418146" y="1752677"/>
                    <a:ext cx="0" cy="241447"/>
                  </a:xfrm>
                  <a:prstGeom prst="line">
                    <a:avLst/>
                  </a:prstGeom>
                  <a:solidFill>
                    <a:srgbClr val="C0C0C0"/>
                  </a:solidFill>
                  <a:ln w="28575" cap="rnd" cmpd="sng" algn="ctr">
                    <a:solidFill>
                      <a:srgbClr val="003479"/>
                    </a:solidFill>
                    <a:prstDash val="solid"/>
                    <a:round/>
                    <a:headEnd type="none" w="med" len="med"/>
                    <a:tailEnd type="none" w="med" len="med"/>
                  </a:ln>
                  <a:effectLst/>
                </p:spPr>
              </p:cxnSp>
              <p:sp>
                <p:nvSpPr>
                  <p:cNvPr id="53" name="Oval 52">
                    <a:extLst>
                      <a:ext uri="{FF2B5EF4-FFF2-40B4-BE49-F238E27FC236}">
                        <a16:creationId xmlns:a16="http://schemas.microsoft.com/office/drawing/2014/main" id="{596574E2-B612-49D9-BE7C-EC177D15C356}"/>
                      </a:ext>
                    </a:extLst>
                  </p:cNvPr>
                  <p:cNvSpPr/>
                  <p:nvPr/>
                </p:nvSpPr>
                <p:spPr bwMode="auto">
                  <a:xfrm>
                    <a:off x="4279550" y="1746253"/>
                    <a:ext cx="103498" cy="103498"/>
                  </a:xfrm>
                  <a:prstGeom prst="ellipse">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alpha val="95000"/>
                        </a:srgbClr>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4" name="Oval 53">
                    <a:extLst>
                      <a:ext uri="{FF2B5EF4-FFF2-40B4-BE49-F238E27FC236}">
                        <a16:creationId xmlns:a16="http://schemas.microsoft.com/office/drawing/2014/main" id="{D5C6B1DA-AB6A-4EEC-AA43-B8976FC98A54}"/>
                      </a:ext>
                    </a:extLst>
                  </p:cNvPr>
                  <p:cNvSpPr/>
                  <p:nvPr/>
                </p:nvSpPr>
                <p:spPr bwMode="auto">
                  <a:xfrm>
                    <a:off x="4449754" y="1906639"/>
                    <a:ext cx="103498" cy="103498"/>
                  </a:xfrm>
                  <a:prstGeom prst="ellipse">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alpha val="95000"/>
                        </a:srgbClr>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5" name="Oval 54">
                    <a:extLst>
                      <a:ext uri="{FF2B5EF4-FFF2-40B4-BE49-F238E27FC236}">
                        <a16:creationId xmlns:a16="http://schemas.microsoft.com/office/drawing/2014/main" id="{66CEE7BF-671C-4F89-8F4C-551088371D61}"/>
                      </a:ext>
                    </a:extLst>
                  </p:cNvPr>
                  <p:cNvSpPr/>
                  <p:nvPr/>
                </p:nvSpPr>
                <p:spPr bwMode="auto">
                  <a:xfrm>
                    <a:off x="4449754" y="2123718"/>
                    <a:ext cx="103498" cy="103498"/>
                  </a:xfrm>
                  <a:prstGeom prst="ellipse">
                    <a:avLst/>
                  </a:prstGeom>
                  <a:solidFill>
                    <a:schemeClr val="accent2"/>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alpha val="95000"/>
                        </a:srgbClr>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grpSp>
          </p:grpSp>
          <p:sp>
            <p:nvSpPr>
              <p:cNvPr id="41" name="Rectangle: Rounded Corners 40">
                <a:extLst>
                  <a:ext uri="{FF2B5EF4-FFF2-40B4-BE49-F238E27FC236}">
                    <a16:creationId xmlns:a16="http://schemas.microsoft.com/office/drawing/2014/main" id="{128FC285-CE6A-4C37-98E6-0596EFADBD8D}"/>
                  </a:ext>
                </a:extLst>
              </p:cNvPr>
              <p:cNvSpPr/>
              <p:nvPr/>
            </p:nvSpPr>
            <p:spPr bwMode="auto">
              <a:xfrm>
                <a:off x="8960395" y="4018835"/>
                <a:ext cx="551750" cy="222727"/>
              </a:xfrm>
              <a:prstGeom prst="roundRect">
                <a:avLst>
                  <a:gd name="adj" fmla="val 6870"/>
                </a:avLst>
              </a:prstGeom>
              <a:solidFill>
                <a:srgbClr val="0070C0"/>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rPr>
                  <a:t>PTEN</a:t>
                </a:r>
              </a:p>
            </p:txBody>
          </p:sp>
          <p:cxnSp>
            <p:nvCxnSpPr>
              <p:cNvPr id="42" name="Straight Arrow Connector 41">
                <a:extLst>
                  <a:ext uri="{FF2B5EF4-FFF2-40B4-BE49-F238E27FC236}">
                    <a16:creationId xmlns:a16="http://schemas.microsoft.com/office/drawing/2014/main" id="{AE3F4E11-6BBB-4F31-B9B2-FC4EB04FFE9E}"/>
                  </a:ext>
                </a:extLst>
              </p:cNvPr>
              <p:cNvCxnSpPr>
                <a:cxnSpLocks/>
              </p:cNvCxnSpPr>
              <p:nvPr/>
            </p:nvCxnSpPr>
            <p:spPr bwMode="auto">
              <a:xfrm flipV="1">
                <a:off x="8566841" y="2971429"/>
                <a:ext cx="0" cy="601752"/>
              </a:xfrm>
              <a:prstGeom prst="straightConnector1">
                <a:avLst/>
              </a:prstGeom>
              <a:solidFill>
                <a:srgbClr val="C0C0C0"/>
              </a:solidFill>
              <a:ln w="19050" cap="flat" cmpd="sng" algn="ctr">
                <a:solidFill>
                  <a:schemeClr val="accent3"/>
                </a:solidFill>
                <a:prstDash val="sysDot"/>
                <a:round/>
                <a:headEnd type="none" w="med" len="med"/>
                <a:tailEnd type="none"/>
              </a:ln>
              <a:effectLst/>
            </p:spPr>
          </p:cxnSp>
          <p:cxnSp>
            <p:nvCxnSpPr>
              <p:cNvPr id="43" name="Straight Arrow Connector 42">
                <a:extLst>
                  <a:ext uri="{FF2B5EF4-FFF2-40B4-BE49-F238E27FC236}">
                    <a16:creationId xmlns:a16="http://schemas.microsoft.com/office/drawing/2014/main" id="{FC3AF784-6939-4A1A-96DD-370E45AC5730}"/>
                  </a:ext>
                </a:extLst>
              </p:cNvPr>
              <p:cNvCxnSpPr>
                <a:cxnSpLocks/>
              </p:cNvCxnSpPr>
              <p:nvPr/>
            </p:nvCxnSpPr>
            <p:spPr bwMode="auto">
              <a:xfrm flipV="1">
                <a:off x="8672910" y="2971429"/>
                <a:ext cx="0" cy="601752"/>
              </a:xfrm>
              <a:prstGeom prst="straightConnector1">
                <a:avLst/>
              </a:prstGeom>
              <a:solidFill>
                <a:srgbClr val="C0C0C0"/>
              </a:solidFill>
              <a:ln w="19050" cap="flat" cmpd="sng" algn="ctr">
                <a:solidFill>
                  <a:schemeClr val="accent3"/>
                </a:solidFill>
                <a:prstDash val="sysDot"/>
                <a:round/>
                <a:headEnd type="none" w="med" len="med"/>
                <a:tailEnd type="none"/>
              </a:ln>
              <a:effectLst/>
            </p:spPr>
          </p:cxnSp>
          <p:sp>
            <p:nvSpPr>
              <p:cNvPr id="44" name="Rectangle: Rounded Corners 43">
                <a:extLst>
                  <a:ext uri="{FF2B5EF4-FFF2-40B4-BE49-F238E27FC236}">
                    <a16:creationId xmlns:a16="http://schemas.microsoft.com/office/drawing/2014/main" id="{8FBF9DFF-45D1-4D29-BB3E-E0998D72D47F}"/>
                  </a:ext>
                </a:extLst>
              </p:cNvPr>
              <p:cNvSpPr/>
              <p:nvPr/>
            </p:nvSpPr>
            <p:spPr bwMode="auto">
              <a:xfrm>
                <a:off x="8259911" y="3095388"/>
                <a:ext cx="551750" cy="396050"/>
              </a:xfrm>
              <a:prstGeom prst="roundRect">
                <a:avLst>
                  <a:gd name="adj" fmla="val 31057"/>
                </a:avLst>
              </a:prstGeom>
              <a:solidFill>
                <a:schemeClr val="accent1">
                  <a:lumMod val="75000"/>
                </a:schemeClr>
              </a:solidFill>
              <a:ln w="12700" cap="flat" cmpd="sng" algn="ctr">
                <a:solidFill>
                  <a:srgbClr val="000000"/>
                </a:solidFill>
                <a:prstDash val="solid"/>
                <a:round/>
                <a:headEnd type="none" w="med" len="med"/>
                <a:tailEnd type="none" w="med" len="med"/>
              </a:ln>
              <a:effectLst/>
            </p:spPr>
            <p:txBody>
              <a:bodyPr vert="horz" wrap="square" lIns="0" tIns="45720" rIns="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050" b="1"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rPr>
                  <a:t>PIP2</a:t>
                </a:r>
                <a:br>
                  <a:rPr kumimoji="0" lang="en-GB" sz="1050" b="1"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rPr>
                </a:br>
                <a:r>
                  <a:rPr kumimoji="0" lang="en-GB" sz="1050" b="1" i="0" u="none" strike="noStrike" kern="1200" cap="none" spc="0" normalizeH="0" baseline="0" noProof="0">
                    <a:ln>
                      <a:noFill/>
                    </a:ln>
                    <a:solidFill>
                      <a:srgbClr val="FFFFFF">
                        <a:alpha val="95000"/>
                      </a:srgbClr>
                    </a:solidFill>
                    <a:effectLst/>
                    <a:uLnTx/>
                    <a:uFillTx/>
                    <a:latin typeface="Verdana" panose="020B0604030504040204" pitchFamily="34" charset="0"/>
                    <a:ea typeface="Verdana" panose="020B0604030504040204" pitchFamily="34" charset="0"/>
                    <a:cs typeface="Arial" pitchFamily="34" charset="0"/>
                  </a:rPr>
                  <a:t>PIP3</a:t>
                </a:r>
              </a:p>
            </p:txBody>
          </p:sp>
          <p:sp>
            <p:nvSpPr>
              <p:cNvPr id="45" name="Oval 44">
                <a:extLst>
                  <a:ext uri="{FF2B5EF4-FFF2-40B4-BE49-F238E27FC236}">
                    <a16:creationId xmlns:a16="http://schemas.microsoft.com/office/drawing/2014/main" id="{FE695BE8-0497-4CED-A120-B4ED51F2496D}"/>
                  </a:ext>
                </a:extLst>
              </p:cNvPr>
              <p:cNvSpPr/>
              <p:nvPr/>
            </p:nvSpPr>
            <p:spPr bwMode="auto">
              <a:xfrm>
                <a:off x="6871813" y="3380129"/>
                <a:ext cx="165204" cy="165204"/>
              </a:xfrm>
              <a:prstGeom prst="ellipse">
                <a:avLst/>
              </a:prstGeom>
              <a:solidFill>
                <a:srgbClr val="FF5050"/>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alpha val="95000"/>
                      </a:srgbClr>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P</a:t>
                </a:r>
              </a:p>
            </p:txBody>
          </p:sp>
          <p:sp>
            <p:nvSpPr>
              <p:cNvPr id="46" name="Oval 45">
                <a:extLst>
                  <a:ext uri="{FF2B5EF4-FFF2-40B4-BE49-F238E27FC236}">
                    <a16:creationId xmlns:a16="http://schemas.microsoft.com/office/drawing/2014/main" id="{24008033-4D95-4BEA-BA9B-EB279C4660A4}"/>
                  </a:ext>
                </a:extLst>
              </p:cNvPr>
              <p:cNvSpPr/>
              <p:nvPr/>
            </p:nvSpPr>
            <p:spPr bwMode="auto">
              <a:xfrm>
                <a:off x="7306865" y="3380129"/>
                <a:ext cx="165204" cy="165204"/>
              </a:xfrm>
              <a:prstGeom prst="ellipse">
                <a:avLst/>
              </a:prstGeom>
              <a:solidFill>
                <a:srgbClr val="FF5050"/>
              </a:solidFill>
              <a:ln w="12700" cap="flat" cmpd="sng" algn="ctr">
                <a:solidFill>
                  <a:srgbClr val="0000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000000">
                        <a:alpha val="95000"/>
                      </a:srgbClr>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P</a:t>
                </a:r>
              </a:p>
            </p:txBody>
          </p:sp>
          <p:cxnSp>
            <p:nvCxnSpPr>
              <p:cNvPr id="47" name="Straight Arrow Connector 46">
                <a:extLst>
                  <a:ext uri="{FF2B5EF4-FFF2-40B4-BE49-F238E27FC236}">
                    <a16:creationId xmlns:a16="http://schemas.microsoft.com/office/drawing/2014/main" id="{3FEA27A0-76D4-4492-B1BF-7E741A4A58C7}"/>
                  </a:ext>
                </a:extLst>
              </p:cNvPr>
              <p:cNvCxnSpPr>
                <a:cxnSpLocks/>
              </p:cNvCxnSpPr>
              <p:nvPr/>
            </p:nvCxnSpPr>
            <p:spPr bwMode="auto">
              <a:xfrm>
                <a:off x="10588482" y="4293850"/>
                <a:ext cx="0" cy="197862"/>
              </a:xfrm>
              <a:prstGeom prst="straightConnector1">
                <a:avLst/>
              </a:prstGeom>
              <a:solidFill>
                <a:srgbClr val="C0C0C0"/>
              </a:solidFill>
              <a:ln w="19050" cap="flat" cmpd="sng" algn="ctr">
                <a:solidFill>
                  <a:srgbClr val="000000"/>
                </a:solidFill>
                <a:prstDash val="solid"/>
                <a:round/>
                <a:headEnd type="none" w="med" len="med"/>
                <a:tailEnd type="triangle"/>
              </a:ln>
              <a:effectLst/>
            </p:spPr>
          </p:cxnSp>
        </p:grpSp>
        <p:sp>
          <p:nvSpPr>
            <p:cNvPr id="297" name="Rectangle 296">
              <a:extLst>
                <a:ext uri="{FF2B5EF4-FFF2-40B4-BE49-F238E27FC236}">
                  <a16:creationId xmlns:a16="http://schemas.microsoft.com/office/drawing/2014/main" id="{3629B94B-601F-4480-B534-8C77611045B3}"/>
                </a:ext>
              </a:extLst>
            </p:cNvPr>
            <p:cNvSpPr/>
            <p:nvPr/>
          </p:nvSpPr>
          <p:spPr>
            <a:xfrm>
              <a:off x="8292993" y="1795075"/>
              <a:ext cx="3574622" cy="451282"/>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B21E6C"/>
                  </a:solidFill>
                  <a:effectLst/>
                  <a:uLnTx/>
                  <a:uFillTx/>
                  <a:latin typeface="Verdana" panose="020B0604030504040204" pitchFamily="34" charset="0"/>
                  <a:ea typeface="Verdana" panose="020B0604030504040204" pitchFamily="34" charset="0"/>
                  <a:cs typeface="+mn-cs"/>
                </a:rPr>
                <a:t>Therapeutic Targeting of PDGF/PDGFR </a:t>
              </a:r>
              <a:br>
                <a:rPr kumimoji="0" lang="en-GB" sz="1400" b="1" i="0" u="none" strike="noStrike" kern="1200" cap="none" spc="0" normalizeH="0" baseline="0" noProof="0" dirty="0">
                  <a:ln>
                    <a:noFill/>
                  </a:ln>
                  <a:solidFill>
                    <a:srgbClr val="B21E6C"/>
                  </a:solidFill>
                  <a:effectLst/>
                  <a:uLnTx/>
                  <a:uFillTx/>
                  <a:latin typeface="Verdana" panose="020B0604030504040204" pitchFamily="34" charset="0"/>
                  <a:ea typeface="Verdana" panose="020B0604030504040204" pitchFamily="34" charset="0"/>
                  <a:cs typeface="+mn-cs"/>
                </a:rPr>
              </a:br>
              <a:r>
                <a:rPr kumimoji="0" lang="en-GB" sz="1400" b="1" i="0" u="none" strike="noStrike" kern="1200" cap="none" spc="0" normalizeH="0" baseline="0" noProof="0" dirty="0">
                  <a:ln>
                    <a:noFill/>
                  </a:ln>
                  <a:solidFill>
                    <a:srgbClr val="B21E6C"/>
                  </a:solidFill>
                  <a:effectLst/>
                  <a:uLnTx/>
                  <a:uFillTx/>
                  <a:latin typeface="Verdana" panose="020B0604030504040204" pitchFamily="34" charset="0"/>
                  <a:ea typeface="Verdana" panose="020B0604030504040204" pitchFamily="34" charset="0"/>
                  <a:cs typeface="+mn-cs"/>
                </a:rPr>
                <a:t>Signalling in PAH</a:t>
              </a:r>
              <a:r>
                <a:rPr kumimoji="0" lang="en-GB" sz="1400" b="0" i="0" u="none" strike="noStrike" kern="1200" cap="none" spc="0" normalizeH="0" baseline="30000" noProof="0" dirty="0">
                  <a:ln>
                    <a:noFill/>
                  </a:ln>
                  <a:solidFill>
                    <a:srgbClr val="B21E6C"/>
                  </a:solidFill>
                  <a:effectLst/>
                  <a:uLnTx/>
                  <a:uFillTx/>
                  <a:latin typeface="Verdana" panose="020B0604030504040204" pitchFamily="34" charset="0"/>
                  <a:ea typeface="Verdana" panose="020B0604030504040204" pitchFamily="34" charset="0"/>
                  <a:cs typeface="+mn-cs"/>
                </a:rPr>
                <a:t>1</a:t>
              </a:r>
            </a:p>
          </p:txBody>
        </p:sp>
        <p:sp>
          <p:nvSpPr>
            <p:cNvPr id="298" name="TextBox 297">
              <a:extLst>
                <a:ext uri="{FF2B5EF4-FFF2-40B4-BE49-F238E27FC236}">
                  <a16:creationId xmlns:a16="http://schemas.microsoft.com/office/drawing/2014/main" id="{D95E264A-7489-4362-A7E0-EC51046FD472}"/>
                </a:ext>
              </a:extLst>
            </p:cNvPr>
            <p:cNvSpPr txBox="1"/>
            <p:nvPr/>
          </p:nvSpPr>
          <p:spPr>
            <a:xfrm>
              <a:off x="9870012" y="5003089"/>
              <a:ext cx="674793"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0000">
                      <a:alpha val="50000"/>
                    </a:srgbClr>
                  </a:solidFill>
                  <a:effectLst/>
                  <a:uLnTx/>
                  <a:uFillTx/>
                  <a:latin typeface="Verdana" panose="020B0604030504040204" pitchFamily="34" charset="0"/>
                  <a:ea typeface="Verdana" panose="020B0604030504040204" pitchFamily="34" charset="0"/>
                  <a:cs typeface="+mn-cs"/>
                </a:rPr>
                <a:t>PDG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a:ln>
                    <a:noFill/>
                  </a:ln>
                  <a:solidFill>
                    <a:srgbClr val="FF0000">
                      <a:alpha val="50000"/>
                    </a:srgbClr>
                  </a:solidFill>
                  <a:effectLst/>
                  <a:uLnTx/>
                  <a:uFillTx/>
                  <a:latin typeface="Verdana" panose="020B0604030504040204" pitchFamily="34" charset="0"/>
                  <a:ea typeface="Verdana" panose="020B0604030504040204" pitchFamily="34" charset="0"/>
                  <a:cs typeface="+mn-cs"/>
                </a:rPr>
                <a:t>PDGFR</a:t>
              </a:r>
            </a:p>
          </p:txBody>
        </p:sp>
        <p:grpSp>
          <p:nvGrpSpPr>
            <p:cNvPr id="299" name="Group 298">
              <a:extLst>
                <a:ext uri="{FF2B5EF4-FFF2-40B4-BE49-F238E27FC236}">
                  <a16:creationId xmlns:a16="http://schemas.microsoft.com/office/drawing/2014/main" id="{527306DA-DA46-4667-892A-A52D79C6F287}"/>
                </a:ext>
              </a:extLst>
            </p:cNvPr>
            <p:cNvGrpSpPr/>
            <p:nvPr/>
          </p:nvGrpSpPr>
          <p:grpSpPr>
            <a:xfrm>
              <a:off x="10485472" y="5083631"/>
              <a:ext cx="365824" cy="180000"/>
              <a:chOff x="8502186" y="1066935"/>
              <a:chExt cx="365824" cy="180000"/>
            </a:xfrm>
          </p:grpSpPr>
          <p:cxnSp>
            <p:nvCxnSpPr>
              <p:cNvPr id="300" name="Straight Arrow Connector 299">
                <a:extLst>
                  <a:ext uri="{FF2B5EF4-FFF2-40B4-BE49-F238E27FC236}">
                    <a16:creationId xmlns:a16="http://schemas.microsoft.com/office/drawing/2014/main" id="{E34B9DAC-469A-41BE-8BC1-F0D75DE75797}"/>
                  </a:ext>
                </a:extLst>
              </p:cNvPr>
              <p:cNvCxnSpPr>
                <a:cxnSpLocks/>
              </p:cNvCxnSpPr>
              <p:nvPr/>
            </p:nvCxnSpPr>
            <p:spPr bwMode="auto">
              <a:xfrm rot="5400000">
                <a:off x="8682186" y="1066935"/>
                <a:ext cx="0" cy="360000"/>
              </a:xfrm>
              <a:prstGeom prst="straightConnector1">
                <a:avLst/>
              </a:prstGeom>
              <a:solidFill>
                <a:srgbClr val="C0C0C0"/>
              </a:solidFill>
              <a:ln w="38100" cap="rnd" cmpd="sng" algn="ctr">
                <a:solidFill>
                  <a:srgbClr val="FF0000">
                    <a:alpha val="50000"/>
                  </a:srgbClr>
                </a:solidFill>
                <a:prstDash val="solid"/>
                <a:round/>
                <a:headEnd type="none" w="med" len="med"/>
                <a:tailEnd type="triangle"/>
              </a:ln>
              <a:effectLst/>
            </p:spPr>
          </p:cxnSp>
          <p:cxnSp>
            <p:nvCxnSpPr>
              <p:cNvPr id="301" name="Straight Connector 300">
                <a:extLst>
                  <a:ext uri="{FF2B5EF4-FFF2-40B4-BE49-F238E27FC236}">
                    <a16:creationId xmlns:a16="http://schemas.microsoft.com/office/drawing/2014/main" id="{D343A5D1-32E0-4FFD-9157-776BA46F521C}"/>
                  </a:ext>
                </a:extLst>
              </p:cNvPr>
              <p:cNvCxnSpPr/>
              <p:nvPr/>
            </p:nvCxnSpPr>
            <p:spPr bwMode="auto">
              <a:xfrm flipV="1">
                <a:off x="8868010" y="1066935"/>
                <a:ext cx="0" cy="180000"/>
              </a:xfrm>
              <a:prstGeom prst="line">
                <a:avLst/>
              </a:prstGeom>
              <a:solidFill>
                <a:srgbClr val="C0C0C0"/>
              </a:solidFill>
              <a:ln w="38100" cap="rnd" cmpd="sng" algn="ctr">
                <a:solidFill>
                  <a:srgbClr val="FF0000">
                    <a:alpha val="50000"/>
                  </a:srgbClr>
                </a:solidFill>
                <a:prstDash val="solid"/>
                <a:round/>
                <a:headEnd type="none" w="med" len="med"/>
                <a:tailEnd type="none" w="med" len="med"/>
              </a:ln>
              <a:effectLst/>
            </p:spPr>
          </p:cxnSp>
        </p:grpSp>
        <p:cxnSp>
          <p:nvCxnSpPr>
            <p:cNvPr id="302" name="Straight Arrow Connector 301">
              <a:extLst>
                <a:ext uri="{FF2B5EF4-FFF2-40B4-BE49-F238E27FC236}">
                  <a16:creationId xmlns:a16="http://schemas.microsoft.com/office/drawing/2014/main" id="{97FD6B98-15FF-4FA4-BC6A-459854608421}"/>
                </a:ext>
              </a:extLst>
            </p:cNvPr>
            <p:cNvCxnSpPr>
              <a:cxnSpLocks/>
            </p:cNvCxnSpPr>
            <p:nvPr/>
          </p:nvCxnSpPr>
          <p:spPr bwMode="auto">
            <a:xfrm rot="10800000">
              <a:off x="9870012" y="5003089"/>
              <a:ext cx="0" cy="360000"/>
            </a:xfrm>
            <a:prstGeom prst="straightConnector1">
              <a:avLst/>
            </a:prstGeom>
            <a:solidFill>
              <a:srgbClr val="C0C0C0"/>
            </a:solidFill>
            <a:ln w="38100" cap="rnd" cmpd="sng" algn="ctr">
              <a:solidFill>
                <a:srgbClr val="FF0000">
                  <a:alpha val="50000"/>
                </a:srgbClr>
              </a:solidFill>
              <a:prstDash val="solid"/>
              <a:round/>
              <a:headEnd type="none" w="med" len="med"/>
              <a:tailEnd type="triangle"/>
            </a:ln>
            <a:effectLst/>
          </p:spPr>
        </p:cxnSp>
        <p:cxnSp>
          <p:nvCxnSpPr>
            <p:cNvPr id="303" name="Straight Arrow Connector 302">
              <a:extLst>
                <a:ext uri="{FF2B5EF4-FFF2-40B4-BE49-F238E27FC236}">
                  <a16:creationId xmlns:a16="http://schemas.microsoft.com/office/drawing/2014/main" id="{BD76F168-33BE-465C-844F-7A4F5C1EFB4C}"/>
                </a:ext>
              </a:extLst>
            </p:cNvPr>
            <p:cNvCxnSpPr>
              <a:cxnSpLocks/>
            </p:cNvCxnSpPr>
            <p:nvPr/>
          </p:nvCxnSpPr>
          <p:spPr bwMode="auto">
            <a:xfrm flipV="1">
              <a:off x="6989047" y="1854197"/>
              <a:ext cx="0" cy="307943"/>
            </a:xfrm>
            <a:prstGeom prst="straightConnector1">
              <a:avLst/>
            </a:prstGeom>
            <a:solidFill>
              <a:srgbClr val="C0C0C0"/>
            </a:solidFill>
            <a:ln w="38100" cap="rnd" cmpd="sng" algn="ctr">
              <a:solidFill>
                <a:srgbClr val="FF0000">
                  <a:alpha val="50000"/>
                </a:srgbClr>
              </a:solidFill>
              <a:prstDash val="solid"/>
              <a:round/>
              <a:headEnd type="none" w="med" len="med"/>
              <a:tailEnd type="triangle"/>
            </a:ln>
            <a:effectLst/>
          </p:spPr>
        </p:cxnSp>
        <p:sp>
          <p:nvSpPr>
            <p:cNvPr id="304" name="TextBox 303">
              <a:extLst>
                <a:ext uri="{FF2B5EF4-FFF2-40B4-BE49-F238E27FC236}">
                  <a16:creationId xmlns:a16="http://schemas.microsoft.com/office/drawing/2014/main" id="{AEEF381F-7D7D-4F6C-A696-DB20743D5CCA}"/>
                </a:ext>
              </a:extLst>
            </p:cNvPr>
            <p:cNvSpPr txBox="1"/>
            <p:nvPr/>
          </p:nvSpPr>
          <p:spPr>
            <a:xfrm>
              <a:off x="8940736" y="2205484"/>
              <a:ext cx="120275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75C9"/>
                  </a:solidFill>
                  <a:effectLst/>
                  <a:uLnTx/>
                  <a:uFillTx/>
                  <a:latin typeface="Verdana" panose="020B0604030504040204" pitchFamily="34" charset="0"/>
                  <a:ea typeface="Verdana" panose="020B0604030504040204" pitchFamily="34" charset="0"/>
                  <a:cs typeface="Arial" pitchFamily="34" charset="0"/>
                </a:rPr>
                <a:t>Imatin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0075C9"/>
                  </a:solidFill>
                  <a:effectLst/>
                  <a:uLnTx/>
                  <a:uFillTx/>
                  <a:latin typeface="Verdana" panose="020B0604030504040204" pitchFamily="34" charset="0"/>
                  <a:ea typeface="Verdana" panose="020B0604030504040204" pitchFamily="34" charset="0"/>
                  <a:cs typeface="Arial" pitchFamily="34" charset="0"/>
                </a:rPr>
                <a:t>GB002</a:t>
              </a:r>
            </a:p>
          </p:txBody>
        </p:sp>
        <p:grpSp>
          <p:nvGrpSpPr>
            <p:cNvPr id="305" name="Group 304">
              <a:extLst>
                <a:ext uri="{FF2B5EF4-FFF2-40B4-BE49-F238E27FC236}">
                  <a16:creationId xmlns:a16="http://schemas.microsoft.com/office/drawing/2014/main" id="{0E562F20-723E-4BDE-91CD-C4F90E411D07}"/>
                </a:ext>
              </a:extLst>
            </p:cNvPr>
            <p:cNvGrpSpPr/>
            <p:nvPr/>
          </p:nvGrpSpPr>
          <p:grpSpPr>
            <a:xfrm rot="16200000">
              <a:off x="8796750" y="2324562"/>
              <a:ext cx="168166" cy="228246"/>
              <a:chOff x="4508938" y="4900980"/>
              <a:chExt cx="168166" cy="270414"/>
            </a:xfrm>
          </p:grpSpPr>
          <p:cxnSp>
            <p:nvCxnSpPr>
              <p:cNvPr id="306" name="Straight Connector 305">
                <a:extLst>
                  <a:ext uri="{FF2B5EF4-FFF2-40B4-BE49-F238E27FC236}">
                    <a16:creationId xmlns:a16="http://schemas.microsoft.com/office/drawing/2014/main" id="{0339BEB6-B380-408F-B8B9-CFA8934F0CE8}"/>
                  </a:ext>
                </a:extLst>
              </p:cNvPr>
              <p:cNvCxnSpPr>
                <a:cxnSpLocks/>
              </p:cNvCxnSpPr>
              <p:nvPr/>
            </p:nvCxnSpPr>
            <p:spPr bwMode="auto">
              <a:xfrm>
                <a:off x="4593021" y="4900980"/>
                <a:ext cx="0" cy="270414"/>
              </a:xfrm>
              <a:prstGeom prst="line">
                <a:avLst/>
              </a:prstGeom>
              <a:solidFill>
                <a:srgbClr val="C0C0C0"/>
              </a:solidFill>
              <a:ln w="28575" cap="flat" cmpd="sng" algn="ctr">
                <a:solidFill>
                  <a:schemeClr val="accent4"/>
                </a:solidFill>
                <a:prstDash val="solid"/>
                <a:round/>
                <a:headEnd type="none" w="med" len="med"/>
                <a:tailEnd type="none" w="med" len="med"/>
              </a:ln>
              <a:effectLst/>
            </p:spPr>
          </p:cxnSp>
          <p:cxnSp>
            <p:nvCxnSpPr>
              <p:cNvPr id="307" name="Straight Connector 306">
                <a:extLst>
                  <a:ext uri="{FF2B5EF4-FFF2-40B4-BE49-F238E27FC236}">
                    <a16:creationId xmlns:a16="http://schemas.microsoft.com/office/drawing/2014/main" id="{0C61D5DC-D4BD-4117-92E4-530E900C116E}"/>
                  </a:ext>
                </a:extLst>
              </p:cNvPr>
              <p:cNvCxnSpPr>
                <a:cxnSpLocks/>
              </p:cNvCxnSpPr>
              <p:nvPr/>
            </p:nvCxnSpPr>
            <p:spPr bwMode="auto">
              <a:xfrm>
                <a:off x="4508938" y="4900980"/>
                <a:ext cx="168166" cy="0"/>
              </a:xfrm>
              <a:prstGeom prst="line">
                <a:avLst/>
              </a:prstGeom>
              <a:solidFill>
                <a:srgbClr val="C0C0C0"/>
              </a:solidFill>
              <a:ln w="28575" cap="flat" cmpd="sng" algn="ctr">
                <a:solidFill>
                  <a:schemeClr val="accent4"/>
                </a:solidFill>
                <a:prstDash val="solid"/>
                <a:round/>
                <a:headEnd type="none" w="med" len="med"/>
                <a:tailEnd type="none" w="med" len="med"/>
              </a:ln>
              <a:effectLst/>
            </p:spPr>
          </p:cxnSp>
        </p:grpSp>
        <p:cxnSp>
          <p:nvCxnSpPr>
            <p:cNvPr id="308" name="Straight Arrow Connector 307">
              <a:extLst>
                <a:ext uri="{FF2B5EF4-FFF2-40B4-BE49-F238E27FC236}">
                  <a16:creationId xmlns:a16="http://schemas.microsoft.com/office/drawing/2014/main" id="{F5E67BC4-5E2C-45E3-9CAD-571A31B9ED32}"/>
                </a:ext>
              </a:extLst>
            </p:cNvPr>
            <p:cNvCxnSpPr>
              <a:cxnSpLocks/>
            </p:cNvCxnSpPr>
            <p:nvPr/>
          </p:nvCxnSpPr>
          <p:spPr bwMode="auto">
            <a:xfrm flipV="1">
              <a:off x="8613337" y="2287558"/>
              <a:ext cx="0" cy="307943"/>
            </a:xfrm>
            <a:prstGeom prst="straightConnector1">
              <a:avLst/>
            </a:prstGeom>
            <a:solidFill>
              <a:srgbClr val="C0C0C0"/>
            </a:solidFill>
            <a:ln w="38100" cap="rnd" cmpd="sng" algn="ctr">
              <a:solidFill>
                <a:srgbClr val="FF0000">
                  <a:alpha val="50000"/>
                </a:srgbClr>
              </a:solidFill>
              <a:prstDash val="solid"/>
              <a:round/>
              <a:headEnd type="none" w="med" len="med"/>
              <a:tailEnd type="triangle"/>
            </a:ln>
            <a:effectLst/>
          </p:spPr>
        </p:cxnSp>
        <p:sp>
          <p:nvSpPr>
            <p:cNvPr id="309" name="TextBox 308">
              <a:extLst>
                <a:ext uri="{FF2B5EF4-FFF2-40B4-BE49-F238E27FC236}">
                  <a16:creationId xmlns:a16="http://schemas.microsoft.com/office/drawing/2014/main" id="{D67D4982-7CD3-4491-976F-3B09A2694C9A}"/>
                </a:ext>
              </a:extLst>
            </p:cNvPr>
            <p:cNvSpPr txBox="1"/>
            <p:nvPr/>
          </p:nvSpPr>
          <p:spPr>
            <a:xfrm>
              <a:off x="7875701" y="2343841"/>
              <a:ext cx="736530" cy="2616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rgbClr val="FF0000">
                      <a:alpha val="50000"/>
                    </a:srgbClr>
                  </a:solidFill>
                  <a:effectLst/>
                  <a:uLnTx/>
                  <a:uFillTx/>
                  <a:latin typeface="Verdana" panose="020B0604030504040204" pitchFamily="34" charset="0"/>
                  <a:ea typeface="Verdana" panose="020B0604030504040204" pitchFamily="34" charset="0"/>
                  <a:cs typeface="Arial" pitchFamily="34" charset="0"/>
                </a:rPr>
                <a:t>PDGFR</a:t>
              </a:r>
            </a:p>
          </p:txBody>
        </p:sp>
        <p:grpSp>
          <p:nvGrpSpPr>
            <p:cNvPr id="310" name="Group 309">
              <a:extLst>
                <a:ext uri="{FF2B5EF4-FFF2-40B4-BE49-F238E27FC236}">
                  <a16:creationId xmlns:a16="http://schemas.microsoft.com/office/drawing/2014/main" id="{73ACF332-F7CD-44B3-BBD4-F78B356792DF}"/>
                </a:ext>
              </a:extLst>
            </p:cNvPr>
            <p:cNvGrpSpPr/>
            <p:nvPr/>
          </p:nvGrpSpPr>
          <p:grpSpPr>
            <a:xfrm>
              <a:off x="9696196" y="3752721"/>
              <a:ext cx="97955" cy="238365"/>
              <a:chOff x="6570394" y="5647462"/>
              <a:chExt cx="175779" cy="238365"/>
            </a:xfrm>
          </p:grpSpPr>
          <p:cxnSp>
            <p:nvCxnSpPr>
              <p:cNvPr id="311" name="Straight Arrow Connector 310">
                <a:extLst>
                  <a:ext uri="{FF2B5EF4-FFF2-40B4-BE49-F238E27FC236}">
                    <a16:creationId xmlns:a16="http://schemas.microsoft.com/office/drawing/2014/main" id="{BF7EB685-9EC9-4AF0-AB52-0738B8CFF411}"/>
                  </a:ext>
                </a:extLst>
              </p:cNvPr>
              <p:cNvCxnSpPr>
                <a:cxnSpLocks/>
              </p:cNvCxnSpPr>
              <p:nvPr/>
            </p:nvCxnSpPr>
            <p:spPr bwMode="auto">
              <a:xfrm flipH="1">
                <a:off x="6570394" y="5647462"/>
                <a:ext cx="175779" cy="0"/>
              </a:xfrm>
              <a:prstGeom prst="straightConnector1">
                <a:avLst/>
              </a:prstGeom>
              <a:solidFill>
                <a:srgbClr val="C0C0C0"/>
              </a:solidFill>
              <a:ln w="19050" cap="flat" cmpd="sng" algn="ctr">
                <a:solidFill>
                  <a:srgbClr val="000000"/>
                </a:solidFill>
                <a:prstDash val="solid"/>
                <a:round/>
                <a:headEnd type="none" w="med" len="med"/>
                <a:tailEnd type="none"/>
              </a:ln>
              <a:effectLst/>
            </p:spPr>
          </p:cxnSp>
          <p:cxnSp>
            <p:nvCxnSpPr>
              <p:cNvPr id="312" name="Straight Arrow Connector 311">
                <a:extLst>
                  <a:ext uri="{FF2B5EF4-FFF2-40B4-BE49-F238E27FC236}">
                    <a16:creationId xmlns:a16="http://schemas.microsoft.com/office/drawing/2014/main" id="{E36F5B6B-F82B-494C-9366-197C8832078A}"/>
                  </a:ext>
                </a:extLst>
              </p:cNvPr>
              <p:cNvCxnSpPr>
                <a:cxnSpLocks/>
              </p:cNvCxnSpPr>
              <p:nvPr/>
            </p:nvCxnSpPr>
            <p:spPr bwMode="auto">
              <a:xfrm flipV="1">
                <a:off x="6665204" y="5654949"/>
                <a:ext cx="0" cy="230878"/>
              </a:xfrm>
              <a:prstGeom prst="straightConnector1">
                <a:avLst/>
              </a:prstGeom>
              <a:solidFill>
                <a:srgbClr val="C0C0C0"/>
              </a:solidFill>
              <a:ln w="19050" cap="flat" cmpd="sng" algn="ctr">
                <a:solidFill>
                  <a:srgbClr val="000000"/>
                </a:solidFill>
                <a:prstDash val="solid"/>
                <a:round/>
                <a:headEnd type="none" w="med" len="med"/>
                <a:tailEnd type="none"/>
              </a:ln>
              <a:effectLst/>
            </p:spPr>
          </p:cxnSp>
        </p:grpSp>
      </p:grpSp>
      <p:sp>
        <p:nvSpPr>
          <p:cNvPr id="2" name="Title 1">
            <a:extLst>
              <a:ext uri="{FF2B5EF4-FFF2-40B4-BE49-F238E27FC236}">
                <a16:creationId xmlns:a16="http://schemas.microsoft.com/office/drawing/2014/main" id="{A6CBF6AE-AB04-4729-BD5F-AB98D6531C10}"/>
              </a:ext>
            </a:extLst>
          </p:cNvPr>
          <p:cNvSpPr>
            <a:spLocks noGrp="1"/>
          </p:cNvSpPr>
          <p:nvPr>
            <p:ph type="title"/>
          </p:nvPr>
        </p:nvSpPr>
        <p:spPr>
          <a:xfrm>
            <a:off x="378681" y="272833"/>
            <a:ext cx="11262028" cy="775597"/>
          </a:xfrm>
        </p:spPr>
        <p:txBody>
          <a:bodyPr>
            <a:noAutofit/>
          </a:bodyPr>
          <a:lstStyle/>
          <a:p>
            <a:r>
              <a:rPr lang="en-GB" noProof="0" dirty="0"/>
              <a:t>The Role of PDGF </a:t>
            </a:r>
            <a:r>
              <a:rPr lang="en-GB" noProof="0" dirty="0" err="1"/>
              <a:t>Signaling</a:t>
            </a:r>
            <a:r>
              <a:rPr lang="en-GB" noProof="0" dirty="0"/>
              <a:t> Inhibitors as a Therapeutic Option in PAH</a:t>
            </a:r>
          </a:p>
        </p:txBody>
      </p:sp>
      <p:grpSp>
        <p:nvGrpSpPr>
          <p:cNvPr id="313" name="Group 312">
            <a:extLst>
              <a:ext uri="{FF2B5EF4-FFF2-40B4-BE49-F238E27FC236}">
                <a16:creationId xmlns:a16="http://schemas.microsoft.com/office/drawing/2014/main" id="{A00DAED6-8F0A-4488-967A-B372F6A924F6}"/>
              </a:ext>
            </a:extLst>
          </p:cNvPr>
          <p:cNvGrpSpPr/>
          <p:nvPr/>
        </p:nvGrpSpPr>
        <p:grpSpPr>
          <a:xfrm>
            <a:off x="425240" y="1805450"/>
            <a:ext cx="5301135" cy="2044047"/>
            <a:chOff x="601600" y="1195001"/>
            <a:chExt cx="5246749" cy="3265320"/>
          </a:xfrm>
        </p:grpSpPr>
        <p:sp>
          <p:nvSpPr>
            <p:cNvPr id="314" name="Rectangle 313">
              <a:extLst>
                <a:ext uri="{FF2B5EF4-FFF2-40B4-BE49-F238E27FC236}">
                  <a16:creationId xmlns:a16="http://schemas.microsoft.com/office/drawing/2014/main" id="{01329F55-25A7-4D64-9810-F0D1FC208115}"/>
                </a:ext>
              </a:extLst>
            </p:cNvPr>
            <p:cNvSpPr/>
            <p:nvPr/>
          </p:nvSpPr>
          <p:spPr bwMode="auto">
            <a:xfrm>
              <a:off x="603073" y="1760531"/>
              <a:ext cx="5238844" cy="2699790"/>
            </a:xfrm>
            <a:prstGeom prst="rect">
              <a:avLst/>
            </a:prstGeom>
            <a:ln w="28575">
              <a:solidFill>
                <a:schemeClr val="accent2"/>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10800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400" b="1" i="0" u="none" strike="noStrike" kern="1200" cap="none" spc="0" normalizeH="0" baseline="0" noProof="0" dirty="0">
                  <a:ln>
                    <a:noFill/>
                  </a:ln>
                  <a:solidFill>
                    <a:srgbClr val="3F3F3F"/>
                  </a:solidFill>
                  <a:effectLst/>
                  <a:uLnTx/>
                  <a:uFillTx/>
                  <a:latin typeface="Verdana" panose="020B0604030504040204" pitchFamily="34" charset="0"/>
                  <a:ea typeface="Verdana" panose="020B0604030504040204" pitchFamily="34" charset="0"/>
                  <a:cs typeface="+mn-cs"/>
                </a:rPr>
                <a:t>Selective tyrosine kinase inhibitor</a:t>
              </a:r>
              <a:r>
                <a:rPr kumimoji="0" lang="en-GB" sz="1400" b="1" i="0" u="none" strike="noStrike" kern="1200" cap="none" spc="0" normalizeH="0" baseline="30000" noProof="0" dirty="0">
                  <a:ln>
                    <a:noFill/>
                  </a:ln>
                  <a:solidFill>
                    <a:srgbClr val="3F3F3F"/>
                  </a:solidFill>
                  <a:effectLst/>
                  <a:uLnTx/>
                  <a:uFillTx/>
                  <a:latin typeface="Verdana" panose="020B0604030504040204" pitchFamily="34" charset="0"/>
                  <a:ea typeface="Verdana" panose="020B0604030504040204" pitchFamily="34" charset="0"/>
                  <a:cs typeface="+mn-cs"/>
                </a:rPr>
                <a:t>1,2</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3F3F3F"/>
                  </a:solidFill>
                  <a:effectLst/>
                  <a:uLnTx/>
                  <a:uFillTx/>
                  <a:latin typeface="Verdana" panose="020B0604030504040204" pitchFamily="34" charset="0"/>
                  <a:ea typeface="Verdana" panose="020B0604030504040204" pitchFamily="34" charset="0"/>
                  <a:cs typeface="+mn-cs"/>
                </a:rPr>
                <a:t>IMPRES: Phase III study, improved exercise capacity and </a:t>
              </a:r>
              <a:r>
                <a:rPr kumimoji="0" lang="en-GB" sz="1400" b="0" i="0" u="none" strike="noStrike" kern="1200" cap="none" spc="0" normalizeH="0" baseline="0" noProof="0" dirty="0" err="1">
                  <a:ln>
                    <a:noFill/>
                  </a:ln>
                  <a:solidFill>
                    <a:srgbClr val="3F3F3F"/>
                  </a:solidFill>
                  <a:effectLst/>
                  <a:uLnTx/>
                  <a:uFillTx/>
                  <a:latin typeface="Verdana" panose="020B0604030504040204" pitchFamily="34" charset="0"/>
                  <a:ea typeface="Verdana" panose="020B0604030504040204" pitchFamily="34" charset="0"/>
                  <a:cs typeface="+mn-cs"/>
                </a:rPr>
                <a:t>haemodynamics</a:t>
              </a:r>
              <a:r>
                <a:rPr kumimoji="0" lang="en-GB" sz="1400" b="0" i="0" u="none" strike="noStrike" kern="1200" cap="none" spc="0" normalizeH="0" baseline="0" noProof="0" dirty="0">
                  <a:ln>
                    <a:noFill/>
                  </a:ln>
                  <a:solidFill>
                    <a:srgbClr val="3F3F3F"/>
                  </a:solidFill>
                  <a:effectLst/>
                  <a:uLnTx/>
                  <a:uFillTx/>
                  <a:latin typeface="Verdana" panose="020B0604030504040204" pitchFamily="34" charset="0"/>
                  <a:ea typeface="Verdana" panose="020B0604030504040204" pitchFamily="34" charset="0"/>
                  <a:cs typeface="+mn-cs"/>
                </a:rPr>
                <a:t> in patients with advanced PAH</a:t>
              </a:r>
              <a:r>
                <a:rPr kumimoji="0" lang="en-GB" sz="1400" b="0" i="0" u="none" strike="noStrike" kern="1200" cap="none" spc="0" normalizeH="0" baseline="30000" noProof="0" dirty="0">
                  <a:ln>
                    <a:noFill/>
                  </a:ln>
                  <a:solidFill>
                    <a:srgbClr val="3F3F3F"/>
                  </a:solidFill>
                  <a:effectLst/>
                  <a:uLnTx/>
                  <a:uFillTx/>
                  <a:latin typeface="Verdana" panose="020B0604030504040204" pitchFamily="34" charset="0"/>
                  <a:ea typeface="Verdana" panose="020B0604030504040204" pitchFamily="34" charset="0"/>
                  <a:cs typeface="+mn-cs"/>
                </a:rPr>
                <a:t>1,2</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3F3F3F"/>
                  </a:solidFill>
                  <a:effectLst/>
                  <a:uLnTx/>
                  <a:uFillTx/>
                  <a:latin typeface="Verdana" panose="020B0604030504040204" pitchFamily="34" charset="0"/>
                  <a:ea typeface="Verdana" panose="020B0604030504040204" pitchFamily="34" charset="0"/>
                  <a:cs typeface="+mn-cs"/>
                </a:rPr>
                <a:t>Serious adverse events were common, however</a:t>
              </a:r>
              <a:r>
                <a:rPr kumimoji="0" lang="en-GB" sz="1400" b="0" i="0" u="none" strike="noStrike" kern="1200" cap="none" spc="0" normalizeH="0" baseline="30000" noProof="0" dirty="0">
                  <a:ln>
                    <a:noFill/>
                  </a:ln>
                  <a:solidFill>
                    <a:srgbClr val="3F3F3F"/>
                  </a:solidFill>
                  <a:effectLst/>
                  <a:uLnTx/>
                  <a:uFillTx/>
                  <a:latin typeface="Verdana" panose="020B0604030504040204" pitchFamily="34" charset="0"/>
                  <a:ea typeface="Verdana" panose="020B0604030504040204" pitchFamily="34" charset="0"/>
                  <a:cs typeface="+mn-cs"/>
                </a:rPr>
                <a:t>1,2</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3F3F3F"/>
                  </a:solidFill>
                  <a:effectLst/>
                  <a:uLnTx/>
                  <a:uFillTx/>
                  <a:latin typeface="Verdana" panose="020B0604030504040204" pitchFamily="34" charset="0"/>
                  <a:ea typeface="Verdana" panose="020B0604030504040204" pitchFamily="34" charset="0"/>
                  <a:cs typeface="+mn-cs"/>
                </a:rPr>
                <a:t>Planned Phase I-III studies evaluating inhaled imatinib</a:t>
              </a:r>
              <a:r>
                <a:rPr kumimoji="0" lang="en-GB" sz="1400" b="0" i="0" u="none" strike="noStrike" kern="1200" cap="none" spc="0" normalizeH="0" baseline="30000" noProof="0" dirty="0">
                  <a:ln>
                    <a:noFill/>
                  </a:ln>
                  <a:solidFill>
                    <a:srgbClr val="3F3F3F"/>
                  </a:solidFill>
                  <a:effectLst/>
                  <a:uLnTx/>
                  <a:uFillTx/>
                  <a:latin typeface="Verdana" panose="020B0604030504040204" pitchFamily="34" charset="0"/>
                  <a:ea typeface="Verdana" panose="020B0604030504040204" pitchFamily="34" charset="0"/>
                  <a:cs typeface="+mn-cs"/>
                </a:rPr>
                <a:t>3,4</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400" b="0" i="0" u="none" strike="noStrike" kern="1200" cap="none" spc="0" normalizeH="0" baseline="0" noProof="0" dirty="0">
                <a:ln>
                  <a:noFill/>
                </a:ln>
                <a:solidFill>
                  <a:srgbClr val="3F3F3F"/>
                </a:solidFill>
                <a:effectLst/>
                <a:uLnTx/>
                <a:uFillTx/>
                <a:latin typeface="Verdana" panose="020B0604030504040204" pitchFamily="34" charset="0"/>
                <a:ea typeface="Verdana" panose="020B0604030504040204" pitchFamily="34" charset="0"/>
                <a:cs typeface="+mn-cs"/>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400" b="0" i="0" u="none" strike="noStrike" kern="1200" cap="none" spc="0" normalizeH="0" baseline="30000" noProof="0" dirty="0">
                <a:ln>
                  <a:noFill/>
                </a:ln>
                <a:solidFill>
                  <a:srgbClr val="3F3F3F"/>
                </a:solidFill>
                <a:effectLst/>
                <a:uLnTx/>
                <a:uFillTx/>
                <a:latin typeface="Verdana" panose="020B0604030504040204" pitchFamily="34" charset="0"/>
                <a:ea typeface="Verdana" panose="020B0604030504040204" pitchFamily="34" charset="0"/>
                <a:cs typeface="+mn-cs"/>
              </a:endParaRPr>
            </a:p>
          </p:txBody>
        </p:sp>
        <p:sp>
          <p:nvSpPr>
            <p:cNvPr id="315" name="Rectangle 314">
              <a:extLst>
                <a:ext uri="{FF2B5EF4-FFF2-40B4-BE49-F238E27FC236}">
                  <a16:creationId xmlns:a16="http://schemas.microsoft.com/office/drawing/2014/main" id="{15DC0C86-9A95-459C-8C31-2A13918E7B8E}"/>
                </a:ext>
              </a:extLst>
            </p:cNvPr>
            <p:cNvSpPr/>
            <p:nvPr/>
          </p:nvSpPr>
          <p:spPr bwMode="auto">
            <a:xfrm>
              <a:off x="601600" y="1195001"/>
              <a:ext cx="5246749" cy="565528"/>
            </a:xfrm>
            <a:prstGeom prst="rect">
              <a:avLst/>
            </a:prstGeom>
            <a:solidFill>
              <a:schemeClr val="accent2"/>
            </a:solidFill>
            <a:ln>
              <a:solidFill>
                <a:schemeClr val="accent2"/>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Imatinib</a:t>
              </a:r>
              <a:endParaRPr kumimoji="0" lang="en-US" sz="1800" b="1"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grpSp>
      <p:grpSp>
        <p:nvGrpSpPr>
          <p:cNvPr id="319" name="Group 318">
            <a:extLst>
              <a:ext uri="{FF2B5EF4-FFF2-40B4-BE49-F238E27FC236}">
                <a16:creationId xmlns:a16="http://schemas.microsoft.com/office/drawing/2014/main" id="{D7596B1F-5F08-447B-BE49-387A1DF6779B}"/>
              </a:ext>
            </a:extLst>
          </p:cNvPr>
          <p:cNvGrpSpPr/>
          <p:nvPr/>
        </p:nvGrpSpPr>
        <p:grpSpPr>
          <a:xfrm>
            <a:off x="408981" y="4154525"/>
            <a:ext cx="5301135" cy="1516661"/>
            <a:chOff x="601600" y="1195001"/>
            <a:chExt cx="5246749" cy="2422831"/>
          </a:xfrm>
        </p:grpSpPr>
        <p:sp>
          <p:nvSpPr>
            <p:cNvPr id="320" name="Rectangle 319">
              <a:extLst>
                <a:ext uri="{FF2B5EF4-FFF2-40B4-BE49-F238E27FC236}">
                  <a16:creationId xmlns:a16="http://schemas.microsoft.com/office/drawing/2014/main" id="{D9A3FB38-654C-4014-9F07-65C22B21E474}"/>
                </a:ext>
              </a:extLst>
            </p:cNvPr>
            <p:cNvSpPr/>
            <p:nvPr/>
          </p:nvSpPr>
          <p:spPr bwMode="auto">
            <a:xfrm>
              <a:off x="603073" y="1760530"/>
              <a:ext cx="5240252" cy="1857302"/>
            </a:xfrm>
            <a:prstGeom prst="rect">
              <a:avLst/>
            </a:prstGeom>
            <a:ln w="28575">
              <a:solidFill>
                <a:schemeClr val="accent2"/>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108000" rIns="91440" bIns="45720" numCol="1" rtlCol="0"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GB" sz="1400" b="1" i="0" u="none" strike="noStrike" kern="1200" cap="none" spc="0" normalizeH="0" baseline="0" noProof="0" dirty="0">
                  <a:ln>
                    <a:noFill/>
                  </a:ln>
                  <a:solidFill>
                    <a:srgbClr val="3F3F3F"/>
                  </a:solidFill>
                  <a:effectLst/>
                  <a:uLnTx/>
                  <a:uFillTx/>
                  <a:latin typeface="Verdana" panose="020B0604030504040204" pitchFamily="34" charset="0"/>
                  <a:ea typeface="Verdana" panose="020B0604030504040204" pitchFamily="34" charset="0"/>
                  <a:cs typeface="+mn-cs"/>
                </a:rPr>
                <a:t>Small molecule PDGFR inhibitor</a:t>
              </a:r>
              <a:r>
                <a:rPr kumimoji="0" lang="en-GB" sz="1400" b="1" i="0" u="none" strike="noStrike" kern="1200" cap="none" spc="0" normalizeH="0" baseline="30000" noProof="0" dirty="0">
                  <a:ln>
                    <a:noFill/>
                  </a:ln>
                  <a:solidFill>
                    <a:srgbClr val="3F3F3F"/>
                  </a:solidFill>
                  <a:effectLst/>
                  <a:uLnTx/>
                  <a:uFillTx/>
                  <a:latin typeface="Verdana" panose="020B0604030504040204" pitchFamily="34" charset="0"/>
                  <a:ea typeface="Verdana" panose="020B0604030504040204" pitchFamily="34" charset="0"/>
                  <a:cs typeface="+mn-cs"/>
                </a:rPr>
                <a:t>5</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GB" sz="1400" b="0" i="0" u="none" strike="noStrike" kern="1200" cap="none" spc="0" normalizeH="0" baseline="0" noProof="0" dirty="0">
                  <a:ln>
                    <a:noFill/>
                  </a:ln>
                  <a:solidFill>
                    <a:srgbClr val="3F3F3F"/>
                  </a:solidFill>
                  <a:effectLst/>
                  <a:uLnTx/>
                  <a:uFillTx/>
                  <a:latin typeface="Verdana" panose="020B0604030504040204" pitchFamily="34" charset="0"/>
                  <a:ea typeface="Verdana" panose="020B0604030504040204" pitchFamily="34" charset="0"/>
                  <a:cs typeface="+mn-cs"/>
                </a:rPr>
                <a:t>Ongoing Phase II study evaluating inhaled GB002 effect on improving </a:t>
              </a:r>
              <a:r>
                <a:rPr kumimoji="0" lang="en-GB" sz="1400" b="0" i="0" u="none" strike="noStrike" kern="1200" cap="none" spc="0" normalizeH="0" baseline="0" noProof="0" dirty="0" err="1">
                  <a:ln>
                    <a:noFill/>
                  </a:ln>
                  <a:solidFill>
                    <a:srgbClr val="3F3F3F"/>
                  </a:solidFill>
                  <a:effectLst/>
                  <a:uLnTx/>
                  <a:uFillTx/>
                  <a:latin typeface="Verdana" panose="020B0604030504040204" pitchFamily="34" charset="0"/>
                  <a:ea typeface="Verdana" panose="020B0604030504040204" pitchFamily="34" charset="0"/>
                  <a:cs typeface="+mn-cs"/>
                </a:rPr>
                <a:t>haemodynamics</a:t>
              </a:r>
              <a:r>
                <a:rPr kumimoji="0" lang="en-GB" sz="1400" b="0" i="0" u="none" strike="noStrike" kern="1200" cap="none" spc="0" normalizeH="0" baseline="0" noProof="0" dirty="0">
                  <a:ln>
                    <a:noFill/>
                  </a:ln>
                  <a:solidFill>
                    <a:srgbClr val="3F3F3F"/>
                  </a:solidFill>
                  <a:effectLst/>
                  <a:uLnTx/>
                  <a:uFillTx/>
                  <a:latin typeface="Verdana" panose="020B0604030504040204" pitchFamily="34" charset="0"/>
                  <a:ea typeface="Verdana" panose="020B0604030504040204" pitchFamily="34" charset="0"/>
                  <a:cs typeface="+mn-cs"/>
                </a:rPr>
                <a:t> in patients with PAH</a:t>
              </a:r>
              <a:r>
                <a:rPr kumimoji="0" lang="en-GB" sz="1400" b="0" i="0" u="none" strike="noStrike" kern="1200" cap="none" spc="0" normalizeH="0" baseline="30000" noProof="0" dirty="0">
                  <a:ln>
                    <a:noFill/>
                  </a:ln>
                  <a:solidFill>
                    <a:srgbClr val="3F3F3F"/>
                  </a:solidFill>
                  <a:effectLst/>
                  <a:uLnTx/>
                  <a:uFillTx/>
                  <a:latin typeface="Verdana" panose="020B0604030504040204" pitchFamily="34" charset="0"/>
                  <a:ea typeface="Verdana" panose="020B0604030504040204" pitchFamily="34" charset="0"/>
                  <a:cs typeface="+mn-cs"/>
                </a:rPr>
                <a:t>6</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en-GB" sz="1400" b="0" i="0" u="none" strike="noStrike" kern="1200" cap="none" spc="0" normalizeH="0" baseline="30000" noProof="0" dirty="0">
                <a:ln>
                  <a:noFill/>
                </a:ln>
                <a:solidFill>
                  <a:srgbClr val="3F3F3F"/>
                </a:solidFill>
                <a:effectLst/>
                <a:uLnTx/>
                <a:uFillTx/>
                <a:latin typeface="Verdana" panose="020B0604030504040204" pitchFamily="34" charset="0"/>
                <a:ea typeface="Verdana" panose="020B0604030504040204" pitchFamily="34" charset="0"/>
                <a:cs typeface="+mn-cs"/>
              </a:endParaRPr>
            </a:p>
          </p:txBody>
        </p:sp>
        <p:sp>
          <p:nvSpPr>
            <p:cNvPr id="321" name="Rectangle 320">
              <a:extLst>
                <a:ext uri="{FF2B5EF4-FFF2-40B4-BE49-F238E27FC236}">
                  <a16:creationId xmlns:a16="http://schemas.microsoft.com/office/drawing/2014/main" id="{A06FD51E-EAA3-46A6-ADD8-1F05359E56D0}"/>
                </a:ext>
              </a:extLst>
            </p:cNvPr>
            <p:cNvSpPr/>
            <p:nvPr/>
          </p:nvSpPr>
          <p:spPr bwMode="auto">
            <a:xfrm>
              <a:off x="601600" y="1195001"/>
              <a:ext cx="5246749" cy="565528"/>
            </a:xfrm>
            <a:prstGeom prst="rect">
              <a:avLst/>
            </a:prstGeom>
            <a:solidFill>
              <a:schemeClr val="accent2"/>
            </a:solidFill>
            <a:ln>
              <a:solidFill>
                <a:schemeClr val="accent2"/>
              </a:solidFill>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GB002</a:t>
              </a:r>
            </a:p>
          </p:txBody>
        </p:sp>
      </p:grpSp>
      <p:sp>
        <p:nvSpPr>
          <p:cNvPr id="632" name="TextBox 631">
            <a:extLst>
              <a:ext uri="{FF2B5EF4-FFF2-40B4-BE49-F238E27FC236}">
                <a16:creationId xmlns:a16="http://schemas.microsoft.com/office/drawing/2014/main" id="{B0392C20-C934-8E4C-B4F1-4065CD26A7D0}"/>
              </a:ext>
            </a:extLst>
          </p:cNvPr>
          <p:cNvSpPr txBox="1"/>
          <p:nvPr/>
        </p:nvSpPr>
        <p:spPr>
          <a:xfrm>
            <a:off x="68598" y="6290546"/>
            <a:ext cx="11919021" cy="5539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srgbClr val="3F3F3F"/>
                </a:solidFill>
                <a:effectLst/>
                <a:uLnTx/>
                <a:uFillTx/>
                <a:latin typeface="Arial" panose="020B0604020202020204"/>
                <a:ea typeface="+mn-ea"/>
                <a:cs typeface="+mn-cs"/>
              </a:rPr>
              <a:t>1. Kanaan R, et al. </a:t>
            </a:r>
            <a:r>
              <a:rPr kumimoji="0" lang="en-GB" sz="1000" b="0" i="1" u="none" strike="noStrike" kern="1200" cap="none" spc="0" normalizeH="0" baseline="0" noProof="0" dirty="0" err="1">
                <a:ln>
                  <a:noFill/>
                </a:ln>
                <a:solidFill>
                  <a:srgbClr val="3F3F3F"/>
                </a:solidFill>
                <a:effectLst/>
                <a:uLnTx/>
                <a:uFillTx/>
                <a:latin typeface="Arial" panose="020B0604020202020204"/>
                <a:ea typeface="+mn-ea"/>
                <a:cs typeface="+mn-cs"/>
              </a:rPr>
              <a:t>Eur</a:t>
            </a:r>
            <a:r>
              <a:rPr kumimoji="0" lang="en-GB" sz="1000" b="0" i="1" u="none" strike="noStrike" kern="1200" cap="none" spc="0" normalizeH="0" baseline="0" noProof="0" dirty="0">
                <a:ln>
                  <a:noFill/>
                </a:ln>
                <a:solidFill>
                  <a:srgbClr val="3F3F3F"/>
                </a:solidFill>
                <a:effectLst/>
                <a:uLnTx/>
                <a:uFillTx/>
                <a:latin typeface="Arial" panose="020B0604020202020204"/>
                <a:ea typeface="+mn-ea"/>
                <a:cs typeface="+mn-cs"/>
              </a:rPr>
              <a:t> Respir Rev. </a:t>
            </a:r>
            <a:r>
              <a:rPr kumimoji="0" lang="en-GB" sz="1000" b="0" i="0" u="none" strike="noStrike" kern="1200" cap="none" spc="0" normalizeH="0" baseline="0" noProof="0" dirty="0">
                <a:ln>
                  <a:noFill/>
                </a:ln>
                <a:solidFill>
                  <a:srgbClr val="3F3F3F"/>
                </a:solidFill>
                <a:effectLst/>
                <a:uLnTx/>
                <a:uFillTx/>
                <a:latin typeface="Arial" panose="020B0604020202020204"/>
                <a:ea typeface="+mn-ea"/>
                <a:cs typeface="+mn-cs"/>
              </a:rPr>
              <a:t>2017;26:170061; 2. </a:t>
            </a:r>
            <a:r>
              <a:rPr kumimoji="0" lang="en-GB" sz="1000" b="0" i="0" u="none" strike="noStrike" kern="1200" cap="none" spc="0" normalizeH="0" baseline="0" noProof="0" dirty="0" err="1">
                <a:ln>
                  <a:noFill/>
                </a:ln>
                <a:solidFill>
                  <a:srgbClr val="3F3F3F"/>
                </a:solidFill>
                <a:effectLst/>
                <a:uLnTx/>
                <a:uFillTx/>
                <a:latin typeface="Arial" panose="020B0604020202020204"/>
                <a:ea typeface="+mn-ea"/>
                <a:cs typeface="+mn-cs"/>
              </a:rPr>
              <a:t>Hoeper</a:t>
            </a:r>
            <a:r>
              <a:rPr kumimoji="0" lang="en-GB" sz="1000" b="0" i="0" u="none" strike="noStrike" kern="1200" cap="none" spc="0" normalizeH="0" baseline="0" noProof="0" dirty="0">
                <a:ln>
                  <a:noFill/>
                </a:ln>
                <a:solidFill>
                  <a:srgbClr val="3F3F3F"/>
                </a:solidFill>
                <a:effectLst/>
                <a:uLnTx/>
                <a:uFillTx/>
                <a:latin typeface="Arial" panose="020B0604020202020204"/>
                <a:ea typeface="+mn-ea"/>
                <a:cs typeface="+mn-cs"/>
              </a:rPr>
              <a:t> MM, et al</a:t>
            </a:r>
            <a:r>
              <a:rPr kumimoji="0" lang="en-GB" sz="1000" b="0" i="1" u="none" strike="noStrike" kern="1200" cap="none" spc="0" normalizeH="0" baseline="0" noProof="0" dirty="0">
                <a:ln>
                  <a:noFill/>
                </a:ln>
                <a:solidFill>
                  <a:srgbClr val="3F3F3F"/>
                </a:solidFill>
                <a:effectLst/>
                <a:uLnTx/>
                <a:uFillTx/>
                <a:latin typeface="Arial" panose="020B0604020202020204"/>
                <a:ea typeface="+mn-ea"/>
                <a:cs typeface="+mn-cs"/>
              </a:rPr>
              <a:t>. Circulation. </a:t>
            </a:r>
            <a:r>
              <a:rPr kumimoji="0" lang="en-GB" sz="1000" b="0" i="0" u="none" strike="noStrike" kern="1200" cap="none" spc="0" normalizeH="0" baseline="0" noProof="0" dirty="0">
                <a:ln>
                  <a:noFill/>
                </a:ln>
                <a:solidFill>
                  <a:srgbClr val="3F3F3F"/>
                </a:solidFill>
                <a:effectLst/>
                <a:uLnTx/>
                <a:uFillTx/>
                <a:latin typeface="Arial" panose="020B0604020202020204"/>
                <a:ea typeface="+mn-ea"/>
                <a:cs typeface="+mn-cs"/>
              </a:rPr>
              <a:t>2013;127:1128-38; 3. </a:t>
            </a:r>
            <a:r>
              <a:rPr kumimoji="0" lang="en-GB" sz="1000" b="0" i="0" u="none" strike="noStrike" kern="1200" cap="none" spc="0" normalizeH="0" baseline="0" noProof="0" dirty="0" err="1">
                <a:ln>
                  <a:noFill/>
                </a:ln>
                <a:solidFill>
                  <a:srgbClr val="3F3F3F"/>
                </a:solidFill>
                <a:effectLst/>
                <a:uLnTx/>
                <a:uFillTx/>
                <a:latin typeface="Arial" panose="020B0604020202020204"/>
                <a:ea typeface="+mn-ea"/>
                <a:cs typeface="+mn-cs"/>
              </a:rPr>
              <a:t>Aerami</a:t>
            </a:r>
            <a:r>
              <a:rPr kumimoji="0" lang="en-GB" sz="1000" b="0" i="0" u="none" strike="noStrike" kern="1200" cap="none" spc="0" normalizeH="0" baseline="0" noProof="0" dirty="0">
                <a:ln>
                  <a:noFill/>
                </a:ln>
                <a:solidFill>
                  <a:srgbClr val="3F3F3F"/>
                </a:solidFill>
                <a:effectLst/>
                <a:uLnTx/>
                <a:uFillTx/>
                <a:latin typeface="Arial" panose="020B0604020202020204"/>
                <a:ea typeface="+mn-ea"/>
                <a:cs typeface="+mn-cs"/>
              </a:rPr>
              <a:t> Therapeutics. </a:t>
            </a:r>
            <a:r>
              <a:rPr kumimoji="0" lang="en-GB" sz="1000" b="0" i="0" u="none" strike="noStrike" kern="1200" cap="none" spc="0" normalizeH="0" baseline="0" noProof="0" dirty="0" err="1">
                <a:ln>
                  <a:noFill/>
                </a:ln>
                <a:solidFill>
                  <a:srgbClr val="3F3F3F"/>
                </a:solidFill>
                <a:effectLst/>
                <a:uLnTx/>
                <a:uFillTx/>
                <a:latin typeface="Arial" panose="020B0604020202020204"/>
                <a:ea typeface="+mn-ea"/>
                <a:cs typeface="+mn-cs"/>
              </a:rPr>
              <a:t>ClinicalTrials.gov</a:t>
            </a:r>
            <a:r>
              <a:rPr kumimoji="0" lang="en-GB" sz="1000" b="0" i="0" u="none" strike="noStrike" kern="1200" cap="none" spc="0" normalizeH="0" baseline="0" noProof="0" dirty="0">
                <a:ln>
                  <a:noFill/>
                </a:ln>
                <a:solidFill>
                  <a:srgbClr val="3F3F3F"/>
                </a:solidFill>
                <a:effectLst/>
                <a:uLnTx/>
                <a:uFillTx/>
                <a:latin typeface="Arial" panose="020B0604020202020204"/>
                <a:ea typeface="+mn-ea"/>
                <a:cs typeface="+mn-cs"/>
              </a:rPr>
              <a:t> Identifier: NCT04903730. Updated December 7, 2022; 4. </a:t>
            </a:r>
            <a:r>
              <a:rPr kumimoji="0" lang="en-GB" sz="1000" b="0" i="0" u="none" strike="noStrike" kern="1200" cap="none" spc="0" normalizeH="0" baseline="0" noProof="0" dirty="0" err="1">
                <a:ln>
                  <a:noFill/>
                </a:ln>
                <a:solidFill>
                  <a:srgbClr val="3F3F3F"/>
                </a:solidFill>
                <a:effectLst/>
                <a:uLnTx/>
                <a:uFillTx/>
                <a:latin typeface="Arial" panose="020B0604020202020204"/>
                <a:ea typeface="+mn-ea"/>
                <a:cs typeface="+mn-cs"/>
              </a:rPr>
              <a:t>Aerovate</a:t>
            </a:r>
            <a:r>
              <a:rPr kumimoji="0" lang="en-GB" sz="1000" b="0" i="0" u="none" strike="noStrike" kern="1200" cap="none" spc="0" normalizeH="0" baseline="0" noProof="0" dirty="0">
                <a:ln>
                  <a:noFill/>
                </a:ln>
                <a:solidFill>
                  <a:srgbClr val="3F3F3F"/>
                </a:solidFill>
                <a:effectLst/>
                <a:uLnTx/>
                <a:uFillTx/>
                <a:latin typeface="Arial" panose="020B0604020202020204"/>
                <a:ea typeface="+mn-ea"/>
                <a:cs typeface="+mn-cs"/>
              </a:rPr>
              <a:t> Therapeutics. </a:t>
            </a:r>
            <a:r>
              <a:rPr kumimoji="0" lang="en-GB" sz="1000" b="0" i="0" u="none" strike="noStrike" kern="1200" cap="none" spc="0" normalizeH="0" baseline="0" noProof="0" dirty="0" err="1">
                <a:ln>
                  <a:noFill/>
                </a:ln>
                <a:solidFill>
                  <a:srgbClr val="3F3F3F"/>
                </a:solidFill>
                <a:effectLst/>
                <a:uLnTx/>
                <a:uFillTx/>
                <a:latin typeface="Arial" panose="020B0604020202020204"/>
                <a:ea typeface="+mn-ea"/>
                <a:cs typeface="+mn-cs"/>
              </a:rPr>
              <a:t>ClinicalTrials.gov</a:t>
            </a:r>
            <a:r>
              <a:rPr kumimoji="0" lang="en-GB" sz="1000" b="0" i="0" u="none" strike="noStrike" kern="1200" cap="none" spc="0" normalizeH="0" baseline="0" noProof="0" dirty="0">
                <a:ln>
                  <a:noFill/>
                </a:ln>
                <a:solidFill>
                  <a:srgbClr val="3F3F3F"/>
                </a:solidFill>
                <a:effectLst/>
                <a:uLnTx/>
                <a:uFillTx/>
                <a:latin typeface="Arial" panose="020B0604020202020204"/>
                <a:ea typeface="+mn-ea"/>
                <a:cs typeface="+mn-cs"/>
              </a:rPr>
              <a:t> Identifier: NCT05036135. Updated July 27, 2023; 5. Li J, et al. </a:t>
            </a:r>
            <a:r>
              <a:rPr kumimoji="0" lang="en-GB" sz="1000" b="0" i="1" u="none" strike="noStrike" kern="1200" cap="none" spc="0" normalizeH="0" baseline="0" noProof="0" dirty="0">
                <a:ln>
                  <a:noFill/>
                </a:ln>
                <a:solidFill>
                  <a:srgbClr val="3F3F3F"/>
                </a:solidFill>
                <a:effectLst/>
                <a:uLnTx/>
                <a:uFillTx/>
                <a:latin typeface="Arial" panose="020B0604020202020204"/>
                <a:ea typeface="+mn-ea"/>
                <a:cs typeface="+mn-cs"/>
              </a:rPr>
              <a:t>Am J </a:t>
            </a:r>
            <a:r>
              <a:rPr kumimoji="0" lang="en-GB" sz="1000" b="0" i="1" u="none" strike="noStrike" kern="1200" cap="none" spc="0" normalizeH="0" baseline="0" noProof="0" dirty="0" err="1">
                <a:ln>
                  <a:noFill/>
                </a:ln>
                <a:solidFill>
                  <a:srgbClr val="3F3F3F"/>
                </a:solidFill>
                <a:effectLst/>
                <a:uLnTx/>
                <a:uFillTx/>
                <a:latin typeface="Arial" panose="020B0604020202020204"/>
                <a:ea typeface="+mn-ea"/>
                <a:cs typeface="+mn-cs"/>
              </a:rPr>
              <a:t>Respir</a:t>
            </a:r>
            <a:r>
              <a:rPr kumimoji="0" lang="en-GB" sz="1000" b="0" i="1" u="none" strike="noStrike" kern="1200" cap="none" spc="0" normalizeH="0" baseline="0" noProof="0" dirty="0">
                <a:ln>
                  <a:noFill/>
                </a:ln>
                <a:solidFill>
                  <a:srgbClr val="3F3F3F"/>
                </a:solidFill>
                <a:effectLst/>
                <a:uLnTx/>
                <a:uFillTx/>
                <a:latin typeface="Arial" panose="020B0604020202020204"/>
                <a:ea typeface="+mn-ea"/>
                <a:cs typeface="+mn-cs"/>
              </a:rPr>
              <a:t> </a:t>
            </a:r>
            <a:r>
              <a:rPr kumimoji="0" lang="en-GB" sz="1000" b="0" i="1" u="none" strike="noStrike" kern="1200" cap="none" spc="0" normalizeH="0" baseline="0" noProof="0" dirty="0" err="1">
                <a:ln>
                  <a:noFill/>
                </a:ln>
                <a:solidFill>
                  <a:srgbClr val="3F3F3F"/>
                </a:solidFill>
                <a:effectLst/>
                <a:uLnTx/>
                <a:uFillTx/>
                <a:latin typeface="Arial" panose="020B0604020202020204"/>
                <a:ea typeface="+mn-ea"/>
                <a:cs typeface="+mn-cs"/>
              </a:rPr>
              <a:t>Crit</a:t>
            </a:r>
            <a:r>
              <a:rPr kumimoji="0" lang="en-GB" sz="1000" b="0" i="1" u="none" strike="noStrike" kern="1200" cap="none" spc="0" normalizeH="0" baseline="0" noProof="0" dirty="0">
                <a:ln>
                  <a:noFill/>
                </a:ln>
                <a:solidFill>
                  <a:srgbClr val="3F3F3F"/>
                </a:solidFill>
                <a:effectLst/>
                <a:uLnTx/>
                <a:uFillTx/>
                <a:latin typeface="Arial" panose="020B0604020202020204"/>
                <a:ea typeface="+mn-ea"/>
                <a:cs typeface="+mn-cs"/>
              </a:rPr>
              <a:t> Care Med. </a:t>
            </a:r>
            <a:r>
              <a:rPr kumimoji="0" lang="en-GB" sz="1000" b="0" i="0" u="none" strike="noStrike" kern="1200" cap="none" spc="0" normalizeH="0" baseline="0" noProof="0" dirty="0">
                <a:ln>
                  <a:noFill/>
                </a:ln>
                <a:solidFill>
                  <a:srgbClr val="3F3F3F"/>
                </a:solidFill>
                <a:effectLst/>
                <a:uLnTx/>
                <a:uFillTx/>
                <a:latin typeface="Arial" panose="020B0604020202020204"/>
                <a:ea typeface="+mn-ea"/>
                <a:cs typeface="+mn-cs"/>
              </a:rPr>
              <a:t>2020; 201:A2907; 6. Gossamer Bio Inc. </a:t>
            </a:r>
            <a:r>
              <a:rPr kumimoji="0" lang="en-GB" sz="1000" b="0" i="0" u="none" strike="noStrike" kern="1200" cap="none" spc="0" normalizeH="0" baseline="0" noProof="0" dirty="0" err="1">
                <a:ln>
                  <a:noFill/>
                </a:ln>
                <a:solidFill>
                  <a:srgbClr val="3F3F3F"/>
                </a:solidFill>
                <a:effectLst/>
                <a:uLnTx/>
                <a:uFillTx/>
                <a:latin typeface="Arial" panose="020B0604020202020204"/>
                <a:ea typeface="+mn-ea"/>
                <a:cs typeface="+mn-cs"/>
              </a:rPr>
              <a:t>ClinicalTrials.gov</a:t>
            </a:r>
            <a:r>
              <a:rPr kumimoji="0" lang="en-GB" sz="1000" b="0" i="0" u="none" strike="noStrike" kern="1200" cap="none" spc="0" normalizeH="0" baseline="0" noProof="0" dirty="0">
                <a:ln>
                  <a:noFill/>
                </a:ln>
                <a:solidFill>
                  <a:srgbClr val="3F3F3F"/>
                </a:solidFill>
                <a:effectLst/>
                <a:uLnTx/>
                <a:uFillTx/>
                <a:latin typeface="Arial" panose="020B0604020202020204"/>
                <a:ea typeface="+mn-ea"/>
                <a:cs typeface="+mn-cs"/>
              </a:rPr>
              <a:t> Identifier: NCT04456998. Updated February 9, 2023. </a:t>
            </a:r>
            <a:endParaRPr kumimoji="0" lang="en-US" sz="1000" b="0" i="0" u="none" strike="sngStrike" kern="1200" cap="none" spc="0" normalizeH="0" baseline="0" noProof="0" dirty="0">
              <a:ln>
                <a:noFill/>
              </a:ln>
              <a:solidFill>
                <a:srgbClr val="3F3F3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2936873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D75FE11-BD96-FA97-AE16-E368EB63DE3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think-cell data - do not delete" hidden="1">
                        <a:extLst>
                          <a:ext uri="{FF2B5EF4-FFF2-40B4-BE49-F238E27FC236}">
                            <a16:creationId xmlns:a16="http://schemas.microsoft.com/office/drawing/2014/main" id="{5D75FE11-BD96-FA97-AE16-E368EB63DE3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7" name="Picture 16" descr="A picture containing bathroom, plastic, toilet&#10;&#10;Description automatically generated">
            <a:extLst>
              <a:ext uri="{FF2B5EF4-FFF2-40B4-BE49-F238E27FC236}">
                <a16:creationId xmlns:a16="http://schemas.microsoft.com/office/drawing/2014/main" id="{DDA8274C-574B-77F8-FEFF-7A98CAE07C6A}"/>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9128098" y="4277802"/>
            <a:ext cx="2162754" cy="2019632"/>
          </a:xfrm>
          <a:prstGeom prst="rect">
            <a:avLst/>
          </a:prstGeom>
        </p:spPr>
      </p:pic>
      <p:sp>
        <p:nvSpPr>
          <p:cNvPr id="5" name="Title 4">
            <a:extLst>
              <a:ext uri="{FF2B5EF4-FFF2-40B4-BE49-F238E27FC236}">
                <a16:creationId xmlns:a16="http://schemas.microsoft.com/office/drawing/2014/main" id="{76C62CC9-6D78-4492-887E-E9EF6066EA73}"/>
              </a:ext>
            </a:extLst>
          </p:cNvPr>
          <p:cNvSpPr>
            <a:spLocks noGrp="1"/>
          </p:cNvSpPr>
          <p:nvPr>
            <p:ph type="title"/>
          </p:nvPr>
        </p:nvSpPr>
        <p:spPr>
          <a:xfrm>
            <a:off x="296041" y="16043"/>
            <a:ext cx="11895960" cy="874766"/>
          </a:xfrm>
        </p:spPr>
        <p:txBody>
          <a:bodyPr vert="horz">
            <a:normAutofit fontScale="90000"/>
          </a:bodyPr>
          <a:lstStyle/>
          <a:p>
            <a:r>
              <a:rPr lang="en-US" sz="2800" b="1" dirty="0" err="1"/>
              <a:t>Seralutinib</a:t>
            </a:r>
            <a:r>
              <a:rPr lang="en-US" sz="2800" b="1" dirty="0"/>
              <a:t> Is A Potent Tyrosine Kinase Inhibitor Which Targets Key Factors of Vascular Remodeling</a:t>
            </a:r>
          </a:p>
        </p:txBody>
      </p:sp>
      <p:sp>
        <p:nvSpPr>
          <p:cNvPr id="4" name="Slide Number Placeholder 3">
            <a:extLst>
              <a:ext uri="{FF2B5EF4-FFF2-40B4-BE49-F238E27FC236}">
                <a16:creationId xmlns:a16="http://schemas.microsoft.com/office/drawing/2014/main" id="{1EB7B7BA-6D1A-4F96-A38D-7C31FC725B2D}"/>
              </a:ext>
            </a:extLst>
          </p:cNvPr>
          <p:cNvSpPr>
            <a:spLocks noGrp="1"/>
          </p:cNvSpPr>
          <p:nvPr>
            <p:ph type="sldNum" sz="quarter" idx="4294967295"/>
          </p:nvPr>
        </p:nvSpPr>
        <p:spPr>
          <a:xfrm>
            <a:off x="8610600" y="6551556"/>
            <a:ext cx="332915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2D6987-FB6D-4DB8-81B8-AD0F35E3BB5F}"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extBox 1">
            <a:extLst>
              <a:ext uri="{FF2B5EF4-FFF2-40B4-BE49-F238E27FC236}">
                <a16:creationId xmlns:a16="http://schemas.microsoft.com/office/drawing/2014/main" id="{C166D09A-ADB1-D247-E349-4E3E73304779}"/>
              </a:ext>
            </a:extLst>
          </p:cNvPr>
          <p:cNvSpPr txBox="1"/>
          <p:nvPr/>
        </p:nvSpPr>
        <p:spPr>
          <a:xfrm>
            <a:off x="304585" y="6557048"/>
            <a:ext cx="11799112" cy="33855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FFFFFF"/>
                </a:solidFill>
                <a:effectLst/>
                <a:uLnTx/>
                <a:uFillTx/>
                <a:latin typeface="Helvetica" panose="020B0604020202020204" pitchFamily="34" charset="0"/>
                <a:ea typeface="+mn-ea"/>
                <a:cs typeface="Helvetica" panose="020B0604020202020204" pitchFamily="34" charset="0"/>
              </a:rPr>
              <a:t>Galkin A et al. </a:t>
            </a:r>
            <a:r>
              <a:rPr kumimoji="0" lang="da-DK" sz="800" b="0" i="1" u="none" strike="noStrike" kern="1200" cap="none" spc="0" normalizeH="0" baseline="0" noProof="0">
                <a:ln>
                  <a:noFill/>
                </a:ln>
                <a:solidFill>
                  <a:srgbClr val="FFFFFF"/>
                </a:solidFill>
                <a:effectLst/>
                <a:uLnTx/>
                <a:uFillTx/>
                <a:latin typeface="Helvetica" panose="020B0604020202020204" pitchFamily="34" charset="0"/>
                <a:ea typeface="+mn-ea"/>
                <a:cs typeface="Helvetica" panose="020B0604020202020204" pitchFamily="34" charset="0"/>
              </a:rPr>
              <a:t>Eur Respir J. </a:t>
            </a:r>
            <a:r>
              <a:rPr kumimoji="0" lang="en-US" sz="800" b="0" i="0" u="none" strike="noStrike" kern="1200" cap="none" spc="0" normalizeH="0" baseline="0" noProof="0">
                <a:ln>
                  <a:noFill/>
                </a:ln>
                <a:solidFill>
                  <a:srgbClr val="FFFFFF"/>
                </a:solidFill>
                <a:effectLst/>
                <a:uLnTx/>
                <a:uFillTx/>
                <a:latin typeface="Helvetica" panose="020B0604020202020204" pitchFamily="34" charset="0"/>
                <a:ea typeface="Calibri" panose="020F0502020204030204" pitchFamily="34" charset="0"/>
                <a:cs typeface="Helvetica" panose="020B0604020202020204" pitchFamily="34" charset="0"/>
              </a:rPr>
              <a:t>2022;60(6):210235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a-DK" sz="800" b="0" i="0" u="none" strike="noStrike" kern="1200" cap="none" spc="0" normalizeH="0" baseline="0" noProof="0">
                <a:ln>
                  <a:noFill/>
                </a:ln>
                <a:solidFill>
                  <a:srgbClr val="FFFFFF"/>
                </a:solidFill>
                <a:effectLst/>
                <a:uLnTx/>
                <a:uFillTx/>
                <a:latin typeface="Helvetica" panose="020B0604020202020204" pitchFamily="34" charset="0"/>
                <a:ea typeface="Calibri" panose="020F0502020204030204" pitchFamily="34" charset="0"/>
                <a:cs typeface="Helvetica" panose="020B0604020202020204" pitchFamily="34" charset="0"/>
              </a:rPr>
              <a:t>BMPR2, </a:t>
            </a:r>
            <a:r>
              <a:rPr kumimoji="0" lang="en-US" sz="800" b="0" i="0" u="none" strike="noStrike" kern="1200" cap="none" spc="0" normalizeH="0" baseline="0" noProof="0">
                <a:ln>
                  <a:noFill/>
                </a:ln>
                <a:solidFill>
                  <a:srgbClr val="FFFFFF"/>
                </a:solidFill>
                <a:effectLst/>
                <a:uLnTx/>
                <a:uFillTx/>
                <a:latin typeface="Helvetica" panose="020B0604020202020204" pitchFamily="34" charset="0"/>
                <a:ea typeface="Calibri" panose="020F0502020204030204" pitchFamily="34" charset="0"/>
                <a:cs typeface="Helvetica" panose="020B0604020202020204" pitchFamily="34" charset="0"/>
              </a:rPr>
              <a:t>bone morphogenetic protein receptor type 2</a:t>
            </a:r>
            <a:r>
              <a:rPr kumimoji="0" lang="en-US" sz="800" b="1" i="0" u="none" strike="noStrike" kern="1200" cap="none" spc="0" normalizeH="0" baseline="0" noProof="0">
                <a:ln>
                  <a:noFill/>
                </a:ln>
                <a:solidFill>
                  <a:srgbClr val="FFFFFF"/>
                </a:solidFill>
                <a:effectLst/>
                <a:uLnTx/>
                <a:uFillTx/>
                <a:latin typeface="Helvetica" panose="020B0604020202020204" pitchFamily="34" charset="0"/>
                <a:ea typeface="Calibri" panose="020F0502020204030204" pitchFamily="34" charset="0"/>
                <a:cs typeface="Helvetica" panose="020B0604020202020204" pitchFamily="34" charset="0"/>
              </a:rPr>
              <a:t>; </a:t>
            </a:r>
            <a:r>
              <a:rPr kumimoji="0" lang="da-DK" sz="800" b="0" i="0" u="none" strike="noStrike" kern="1200" cap="none" spc="0" normalizeH="0" baseline="0" noProof="0">
                <a:ln>
                  <a:noFill/>
                </a:ln>
                <a:solidFill>
                  <a:srgbClr val="FFFFFF"/>
                </a:solidFill>
                <a:effectLst/>
                <a:uLnTx/>
                <a:uFillTx/>
                <a:latin typeface="Helvetica" panose="020B0604020202020204" pitchFamily="34" charset="0"/>
                <a:ea typeface="Calibri" panose="020F0502020204030204" pitchFamily="34" charset="0"/>
                <a:cs typeface="Helvetica" panose="020B0604020202020204" pitchFamily="34" charset="0"/>
              </a:rPr>
              <a:t>CSF1R, colony stimulating factor 1 receptor; </a:t>
            </a:r>
            <a:r>
              <a:rPr kumimoji="0" lang="da-DK" sz="800" b="0" i="0" u="none" strike="noStrike" kern="1200" cap="none" spc="0" normalizeH="0" baseline="0" noProof="0">
                <a:ln>
                  <a:noFill/>
                </a:ln>
                <a:solidFill>
                  <a:srgbClr val="FFFFFF"/>
                </a:solidFill>
                <a:effectLst/>
                <a:uLnTx/>
                <a:uFillTx/>
                <a:latin typeface="Helvetica" panose="020B0604020202020204" pitchFamily="34" charset="0"/>
                <a:ea typeface="+mn-ea"/>
                <a:cs typeface="Helvetica" panose="020B0604020202020204" pitchFamily="34" charset="0"/>
              </a:rPr>
              <a:t>PAH, pulmonary arterial hypertension; </a:t>
            </a:r>
            <a:r>
              <a:rPr kumimoji="0" lang="da-DK" sz="800" b="0" i="0" u="none" strike="noStrike" kern="1200" cap="none" spc="0" normalizeH="0" baseline="0" noProof="0">
                <a:ln>
                  <a:noFill/>
                </a:ln>
                <a:solidFill>
                  <a:srgbClr val="FFFFFF"/>
                </a:solidFill>
                <a:effectLst/>
                <a:uLnTx/>
                <a:uFillTx/>
                <a:latin typeface="Helvetica" panose="020B0604020202020204" pitchFamily="34" charset="0"/>
                <a:ea typeface="Calibri" panose="020F0502020204030204" pitchFamily="34" charset="0"/>
                <a:cs typeface="Helvetica" panose="020B0604020202020204" pitchFamily="34" charset="0"/>
              </a:rPr>
              <a:t>PASMC, pulmonary arterial smooth muscle cell; PDGFR, platelet-derived growth factor receptor.</a:t>
            </a:r>
            <a:r>
              <a:rPr kumimoji="0" lang="en-US" sz="800" b="0" i="0" u="none" strike="noStrike" kern="1200" cap="none" spc="0" normalizeH="0" baseline="0" noProof="0">
                <a:ln>
                  <a:noFill/>
                </a:ln>
                <a:solidFill>
                  <a:srgbClr val="FFFFFF"/>
                </a:solidFill>
                <a:effectLst/>
                <a:uLnTx/>
                <a:uFillTx/>
                <a:latin typeface="Helvetica" panose="020B0604020202020204" pitchFamily="34" charset="0"/>
                <a:ea typeface="Calibri" panose="020F0502020204030204" pitchFamily="34" charset="0"/>
                <a:cs typeface="Helvetica" panose="020B0604020202020204" pitchFamily="34" charset="0"/>
              </a:rPr>
              <a:t> </a:t>
            </a:r>
          </a:p>
        </p:txBody>
      </p:sp>
      <p:sp>
        <p:nvSpPr>
          <p:cNvPr id="11" name="TextBox 10">
            <a:extLst>
              <a:ext uri="{FF2B5EF4-FFF2-40B4-BE49-F238E27FC236}">
                <a16:creationId xmlns:a16="http://schemas.microsoft.com/office/drawing/2014/main" id="{BAA68B7A-67C5-F24E-D367-574FE864929C}"/>
              </a:ext>
            </a:extLst>
          </p:cNvPr>
          <p:cNvSpPr txBox="1"/>
          <p:nvPr/>
        </p:nvSpPr>
        <p:spPr>
          <a:xfrm>
            <a:off x="290104" y="1458964"/>
            <a:ext cx="5293179" cy="3877985"/>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1200"/>
              </a:spcAft>
              <a:buClr>
                <a:srgbClr val="B21E6C"/>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3F3F3F"/>
                </a:solidFill>
                <a:effectLst/>
                <a:uLnTx/>
                <a:uFillTx/>
                <a:latin typeface="Helvetica"/>
                <a:ea typeface="+mn-ea"/>
                <a:cs typeface="Helvetica"/>
              </a:rPr>
              <a:t>Potent small molecule PDGFR</a:t>
            </a:r>
            <a:r>
              <a:rPr kumimoji="0" lang="el-GR" sz="1800" b="0" i="0" u="none" strike="noStrike" kern="1200" cap="none" spc="0" normalizeH="0" baseline="0" noProof="0" dirty="0">
                <a:ln>
                  <a:noFill/>
                </a:ln>
                <a:solidFill>
                  <a:srgbClr val="3F3F3F"/>
                </a:solidFill>
                <a:effectLst/>
                <a:uLnTx/>
                <a:uFillTx/>
                <a:latin typeface="Helvetica"/>
                <a:ea typeface="+mn-ea"/>
                <a:cs typeface="Helvetica"/>
              </a:rPr>
              <a:t>α</a:t>
            </a:r>
            <a:r>
              <a:rPr kumimoji="0" lang="en-US" sz="1800" b="0" i="0" u="none" strike="noStrike" kern="1200" cap="none" spc="0" normalizeH="0" baseline="0" noProof="0" dirty="0">
                <a:ln>
                  <a:noFill/>
                </a:ln>
                <a:solidFill>
                  <a:srgbClr val="3F3F3F"/>
                </a:solidFill>
                <a:effectLst/>
                <a:uLnTx/>
                <a:uFillTx/>
                <a:latin typeface="Helvetica"/>
                <a:ea typeface="+mn-ea"/>
                <a:cs typeface="Helvetica"/>
              </a:rPr>
              <a:t>/</a:t>
            </a:r>
            <a:r>
              <a:rPr kumimoji="0" lang="el-GR" sz="1800" b="0" i="0" u="none" strike="noStrike" kern="1200" cap="none" spc="0" normalizeH="0" baseline="0" noProof="0" dirty="0">
                <a:ln>
                  <a:noFill/>
                </a:ln>
                <a:solidFill>
                  <a:srgbClr val="3F3F3F"/>
                </a:solidFill>
                <a:effectLst/>
                <a:uLnTx/>
                <a:uFillTx/>
                <a:latin typeface="Helvetica"/>
                <a:ea typeface="+mn-ea"/>
                <a:cs typeface="Helvetica"/>
              </a:rPr>
              <a:t>β</a:t>
            </a:r>
            <a:r>
              <a:rPr kumimoji="0" lang="en-US" sz="1800" b="0" i="0" u="none" strike="noStrike" kern="1200" cap="none" spc="0" normalizeH="0" baseline="0" noProof="0" dirty="0">
                <a:ln>
                  <a:noFill/>
                </a:ln>
                <a:solidFill>
                  <a:srgbClr val="3F3F3F"/>
                </a:solidFill>
                <a:effectLst/>
                <a:uLnTx/>
                <a:uFillTx/>
                <a:latin typeface="Helvetica"/>
                <a:ea typeface="+mn-ea"/>
                <a:cs typeface="Helvetica"/>
              </a:rPr>
              <a:t>, CSF1R, and c-KIT kinase inhibitor (</a:t>
            </a:r>
            <a:r>
              <a:rPr kumimoji="0" lang="en-US" sz="1800" b="1" i="0" u="none" strike="noStrike" kern="1200" cap="none" spc="0" normalizeH="0" baseline="0" noProof="0" dirty="0">
                <a:ln>
                  <a:noFill/>
                </a:ln>
                <a:solidFill>
                  <a:srgbClr val="3F3F3F"/>
                </a:solidFill>
                <a:effectLst/>
                <a:uLnTx/>
                <a:uFillTx/>
                <a:latin typeface="Helvetica"/>
                <a:ea typeface="+mn-ea"/>
                <a:cs typeface="Helvetica"/>
              </a:rPr>
              <a:t>A</a:t>
            </a:r>
            <a:r>
              <a:rPr kumimoji="0" lang="en-US" sz="1800" b="0" i="0" u="none" strike="noStrike" kern="1200" cap="none" spc="0" normalizeH="0" baseline="0" noProof="0" dirty="0">
                <a:ln>
                  <a:noFill/>
                </a:ln>
                <a:solidFill>
                  <a:srgbClr val="3F3F3F"/>
                </a:solidFill>
                <a:effectLst/>
                <a:uLnTx/>
                <a:uFillTx/>
                <a:latin typeface="Helvetica"/>
                <a:ea typeface="+mn-ea"/>
                <a:cs typeface="Helvetica"/>
              </a:rPr>
              <a:t>)</a:t>
            </a:r>
          </a:p>
          <a:p>
            <a:pPr marL="228600" marR="0" lvl="0" indent="-228600" algn="l" defTabSz="914400" rtl="0" eaLnBrk="1" fontAlgn="auto" latinLnBrk="0" hangingPunct="1">
              <a:lnSpc>
                <a:spcPct val="100000"/>
              </a:lnSpc>
              <a:spcBef>
                <a:spcPts val="0"/>
              </a:spcBef>
              <a:spcAft>
                <a:spcPts val="1200"/>
              </a:spcAft>
              <a:buClr>
                <a:srgbClr val="B21E6C"/>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3F3F3F"/>
                </a:solidFill>
                <a:effectLst/>
                <a:uLnTx/>
                <a:uFillTx/>
                <a:latin typeface="Helvetica"/>
                <a:ea typeface="+mn-ea"/>
                <a:cs typeface="Helvetica"/>
              </a:rPr>
              <a:t>New mechanism of action that targets inflammatory, proliferative, and fibrotic processes implicated in pulmonary vascular remodeling</a:t>
            </a:r>
          </a:p>
          <a:p>
            <a:pPr marL="228600" marR="0" lvl="0" indent="-228600" algn="l" defTabSz="914400" rtl="0" eaLnBrk="1" fontAlgn="auto" latinLnBrk="0" hangingPunct="1">
              <a:lnSpc>
                <a:spcPct val="100000"/>
              </a:lnSpc>
              <a:spcBef>
                <a:spcPts val="0"/>
              </a:spcBef>
              <a:spcAft>
                <a:spcPts val="600"/>
              </a:spcAft>
              <a:buClr>
                <a:srgbClr val="B21E6C"/>
              </a:buClr>
              <a:buSzTx/>
              <a:buFont typeface="Arial" panose="020B0604020202020204" pitchFamily="34" charset="0"/>
              <a:buChar char="•"/>
              <a:tabLst/>
              <a:defRPr/>
            </a:pPr>
            <a:r>
              <a:rPr kumimoji="0" lang="en-US" sz="1800" b="0" i="0" u="none" strike="noStrike" kern="1200" cap="none" spc="0" normalizeH="0" baseline="0" noProof="0" dirty="0">
                <a:ln>
                  <a:noFill/>
                </a:ln>
                <a:solidFill>
                  <a:srgbClr val="3F3F3F"/>
                </a:solidFill>
                <a:effectLst/>
                <a:uLnTx/>
                <a:uFillTx/>
                <a:latin typeface="Helvetica"/>
                <a:ea typeface="+mn-ea"/>
                <a:cs typeface="Helvetica"/>
              </a:rPr>
              <a:t>Designed as an inhaled treatment for PAH</a:t>
            </a:r>
          </a:p>
          <a:p>
            <a:pPr marL="628650" marR="0" lvl="1" indent="-228600" algn="l" defTabSz="914400" rtl="0" eaLnBrk="1" fontAlgn="auto" latinLnBrk="0" hangingPunct="1">
              <a:lnSpc>
                <a:spcPct val="100000"/>
              </a:lnSpc>
              <a:spcBef>
                <a:spcPts val="0"/>
              </a:spcBef>
              <a:spcAft>
                <a:spcPts val="600"/>
              </a:spcAft>
              <a:buClr>
                <a:srgbClr val="B21E6C"/>
              </a:buClr>
              <a:buSzTx/>
              <a:buFont typeface="Helvetica" panose="020B0604020202020204" pitchFamily="34" charset="0"/>
              <a:buChar char="−"/>
              <a:tabLst>
                <a:tab pos="742950" algn="l"/>
              </a:tabLst>
              <a:defRPr/>
            </a:pPr>
            <a:r>
              <a:rPr kumimoji="0" lang="en-US" sz="1800" b="0" i="0" u="none" strike="noStrike" kern="1200" cap="none" spc="0" normalizeH="0" baseline="0" noProof="0" dirty="0">
                <a:ln>
                  <a:noFill/>
                </a:ln>
                <a:solidFill>
                  <a:srgbClr val="3F3F3F"/>
                </a:solidFill>
                <a:effectLst/>
                <a:uLnTx/>
                <a:uFillTx/>
                <a:latin typeface="Helvetica"/>
                <a:ea typeface="+mn-ea"/>
                <a:cs typeface="Helvetica"/>
              </a:rPr>
              <a:t>Administered by dry powder inhaler for deep lung deposition (</a:t>
            </a:r>
            <a:r>
              <a:rPr kumimoji="0" lang="en-US" sz="1800" b="1" i="0" u="none" strike="noStrike" kern="1200" cap="none" spc="0" normalizeH="0" baseline="0" noProof="0" dirty="0">
                <a:ln>
                  <a:noFill/>
                </a:ln>
                <a:solidFill>
                  <a:srgbClr val="3F3F3F"/>
                </a:solidFill>
                <a:effectLst/>
                <a:uLnTx/>
                <a:uFillTx/>
                <a:latin typeface="Helvetica"/>
                <a:ea typeface="+mn-ea"/>
                <a:cs typeface="Helvetica"/>
              </a:rPr>
              <a:t>B</a:t>
            </a:r>
            <a:r>
              <a:rPr kumimoji="0" lang="en-US" sz="1800" b="0" i="0" u="none" strike="noStrike" kern="1200" cap="none" spc="0" normalizeH="0" baseline="0" noProof="0" dirty="0">
                <a:ln>
                  <a:noFill/>
                </a:ln>
                <a:solidFill>
                  <a:srgbClr val="3F3F3F"/>
                </a:solidFill>
                <a:effectLst/>
                <a:uLnTx/>
                <a:uFillTx/>
                <a:latin typeface="Helvetica"/>
                <a:ea typeface="+mn-ea"/>
                <a:cs typeface="Helvetica"/>
              </a:rPr>
              <a:t>)</a:t>
            </a:r>
          </a:p>
          <a:p>
            <a:pPr marL="628650" marR="0" lvl="1" indent="-228600" algn="l" defTabSz="914400" rtl="0" eaLnBrk="1" fontAlgn="auto" latinLnBrk="0" hangingPunct="1">
              <a:lnSpc>
                <a:spcPct val="100000"/>
              </a:lnSpc>
              <a:spcBef>
                <a:spcPts val="0"/>
              </a:spcBef>
              <a:spcAft>
                <a:spcPts val="1200"/>
              </a:spcAft>
              <a:buClr>
                <a:srgbClr val="B21E6C"/>
              </a:buClr>
              <a:buSzTx/>
              <a:buFont typeface="Helvetica" panose="020B0604020202020204" pitchFamily="34" charset="0"/>
              <a:buChar char="−"/>
              <a:tabLst>
                <a:tab pos="742950" algn="l"/>
              </a:tabLst>
              <a:defRPr/>
            </a:pPr>
            <a:r>
              <a:rPr kumimoji="0" lang="en-US" sz="1800" b="0" i="0" u="none" strike="noStrike" kern="1200" cap="none" spc="0" normalizeH="0" baseline="0" noProof="0" dirty="0">
                <a:ln>
                  <a:noFill/>
                </a:ln>
                <a:solidFill>
                  <a:srgbClr val="3F3F3F"/>
                </a:solidFill>
                <a:effectLst/>
                <a:uLnTx/>
                <a:uFillTx/>
                <a:latin typeface="Helvetica"/>
                <a:ea typeface="+mn-ea"/>
                <a:cs typeface="Helvetica"/>
              </a:rPr>
              <a:t>Low oral bioavailability and rapid clearance characteristics to minimize systemic exposure to mitigate adverse events</a:t>
            </a:r>
            <a:endParaRPr kumimoji="0" lang="en-US" sz="1800" b="0" i="0" u="none" strike="sngStrike" kern="1200" cap="none" spc="0" normalizeH="0" baseline="0" noProof="0" dirty="0">
              <a:ln>
                <a:noFill/>
              </a:ln>
              <a:solidFill>
                <a:srgbClr val="3F3F3F"/>
              </a:solidFill>
              <a:effectLst/>
              <a:uLnTx/>
              <a:uFillTx/>
              <a:latin typeface="Helvetica"/>
              <a:ea typeface="+mn-ea"/>
              <a:cs typeface="Helvetica"/>
            </a:endParaRPr>
          </a:p>
        </p:txBody>
      </p:sp>
      <p:pic>
        <p:nvPicPr>
          <p:cNvPr id="12" name="Picture 11" descr="A screenshot of a computer screen&#10;&#10;Description automatically generated with low confidence">
            <a:extLst>
              <a:ext uri="{FF2B5EF4-FFF2-40B4-BE49-F238E27FC236}">
                <a16:creationId xmlns:a16="http://schemas.microsoft.com/office/drawing/2014/main" id="{FB785923-58B3-ACE3-F643-8A7D8593D1C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330184" y="1290298"/>
            <a:ext cx="5250075" cy="2668147"/>
          </a:xfrm>
          <a:prstGeom prst="rect">
            <a:avLst/>
          </a:prstGeom>
        </p:spPr>
      </p:pic>
      <p:sp>
        <p:nvSpPr>
          <p:cNvPr id="3" name="TextBox 2">
            <a:extLst>
              <a:ext uri="{FF2B5EF4-FFF2-40B4-BE49-F238E27FC236}">
                <a16:creationId xmlns:a16="http://schemas.microsoft.com/office/drawing/2014/main" id="{4DF05C70-778A-D77C-E243-DCA5F5447E85}"/>
              </a:ext>
            </a:extLst>
          </p:cNvPr>
          <p:cNvSpPr txBox="1"/>
          <p:nvPr/>
        </p:nvSpPr>
        <p:spPr>
          <a:xfrm>
            <a:off x="6037132" y="3804556"/>
            <a:ext cx="586639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a:ln>
                  <a:noFill/>
                </a:ln>
                <a:solidFill>
                  <a:srgbClr val="FFFFFF">
                    <a:lumMod val="50000"/>
                  </a:srgbClr>
                </a:solidFill>
                <a:effectLst/>
                <a:uLnTx/>
                <a:uFillTx/>
                <a:latin typeface="Helvetica"/>
                <a:ea typeface="+mn-ea"/>
                <a:cs typeface="Helvetica"/>
              </a:rPr>
              <a:t>Adapted from Frantz RP et al. </a:t>
            </a:r>
            <a:r>
              <a:rPr kumimoji="0" lang="en-US" sz="700" b="0" i="1" u="none" strike="noStrike" kern="1200" cap="none" spc="0" normalizeH="0" baseline="0" noProof="0">
                <a:ln>
                  <a:noFill/>
                </a:ln>
                <a:solidFill>
                  <a:srgbClr val="FFFFFF">
                    <a:lumMod val="50000"/>
                  </a:srgbClr>
                </a:solidFill>
                <a:effectLst/>
                <a:uLnTx/>
                <a:uFillTx/>
                <a:latin typeface="Helvetica"/>
                <a:ea typeface="+mn-ea"/>
                <a:cs typeface="Helvetica"/>
              </a:rPr>
              <a:t>Pulm Circ</a:t>
            </a:r>
            <a:r>
              <a:rPr kumimoji="0" lang="en-US" sz="700" b="0" i="0" u="none" strike="noStrike" kern="1200" cap="none" spc="0" normalizeH="0" baseline="0" noProof="0">
                <a:ln>
                  <a:noFill/>
                </a:ln>
                <a:solidFill>
                  <a:srgbClr val="FFFFFF">
                    <a:lumMod val="50000"/>
                  </a:srgbClr>
                </a:solidFill>
                <a:effectLst/>
                <a:uLnTx/>
                <a:uFillTx/>
                <a:latin typeface="Helvetica"/>
                <a:ea typeface="+mn-ea"/>
                <a:cs typeface="Helvetica"/>
              </a:rPr>
              <a:t>. 2021;11(4):20458940211057071. Distributed under the terms of the Creative Commons Attribution-Non-Commercial 4.0 License (https://creativecommons.org/licenses/by-nc/4.0/). </a:t>
            </a:r>
          </a:p>
        </p:txBody>
      </p:sp>
      <p:pic>
        <p:nvPicPr>
          <p:cNvPr id="7" name="Picture 6" descr="A picture containing indoor&#10;&#10;Description automatically generated">
            <a:extLst>
              <a:ext uri="{FF2B5EF4-FFF2-40B4-BE49-F238E27FC236}">
                <a16:creationId xmlns:a16="http://schemas.microsoft.com/office/drawing/2014/main" id="{BB0C42AC-5215-712D-45A3-78A74926B33E}"/>
              </a:ext>
            </a:extLst>
          </p:cNvPr>
          <p:cNvPicPr>
            <a:picLocks noChangeAspect="1"/>
          </p:cNvPicPr>
          <p:nvPr/>
        </p:nvPicPr>
        <p:blipFill rotWithShape="1">
          <a:blip r:embed="rId8" cstate="screen">
            <a:extLst>
              <a:ext uri="{28A0092B-C50C-407E-A947-70E740481C1C}">
                <a14:useLocalDpi xmlns:a14="http://schemas.microsoft.com/office/drawing/2010/main"/>
              </a:ext>
            </a:extLst>
          </a:blip>
          <a:srcRect/>
          <a:stretch/>
        </p:blipFill>
        <p:spPr>
          <a:xfrm>
            <a:off x="6750658" y="4478276"/>
            <a:ext cx="2013906" cy="1813969"/>
          </a:xfrm>
          <a:prstGeom prst="rect">
            <a:avLst/>
          </a:prstGeom>
        </p:spPr>
      </p:pic>
      <p:sp>
        <p:nvSpPr>
          <p:cNvPr id="10" name="TextBox 9">
            <a:extLst>
              <a:ext uri="{FF2B5EF4-FFF2-40B4-BE49-F238E27FC236}">
                <a16:creationId xmlns:a16="http://schemas.microsoft.com/office/drawing/2014/main" id="{7C665359-DAFC-94FD-0749-D64FA646A6A7}"/>
              </a:ext>
            </a:extLst>
          </p:cNvPr>
          <p:cNvSpPr txBox="1"/>
          <p:nvPr/>
        </p:nvSpPr>
        <p:spPr>
          <a:xfrm>
            <a:off x="6019800" y="1118507"/>
            <a:ext cx="2962414"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F3F3F"/>
                </a:solidFill>
                <a:effectLst/>
                <a:uLnTx/>
                <a:uFillTx/>
                <a:latin typeface="Helvetica"/>
                <a:ea typeface="+mn-ea"/>
                <a:cs typeface="Helvetica"/>
              </a:rPr>
              <a:t>A. </a:t>
            </a:r>
            <a:r>
              <a:rPr kumimoji="0" lang="en-US" sz="1400" b="0" i="0" u="none" strike="noStrike" kern="1200" cap="none" spc="0" normalizeH="0" baseline="0" noProof="0">
                <a:ln>
                  <a:noFill/>
                </a:ln>
                <a:solidFill>
                  <a:srgbClr val="3F3F3F"/>
                </a:solidFill>
                <a:effectLst/>
                <a:uLnTx/>
                <a:uFillTx/>
                <a:latin typeface="Helvetica"/>
                <a:ea typeface="+mn-ea"/>
                <a:cs typeface="Helvetica"/>
              </a:rPr>
              <a:t>Seralutinib Mechanism of Action</a:t>
            </a:r>
          </a:p>
        </p:txBody>
      </p:sp>
      <p:sp>
        <p:nvSpPr>
          <p:cNvPr id="14" name="TextBox 13">
            <a:extLst>
              <a:ext uri="{FF2B5EF4-FFF2-40B4-BE49-F238E27FC236}">
                <a16:creationId xmlns:a16="http://schemas.microsoft.com/office/drawing/2014/main" id="{C280BDB5-4B69-0887-CBB1-7496F07A1178}"/>
              </a:ext>
            </a:extLst>
          </p:cNvPr>
          <p:cNvSpPr txBox="1"/>
          <p:nvPr/>
        </p:nvSpPr>
        <p:spPr>
          <a:xfrm>
            <a:off x="6019800" y="4201891"/>
            <a:ext cx="1946367" cy="30777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a:ln>
                  <a:noFill/>
                </a:ln>
                <a:solidFill>
                  <a:srgbClr val="3F3F3F"/>
                </a:solidFill>
                <a:effectLst/>
                <a:uLnTx/>
                <a:uFillTx/>
                <a:latin typeface="Helvetica"/>
                <a:ea typeface="+mn-ea"/>
                <a:cs typeface="Helvetica"/>
              </a:rPr>
              <a:t>B. </a:t>
            </a:r>
            <a:r>
              <a:rPr kumimoji="0" lang="en-US" sz="1400" b="0" i="0" u="none" strike="noStrike" kern="1200" cap="none" spc="0" normalizeH="0" baseline="0" noProof="0">
                <a:ln>
                  <a:noFill/>
                </a:ln>
                <a:solidFill>
                  <a:srgbClr val="3F3F3F"/>
                </a:solidFill>
                <a:effectLst/>
                <a:uLnTx/>
                <a:uFillTx/>
                <a:latin typeface="Helvetica"/>
                <a:ea typeface="+mn-ea"/>
                <a:cs typeface="Helvetica"/>
              </a:rPr>
              <a:t>Dry Powder Inhaler</a:t>
            </a:r>
          </a:p>
        </p:txBody>
      </p:sp>
      <p:sp>
        <p:nvSpPr>
          <p:cNvPr id="15" name="Rectangle 14">
            <a:extLst>
              <a:ext uri="{FF2B5EF4-FFF2-40B4-BE49-F238E27FC236}">
                <a16:creationId xmlns:a16="http://schemas.microsoft.com/office/drawing/2014/main" id="{FEA69BED-A6EC-C9E4-B26F-15D57A1217CE}"/>
              </a:ext>
            </a:extLst>
          </p:cNvPr>
          <p:cNvSpPr/>
          <p:nvPr/>
        </p:nvSpPr>
        <p:spPr>
          <a:xfrm>
            <a:off x="6038272" y="4196446"/>
            <a:ext cx="5957207" cy="2139043"/>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6" name="Rectangle 15">
            <a:extLst>
              <a:ext uri="{FF2B5EF4-FFF2-40B4-BE49-F238E27FC236}">
                <a16:creationId xmlns:a16="http://schemas.microsoft.com/office/drawing/2014/main" id="{2489BDCC-6B45-6E19-4083-583EF3E181D9}"/>
              </a:ext>
            </a:extLst>
          </p:cNvPr>
          <p:cNvSpPr/>
          <p:nvPr/>
        </p:nvSpPr>
        <p:spPr>
          <a:xfrm>
            <a:off x="6037317" y="1143000"/>
            <a:ext cx="5957207" cy="2977241"/>
          </a:xfrm>
          <a:prstGeom prst="rect">
            <a:avLst/>
          </a:prstGeom>
          <a:noFill/>
          <a:ln w="12700">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cxnSp>
        <p:nvCxnSpPr>
          <p:cNvPr id="13" name="Straight Connector 12">
            <a:extLst>
              <a:ext uri="{FF2B5EF4-FFF2-40B4-BE49-F238E27FC236}">
                <a16:creationId xmlns:a16="http://schemas.microsoft.com/office/drawing/2014/main" id="{7E295B56-D109-B7DA-21E1-B125B4B286DA}"/>
              </a:ext>
            </a:extLst>
          </p:cNvPr>
          <p:cNvCxnSpPr/>
          <p:nvPr/>
        </p:nvCxnSpPr>
        <p:spPr>
          <a:xfrm>
            <a:off x="0" y="914400"/>
            <a:ext cx="12192000" cy="0"/>
          </a:xfrm>
          <a:prstGeom prst="line">
            <a:avLst/>
          </a:prstGeom>
          <a:ln w="38100">
            <a:solidFill>
              <a:srgbClr val="70B9C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0452904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76C62CC9-6D78-4492-887E-E9EF6066EA73}"/>
              </a:ext>
            </a:extLst>
          </p:cNvPr>
          <p:cNvSpPr>
            <a:spLocks noGrp="1"/>
          </p:cNvSpPr>
          <p:nvPr>
            <p:ph type="title"/>
          </p:nvPr>
        </p:nvSpPr>
        <p:spPr>
          <a:xfrm>
            <a:off x="296041" y="24207"/>
            <a:ext cx="11895960" cy="874766"/>
          </a:xfrm>
        </p:spPr>
        <p:txBody>
          <a:bodyPr>
            <a:normAutofit fontScale="90000"/>
          </a:bodyPr>
          <a:lstStyle/>
          <a:p>
            <a:r>
              <a:rPr lang="en-US" sz="2800" b="1"/>
              <a:t>TORREY Phase 2, Randomized, Double-blind, Placebo-controlled Multicenter Study </a:t>
            </a:r>
          </a:p>
        </p:txBody>
      </p:sp>
      <p:sp>
        <p:nvSpPr>
          <p:cNvPr id="4" name="Slide Number Placeholder 3">
            <a:extLst>
              <a:ext uri="{FF2B5EF4-FFF2-40B4-BE49-F238E27FC236}">
                <a16:creationId xmlns:a16="http://schemas.microsoft.com/office/drawing/2014/main" id="{1EB7B7BA-6D1A-4F96-A38D-7C31FC725B2D}"/>
              </a:ext>
            </a:extLst>
          </p:cNvPr>
          <p:cNvSpPr>
            <a:spLocks noGrp="1"/>
          </p:cNvSpPr>
          <p:nvPr>
            <p:ph type="sldNum" sz="quarter" idx="4294967295"/>
          </p:nvPr>
        </p:nvSpPr>
        <p:spPr>
          <a:xfrm>
            <a:off x="8610600" y="6551556"/>
            <a:ext cx="332915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2D6987-FB6D-4DB8-81B8-AD0F35E3BB5F}"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 name="TextBox 13">
            <a:extLst>
              <a:ext uri="{FF2B5EF4-FFF2-40B4-BE49-F238E27FC236}">
                <a16:creationId xmlns:a16="http://schemas.microsoft.com/office/drawing/2014/main" id="{1AD945B1-F599-4E8B-B41D-C50FE3B4CFF0}"/>
              </a:ext>
            </a:extLst>
          </p:cNvPr>
          <p:cNvSpPr txBox="1"/>
          <p:nvPr/>
        </p:nvSpPr>
        <p:spPr>
          <a:xfrm>
            <a:off x="5819775" y="6105525"/>
            <a:ext cx="4400549"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30000" noProof="0">
                <a:ln>
                  <a:noFill/>
                </a:ln>
                <a:solidFill>
                  <a:srgbClr val="3F3F3F"/>
                </a:solidFill>
                <a:effectLst/>
                <a:uLnTx/>
                <a:uFillTx/>
                <a:latin typeface="Helvetica" panose="020B0604020202020204" pitchFamily="34" charset="0"/>
                <a:ea typeface="+mn-ea"/>
                <a:cs typeface="Helvetica" panose="020B0604020202020204" pitchFamily="34" charset="0"/>
              </a:rPr>
              <a:t>a</a:t>
            </a:r>
            <a:r>
              <a:rPr kumimoji="0" lang="en-US" sz="900" b="0" i="0" u="none" strike="noStrike" kern="1200" cap="none" spc="0" normalizeH="0" baseline="0" noProof="0">
                <a:ln>
                  <a:noFill/>
                </a:ln>
                <a:solidFill>
                  <a:srgbClr val="3F3F3F"/>
                </a:solidFill>
                <a:effectLst/>
                <a:uLnTx/>
                <a:uFillTx/>
                <a:latin typeface="Helvetica" panose="020B0604020202020204" pitchFamily="34" charset="0"/>
                <a:ea typeface="+mn-ea"/>
                <a:cs typeface="Helvetica" panose="020B0604020202020204" pitchFamily="34" charset="0"/>
              </a:rPr>
              <a:t> Randomization stratified by PVR (&lt; 800 dyne*s/cm</a:t>
            </a:r>
            <a:r>
              <a:rPr kumimoji="0" lang="en-US" sz="900" b="0" i="0" u="none" strike="noStrike" kern="1200" cap="none" spc="0" normalizeH="0" baseline="30000" noProof="0">
                <a:ln>
                  <a:noFill/>
                </a:ln>
                <a:solidFill>
                  <a:srgbClr val="3F3F3F"/>
                </a:solidFill>
                <a:effectLst/>
                <a:uLnTx/>
                <a:uFillTx/>
                <a:latin typeface="Helvetica" panose="020B0604020202020204" pitchFamily="34" charset="0"/>
                <a:ea typeface="+mn-ea"/>
                <a:cs typeface="Helvetica" panose="020B0604020202020204" pitchFamily="34" charset="0"/>
              </a:rPr>
              <a:t>5</a:t>
            </a:r>
            <a:r>
              <a:rPr kumimoji="0" lang="en-US" sz="900" b="0" i="0" u="none" strike="noStrike" kern="1200" cap="none" spc="0" normalizeH="0" baseline="0" noProof="0">
                <a:ln>
                  <a:noFill/>
                </a:ln>
                <a:solidFill>
                  <a:srgbClr val="3F3F3F"/>
                </a:solidFill>
                <a:effectLst/>
                <a:uLnTx/>
                <a:uFillTx/>
                <a:latin typeface="Helvetica" panose="020B0604020202020204" pitchFamily="34" charset="0"/>
                <a:ea typeface="+mn-ea"/>
                <a:cs typeface="Helvetica" panose="020B0604020202020204" pitchFamily="34" charset="0"/>
              </a:rPr>
              <a:t> vs. ≥ 800 dyne*s/cm</a:t>
            </a:r>
            <a:r>
              <a:rPr kumimoji="0" lang="en-US" sz="900" b="0" i="0" u="none" strike="noStrike" kern="1200" cap="none" spc="0" normalizeH="0" baseline="30000" noProof="0">
                <a:ln>
                  <a:noFill/>
                </a:ln>
                <a:solidFill>
                  <a:srgbClr val="3F3F3F"/>
                </a:solidFill>
                <a:effectLst/>
                <a:uLnTx/>
                <a:uFillTx/>
                <a:latin typeface="Helvetica" panose="020B0604020202020204" pitchFamily="34" charset="0"/>
                <a:ea typeface="+mn-ea"/>
                <a:cs typeface="Helvetica" panose="020B0604020202020204" pitchFamily="34" charset="0"/>
              </a:rPr>
              <a:t>5</a:t>
            </a:r>
            <a:r>
              <a:rPr kumimoji="0" lang="en-US" sz="900" b="0" i="0" u="none" strike="noStrike" kern="1200" cap="none" spc="0" normalizeH="0" baseline="0" noProof="0">
                <a:ln>
                  <a:noFill/>
                </a:ln>
                <a:solidFill>
                  <a:srgbClr val="3F3F3F"/>
                </a:solidFill>
                <a:effectLst/>
                <a:uLnTx/>
                <a:uFillTx/>
                <a:latin typeface="Helvetica" panose="020B0604020202020204" pitchFamily="34" charset="0"/>
                <a:ea typeface="+mn-ea"/>
                <a:cs typeface="Helvetica" panose="020B0604020202020204" pitchFamily="34" charset="0"/>
              </a:rPr>
              <a:t>)</a:t>
            </a:r>
          </a:p>
        </p:txBody>
      </p:sp>
      <p:sp>
        <p:nvSpPr>
          <p:cNvPr id="11" name="Content Placeholder 1">
            <a:extLst>
              <a:ext uri="{FF2B5EF4-FFF2-40B4-BE49-F238E27FC236}">
                <a16:creationId xmlns:a16="http://schemas.microsoft.com/office/drawing/2014/main" id="{E3E42975-17FA-EAB5-7C7F-C7546CE6FCB7}"/>
              </a:ext>
            </a:extLst>
          </p:cNvPr>
          <p:cNvSpPr>
            <a:spLocks noGrp="1"/>
          </p:cNvSpPr>
          <p:nvPr>
            <p:ph idx="1"/>
          </p:nvPr>
        </p:nvSpPr>
        <p:spPr>
          <a:xfrm>
            <a:off x="297399" y="1053939"/>
            <a:ext cx="11371049" cy="352212"/>
          </a:xfrm>
          <a:noFill/>
        </p:spPr>
        <p:txBody>
          <a:bodyPr vert="horz" lIns="91440" tIns="45720" rIns="91440" bIns="45720" rtlCol="0" anchor="t">
            <a:noAutofit/>
          </a:bodyPr>
          <a:lstStyle/>
          <a:p>
            <a:pPr>
              <a:lnSpc>
                <a:spcPct val="100000"/>
              </a:lnSpc>
              <a:spcAft>
                <a:spcPts val="600"/>
              </a:spcAft>
            </a:pPr>
            <a:r>
              <a:rPr lang="en-US" sz="1800" b="1" i="0" u="none" strike="noStrike" baseline="0">
                <a:latin typeface="Helvetica"/>
                <a:cs typeface="Helvetica"/>
              </a:rPr>
              <a:t>Objective</a:t>
            </a:r>
            <a:r>
              <a:rPr lang="en-US" sz="1800" b="0" i="0" u="none" strike="noStrike" baseline="0">
                <a:latin typeface="Helvetica"/>
                <a:cs typeface="Helvetica"/>
              </a:rPr>
              <a:t>: To evaluate the efficacy and safety of inhaled seralutinib in PAH over 24 weeks</a:t>
            </a:r>
            <a:endParaRPr lang="en-US" sz="1800">
              <a:latin typeface="Helvetica"/>
              <a:cs typeface="Helvetica"/>
            </a:endParaRPr>
          </a:p>
        </p:txBody>
      </p:sp>
      <p:sp>
        <p:nvSpPr>
          <p:cNvPr id="17" name="TextBox 16">
            <a:extLst>
              <a:ext uri="{FF2B5EF4-FFF2-40B4-BE49-F238E27FC236}">
                <a16:creationId xmlns:a16="http://schemas.microsoft.com/office/drawing/2014/main" id="{EB156B3A-0F38-A9A7-9BA8-70841F9EBA34}"/>
              </a:ext>
            </a:extLst>
          </p:cNvPr>
          <p:cNvSpPr txBox="1"/>
          <p:nvPr/>
        </p:nvSpPr>
        <p:spPr>
          <a:xfrm>
            <a:off x="5619447" y="5079363"/>
            <a:ext cx="6155993" cy="992579"/>
          </a:xfrm>
          <a:prstGeom prst="rect">
            <a:avLst/>
          </a:prstGeom>
          <a:noFill/>
        </p:spPr>
        <p:txBody>
          <a:bodyPr wrap="square" rtlCol="0">
            <a:spAutoFit/>
          </a:bodyPr>
          <a:lstStyle/>
          <a:p>
            <a:pPr marL="228600" marR="0" lvl="0" indent="-228600" algn="l" defTabSz="914400" rtl="0" eaLnBrk="1" fontAlgn="auto" latinLnBrk="0" hangingPunct="1">
              <a:lnSpc>
                <a:spcPct val="100000"/>
              </a:lnSpc>
              <a:spcBef>
                <a:spcPts val="0"/>
              </a:spcBef>
              <a:spcAft>
                <a:spcPts val="300"/>
              </a:spcAft>
              <a:buClr>
                <a:srgbClr val="ED7D31"/>
              </a:buClr>
              <a:buSzTx/>
              <a:buFont typeface="Arial" panose="020B0604020202020204" pitchFamily="34" charset="0"/>
              <a:buChar char="•"/>
              <a:tabLst>
                <a:tab pos="169545" algn="l"/>
              </a:tabLst>
              <a:defRPr/>
            </a:pPr>
            <a:r>
              <a:rPr kumimoji="0" lang="en-US" sz="1400" b="1" i="0" u="none" strike="noStrike" kern="1200" cap="none" spc="0" normalizeH="0" baseline="0" noProof="0">
                <a:ln>
                  <a:noFill/>
                </a:ln>
                <a:solidFill>
                  <a:prstClr val="black"/>
                </a:solidFill>
                <a:effectLst/>
                <a:uLnTx/>
                <a:uFillTx/>
                <a:latin typeface="Helvetica"/>
                <a:ea typeface="+mn-ea"/>
                <a:cs typeface="Helvetica"/>
              </a:rPr>
              <a:t>Dosing</a:t>
            </a:r>
            <a:r>
              <a:rPr kumimoji="0" lang="en-US" sz="1400" b="0" i="0" u="none" strike="noStrike" kern="1200" cap="none" spc="0" normalizeH="0" baseline="0" noProof="0">
                <a:ln>
                  <a:noFill/>
                </a:ln>
                <a:solidFill>
                  <a:prstClr val="black"/>
                </a:solidFill>
                <a:effectLst/>
                <a:uLnTx/>
                <a:uFillTx/>
                <a:latin typeface="Helvetica"/>
                <a:ea typeface="+mn-ea"/>
                <a:cs typeface="Helvetica"/>
              </a:rPr>
              <a:t>: Subjects started on 60 mg BID and after 2 weeks escalated to 90 mg BID as tolerated</a:t>
            </a:r>
          </a:p>
          <a:p>
            <a:pPr marL="228600" marR="0" lvl="0" indent="-228600" algn="l" defTabSz="914400" rtl="0" eaLnBrk="1" fontAlgn="auto" latinLnBrk="0" hangingPunct="1">
              <a:lnSpc>
                <a:spcPct val="100000"/>
              </a:lnSpc>
              <a:spcBef>
                <a:spcPts val="0"/>
              </a:spcBef>
              <a:spcAft>
                <a:spcPts val="300"/>
              </a:spcAft>
              <a:buClr>
                <a:srgbClr val="ED7D31"/>
              </a:buClr>
              <a:buSzTx/>
              <a:buFont typeface="Arial" panose="020B0604020202020204" pitchFamily="34" charset="0"/>
              <a:buChar char="•"/>
              <a:tabLst>
                <a:tab pos="169545" algn="l"/>
              </a:tabLst>
              <a:defRPr/>
            </a:pPr>
            <a:r>
              <a:rPr kumimoji="0" lang="en-US" sz="1400" b="0" i="0" u="none" strike="noStrike" kern="1200" cap="none" spc="0" normalizeH="0" baseline="0" noProof="0">
                <a:ln>
                  <a:noFill/>
                </a:ln>
                <a:solidFill>
                  <a:prstClr val="black"/>
                </a:solidFill>
                <a:effectLst/>
                <a:uLnTx/>
                <a:uFillTx/>
                <a:latin typeface="Helvetica"/>
                <a:ea typeface="+mn-ea"/>
                <a:cs typeface="Helvetica"/>
              </a:rPr>
              <a:t>After completing the Week 24 visit, subjects have the option to roll into an </a:t>
            </a:r>
            <a:r>
              <a:rPr kumimoji="0" lang="en-US" sz="1400" b="1" i="0" u="none" strike="noStrike" kern="1200" cap="none" spc="0" normalizeH="0" baseline="0" noProof="0">
                <a:ln>
                  <a:noFill/>
                </a:ln>
                <a:solidFill>
                  <a:prstClr val="black"/>
                </a:solidFill>
                <a:effectLst/>
                <a:uLnTx/>
                <a:uFillTx/>
                <a:latin typeface="Helvetica"/>
                <a:ea typeface="+mn-ea"/>
                <a:cs typeface="Helvetica"/>
              </a:rPr>
              <a:t>open-label extension</a:t>
            </a:r>
            <a:r>
              <a:rPr kumimoji="0" lang="en-US" sz="1400" b="0" i="0" u="none" strike="noStrike" kern="1200" cap="none" spc="0" normalizeH="0" baseline="0" noProof="0">
                <a:ln>
                  <a:noFill/>
                </a:ln>
                <a:solidFill>
                  <a:prstClr val="black"/>
                </a:solidFill>
                <a:effectLst/>
                <a:uLnTx/>
                <a:uFillTx/>
                <a:latin typeface="Helvetica"/>
                <a:ea typeface="+mn-ea"/>
                <a:cs typeface="Helvetica"/>
              </a:rPr>
              <a:t> </a:t>
            </a:r>
            <a:r>
              <a:rPr kumimoji="0" lang="en-US" sz="1400" b="1" i="0" u="none" strike="noStrike" kern="1200" cap="none" spc="0" normalizeH="0" baseline="0" noProof="0">
                <a:ln>
                  <a:noFill/>
                </a:ln>
                <a:solidFill>
                  <a:prstClr val="black"/>
                </a:solidFill>
                <a:effectLst/>
                <a:uLnTx/>
                <a:uFillTx/>
                <a:latin typeface="Helvetica"/>
                <a:ea typeface="+mn-ea"/>
                <a:cs typeface="Helvetica"/>
              </a:rPr>
              <a:t>study</a:t>
            </a:r>
          </a:p>
        </p:txBody>
      </p:sp>
      <p:sp>
        <p:nvSpPr>
          <p:cNvPr id="3" name="TextBox 2">
            <a:extLst>
              <a:ext uri="{FF2B5EF4-FFF2-40B4-BE49-F238E27FC236}">
                <a16:creationId xmlns:a16="http://schemas.microsoft.com/office/drawing/2014/main" id="{FD651205-FFF9-4D80-3786-8D6BE65BA049}"/>
              </a:ext>
            </a:extLst>
          </p:cNvPr>
          <p:cNvSpPr txBox="1"/>
          <p:nvPr/>
        </p:nvSpPr>
        <p:spPr>
          <a:xfrm>
            <a:off x="304585" y="6547523"/>
            <a:ext cx="11496890" cy="346185"/>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da-DK" sz="800" b="0" i="0" u="none" strike="noStrike" kern="1200" cap="none" spc="0" normalizeH="0" baseline="0" noProof="0">
                <a:ln>
                  <a:noFill/>
                </a:ln>
                <a:solidFill>
                  <a:srgbClr val="FFFFFF"/>
                </a:solidFill>
                <a:effectLst/>
                <a:uLnTx/>
                <a:uFillTx/>
                <a:latin typeface="Helvetica" panose="020B0604020202020204" pitchFamily="34" charset="0"/>
                <a:ea typeface="Calibri" panose="020F0502020204030204" pitchFamily="34" charset="0"/>
                <a:cs typeface="Helvetica" panose="020B0604020202020204" pitchFamily="34" charset="0"/>
              </a:rPr>
              <a:t>6MWD, 6-minute walk distance; 6MWT, 6-minute walk test; BID, twice daily; BL, baseline; FC, functional class; HIV, </a:t>
            </a:r>
            <a:r>
              <a:rPr kumimoji="0" lang="en-US" sz="800" b="0" i="0" u="none" strike="noStrike" kern="1200" cap="none" spc="0" normalizeH="0" baseline="0" noProof="0">
                <a:ln>
                  <a:noFill/>
                </a:ln>
                <a:solidFill>
                  <a:srgbClr val="FFFFFF"/>
                </a:solidFill>
                <a:effectLst/>
                <a:uLnTx/>
                <a:uFillTx/>
                <a:latin typeface="Helvetica" panose="020B0604020202020204" pitchFamily="34" charset="0"/>
                <a:ea typeface="Calibri" panose="020F0502020204030204" pitchFamily="34" charset="0"/>
                <a:cs typeface="Helvetica" panose="020B0604020202020204" pitchFamily="34" charset="0"/>
              </a:rPr>
              <a:t>human immunodeficiency virus; </a:t>
            </a:r>
            <a:r>
              <a:rPr kumimoji="0" lang="da-DK" sz="800" b="0" i="0" u="none" strike="noStrike" kern="1200" cap="none" spc="0" normalizeH="0" baseline="0" noProof="0">
                <a:ln>
                  <a:noFill/>
                </a:ln>
                <a:solidFill>
                  <a:srgbClr val="FFFFFF"/>
                </a:solidFill>
                <a:effectLst/>
                <a:uLnTx/>
                <a:uFillTx/>
                <a:latin typeface="Helvetica" panose="020B0604020202020204" pitchFamily="34" charset="0"/>
                <a:ea typeface="Calibri" panose="020F0502020204030204" pitchFamily="34" charset="0"/>
                <a:cs typeface="Helvetica" panose="020B0604020202020204" pitchFamily="34" charset="0"/>
              </a:rPr>
              <a:t>NT-proBNP, </a:t>
            </a:r>
            <a:r>
              <a:rPr kumimoji="0" lang="en-US" sz="800" b="0" i="0" u="none" strike="noStrike" kern="1200" cap="none" spc="0" normalizeH="0" baseline="0" noProof="0">
                <a:ln>
                  <a:noFill/>
                </a:ln>
                <a:solidFill>
                  <a:srgbClr val="FFFFFF"/>
                </a:solidFill>
                <a:effectLst/>
                <a:uLnTx/>
                <a:uFillTx/>
                <a:latin typeface="Helvetica" panose="020B0604020202020204" pitchFamily="34" charset="0"/>
                <a:ea typeface="Calibri" panose="020F0502020204030204" pitchFamily="34" charset="0"/>
                <a:cs typeface="Helvetica" panose="020B0604020202020204" pitchFamily="34" charset="0"/>
              </a:rPr>
              <a:t>N-terminal pro-brain natriuretic peptide; PAC, pulmonary artery compliance (stroke volume/[pulmonary artery pulse pressure]); </a:t>
            </a:r>
            <a:r>
              <a:rPr kumimoji="0" lang="da-DK" sz="800" b="0" i="0" u="none" strike="noStrike" kern="1200" cap="none" spc="0" normalizeH="0" baseline="0" noProof="0">
                <a:ln>
                  <a:noFill/>
                </a:ln>
                <a:solidFill>
                  <a:srgbClr val="FFFFFF"/>
                </a:solidFill>
                <a:effectLst/>
                <a:uLnTx/>
                <a:uFillTx/>
                <a:latin typeface="Helvetica" panose="020B0604020202020204" pitchFamily="34" charset="0"/>
                <a:ea typeface="Calibri" panose="020F0502020204030204" pitchFamily="34" charset="0"/>
                <a:cs typeface="Helvetica" panose="020B0604020202020204" pitchFamily="34" charset="0"/>
              </a:rPr>
              <a:t>PAH, pulmonary arterial hypertension; PH, pulmonary hypertension; PVR, </a:t>
            </a:r>
            <a:r>
              <a:rPr kumimoji="0" lang="en-US" sz="800" b="0" i="0" u="none" strike="noStrike" kern="1200" cap="none" spc="0" normalizeH="0" baseline="0" noProof="0">
                <a:ln>
                  <a:noFill/>
                </a:ln>
                <a:solidFill>
                  <a:srgbClr val="FFFFFF"/>
                </a:solidFill>
                <a:effectLst/>
                <a:uLnTx/>
                <a:uFillTx/>
                <a:latin typeface="Helvetica" panose="020B0604020202020204" pitchFamily="34" charset="0"/>
                <a:ea typeface="Calibri" panose="020F0502020204030204" pitchFamily="34" charset="0"/>
                <a:cs typeface="Helvetica" panose="020B0604020202020204" pitchFamily="34" charset="0"/>
              </a:rPr>
              <a:t>pulmonary vascular resistance</a:t>
            </a:r>
            <a:r>
              <a:rPr kumimoji="0" lang="da-DK" sz="800" b="0" i="0" u="none" strike="noStrike" kern="1200" cap="none" spc="0" normalizeH="0" baseline="0" noProof="0">
                <a:ln>
                  <a:noFill/>
                </a:ln>
                <a:solidFill>
                  <a:srgbClr val="FFFFFF"/>
                </a:solidFill>
                <a:effectLst/>
                <a:uLnTx/>
                <a:uFillTx/>
                <a:latin typeface="Helvetica" panose="020B0604020202020204" pitchFamily="34" charset="0"/>
                <a:ea typeface="Calibri" panose="020F0502020204030204" pitchFamily="34" charset="0"/>
                <a:cs typeface="Helvetica" panose="020B0604020202020204" pitchFamily="34" charset="0"/>
              </a:rPr>
              <a:t>; RH, right heart; RHC, right heart catheterization; WHO, World Health Organization. NCT04456998.</a:t>
            </a:r>
            <a:endParaRPr kumimoji="0" lang="en-US" sz="800" b="0" i="0" u="none" strike="noStrike" kern="1200" cap="none" spc="0" normalizeH="0" baseline="0" noProof="0">
              <a:ln>
                <a:noFill/>
              </a:ln>
              <a:solidFill>
                <a:srgbClr val="FFFFFF"/>
              </a:solidFill>
              <a:effectLst/>
              <a:uLnTx/>
              <a:uFillTx/>
              <a:latin typeface="Helvetica" panose="020B0604020202020204" pitchFamily="34" charset="0"/>
              <a:ea typeface="Calibri" panose="020F0502020204030204" pitchFamily="34" charset="0"/>
              <a:cs typeface="Helvetica" panose="020B0604020202020204" pitchFamily="34" charset="0"/>
            </a:endParaRPr>
          </a:p>
        </p:txBody>
      </p:sp>
      <p:pic>
        <p:nvPicPr>
          <p:cNvPr id="13" name="Picture 12">
            <a:extLst>
              <a:ext uri="{FF2B5EF4-FFF2-40B4-BE49-F238E27FC236}">
                <a16:creationId xmlns:a16="http://schemas.microsoft.com/office/drawing/2014/main" id="{147D56C3-6331-7AE3-895F-7A5FAED7863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504466" y="1852951"/>
            <a:ext cx="6291692" cy="2861924"/>
          </a:xfrm>
          <a:prstGeom prst="rect">
            <a:avLst/>
          </a:prstGeom>
        </p:spPr>
      </p:pic>
      <p:grpSp>
        <p:nvGrpSpPr>
          <p:cNvPr id="18" name="Group 17">
            <a:extLst>
              <a:ext uri="{FF2B5EF4-FFF2-40B4-BE49-F238E27FC236}">
                <a16:creationId xmlns:a16="http://schemas.microsoft.com/office/drawing/2014/main" id="{FD32D200-3DA0-A470-C385-3A7BA5709439}"/>
              </a:ext>
            </a:extLst>
          </p:cNvPr>
          <p:cNvGrpSpPr/>
          <p:nvPr/>
        </p:nvGrpSpPr>
        <p:grpSpPr>
          <a:xfrm>
            <a:off x="378692" y="1530498"/>
            <a:ext cx="4724400" cy="4889352"/>
            <a:chOff x="378692" y="1530498"/>
            <a:chExt cx="4724400" cy="4889352"/>
          </a:xfrm>
        </p:grpSpPr>
        <p:sp>
          <p:nvSpPr>
            <p:cNvPr id="19" name="Rectangle: Rounded Corners 18">
              <a:extLst>
                <a:ext uri="{FF2B5EF4-FFF2-40B4-BE49-F238E27FC236}">
                  <a16:creationId xmlns:a16="http://schemas.microsoft.com/office/drawing/2014/main" id="{834C7011-4273-75D7-8D83-B75D7861A62E}"/>
                </a:ext>
              </a:extLst>
            </p:cNvPr>
            <p:cNvSpPr/>
            <p:nvPr/>
          </p:nvSpPr>
          <p:spPr>
            <a:xfrm>
              <a:off x="378692" y="1559433"/>
              <a:ext cx="4724400" cy="4860417"/>
            </a:xfrm>
            <a:prstGeom prst="roundRect">
              <a:avLst>
                <a:gd name="adj" fmla="val 0"/>
              </a:avLst>
            </a:prstGeom>
            <a:solidFill>
              <a:srgbClr val="E8E8E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object 100">
              <a:extLst>
                <a:ext uri="{FF2B5EF4-FFF2-40B4-BE49-F238E27FC236}">
                  <a16:creationId xmlns:a16="http://schemas.microsoft.com/office/drawing/2014/main" id="{D78ED5D4-6073-851C-B3B2-010E93F19D26}"/>
                </a:ext>
              </a:extLst>
            </p:cNvPr>
            <p:cNvSpPr txBox="1"/>
            <p:nvPr/>
          </p:nvSpPr>
          <p:spPr>
            <a:xfrm>
              <a:off x="544686" y="1530498"/>
              <a:ext cx="4357223" cy="1483740"/>
            </a:xfrm>
            <a:prstGeom prst="rect">
              <a:avLst/>
            </a:prstGeom>
          </p:spPr>
          <p:txBody>
            <a:bodyPr vert="horz" wrap="square" lIns="0" tIns="90170" rIns="0" bIns="0" rtlCol="0">
              <a:spAutoFit/>
            </a:bodyPr>
            <a:lstStyle/>
            <a:p>
              <a:pPr marL="0" marR="0" lvl="0" indent="0" algn="l" defTabSz="1219170" rtl="0" eaLnBrk="1" fontAlgn="auto" latinLnBrk="0" hangingPunct="1">
                <a:lnSpc>
                  <a:spcPct val="100000"/>
                </a:lnSpc>
                <a:spcBef>
                  <a:spcPts val="300"/>
                </a:spcBef>
                <a:spcAft>
                  <a:spcPts val="300"/>
                </a:spcAft>
                <a:buClr>
                  <a:srgbClr val="4472C4"/>
                </a:buClr>
                <a:buSzTx/>
                <a:buFontTx/>
                <a:buNone/>
                <a:tabLst>
                  <a:tab pos="169545" algn="l"/>
                </a:tabLst>
                <a:defRPr/>
              </a:pPr>
              <a:r>
                <a:rPr kumimoji="0" lang="en-US" sz="1300" b="1" i="0" u="sng" strike="noStrike" kern="1200" cap="none" spc="0" normalizeH="0" baseline="0" noProof="0">
                  <a:ln>
                    <a:noFill/>
                  </a:ln>
                  <a:solidFill>
                    <a:prstClr val="black"/>
                  </a:solidFill>
                  <a:effectLst/>
                  <a:uLnTx/>
                  <a:uFillTx/>
                  <a:latin typeface="Helvetica" panose="020B0604020202020204" pitchFamily="34" charset="0"/>
                  <a:ea typeface="+mn-ea"/>
                  <a:cs typeface="Helvetica" panose="020B0604020202020204" pitchFamily="34" charset="0"/>
                </a:rPr>
                <a:t>Key Inclusion Criteria</a:t>
              </a:r>
            </a:p>
            <a:p>
              <a:pPr marL="228600" marR="0" lvl="0" indent="-228600" algn="l" defTabSz="914400" rtl="0" eaLnBrk="1" fontAlgn="auto" latinLnBrk="0" hangingPunct="1">
                <a:lnSpc>
                  <a:spcPct val="100000"/>
                </a:lnSpc>
                <a:spcBef>
                  <a:spcPts val="0"/>
                </a:spcBef>
                <a:spcAft>
                  <a:spcPts val="300"/>
                </a:spcAft>
                <a:buClr>
                  <a:srgbClr val="ED7D31"/>
                </a:buClr>
                <a:buSzTx/>
                <a:buFont typeface="Arial" panose="020B0604020202020204" pitchFamily="34" charset="0"/>
                <a:buChar char="•"/>
                <a:tabLst>
                  <a:tab pos="169545" algn="l"/>
                </a:tabLst>
                <a:defRPr/>
              </a:pPr>
              <a:r>
                <a:rPr kumimoji="0" lang="en-US" sz="1300" b="0" i="0" u="none" strike="noStrike" kern="1200" cap="none" spc="0" normalizeH="0" baseline="0" noProof="0">
                  <a:ln>
                    <a:noFill/>
                  </a:ln>
                  <a:solidFill>
                    <a:prstClr val="black"/>
                  </a:solidFill>
                  <a:effectLst/>
                  <a:uLnTx/>
                  <a:uFillTx/>
                  <a:latin typeface="Helvetica"/>
                  <a:ea typeface="+mn-ea"/>
                  <a:cs typeface="Helvetica"/>
                </a:rPr>
                <a:t>WHO Group 1 PH</a:t>
              </a:r>
            </a:p>
            <a:p>
              <a:pPr marL="228600" marR="0" lvl="0" indent="-228600" algn="l" defTabSz="914400" rtl="0" eaLnBrk="1" fontAlgn="auto" latinLnBrk="0" hangingPunct="1">
                <a:lnSpc>
                  <a:spcPct val="100000"/>
                </a:lnSpc>
                <a:spcBef>
                  <a:spcPts val="0"/>
                </a:spcBef>
                <a:spcAft>
                  <a:spcPts val="300"/>
                </a:spcAft>
                <a:buClr>
                  <a:srgbClr val="ED7D31"/>
                </a:buClr>
                <a:buSzTx/>
                <a:buFont typeface="Arial" panose="020B0604020202020204" pitchFamily="34" charset="0"/>
                <a:buChar char="•"/>
                <a:tabLst>
                  <a:tab pos="169545" algn="l"/>
                </a:tabLst>
                <a:defRPr/>
              </a:pPr>
              <a:r>
                <a:rPr kumimoji="0" lang="en-US" sz="1300" b="0" i="0" u="none" strike="noStrike" kern="1200" cap="none" spc="0" normalizeH="0" baseline="0" noProof="0">
                  <a:ln>
                    <a:noFill/>
                  </a:ln>
                  <a:solidFill>
                    <a:prstClr val="black"/>
                  </a:solidFill>
                  <a:effectLst/>
                  <a:uLnTx/>
                  <a:uFillTx/>
                  <a:latin typeface="Helvetica"/>
                  <a:ea typeface="+mn-ea"/>
                  <a:cs typeface="Helvetica"/>
                </a:rPr>
                <a:t>6MWD ≥ 150 meters and ≤ 550 meters</a:t>
              </a:r>
            </a:p>
            <a:p>
              <a:pPr marL="228600" marR="0" lvl="0" indent="-228600" algn="l" defTabSz="914400" rtl="0" eaLnBrk="1" fontAlgn="auto" latinLnBrk="0" hangingPunct="1">
                <a:lnSpc>
                  <a:spcPct val="100000"/>
                </a:lnSpc>
                <a:spcBef>
                  <a:spcPts val="0"/>
                </a:spcBef>
                <a:spcAft>
                  <a:spcPts val="300"/>
                </a:spcAft>
                <a:buClr>
                  <a:srgbClr val="ED7D31"/>
                </a:buClr>
                <a:buSzTx/>
                <a:buFont typeface="Arial" panose="020B0604020202020204" pitchFamily="34" charset="0"/>
                <a:buChar char="•"/>
                <a:tabLst>
                  <a:tab pos="169545" algn="l"/>
                </a:tabLst>
                <a:defRPr/>
              </a:pPr>
              <a:r>
                <a:rPr kumimoji="0" lang="en-US" sz="1300" b="0" i="0" u="none" strike="noStrike" kern="1200" cap="none" spc="0" normalizeH="0" baseline="0" noProof="0">
                  <a:ln>
                    <a:noFill/>
                  </a:ln>
                  <a:solidFill>
                    <a:prstClr val="black"/>
                  </a:solidFill>
                  <a:effectLst/>
                  <a:uLnTx/>
                  <a:uFillTx/>
                  <a:latin typeface="Helvetica"/>
                  <a:ea typeface="+mn-ea"/>
                  <a:cs typeface="Helvetica"/>
                </a:rPr>
                <a:t>WHO FC II or III</a:t>
              </a:r>
            </a:p>
            <a:p>
              <a:pPr marL="228600" marR="0" lvl="0" indent="-228600" algn="l" defTabSz="914400" rtl="0" eaLnBrk="1" fontAlgn="auto" latinLnBrk="0" hangingPunct="1">
                <a:lnSpc>
                  <a:spcPct val="100000"/>
                </a:lnSpc>
                <a:spcBef>
                  <a:spcPts val="0"/>
                </a:spcBef>
                <a:spcAft>
                  <a:spcPts val="300"/>
                </a:spcAft>
                <a:buClr>
                  <a:srgbClr val="ED7D31"/>
                </a:buClr>
                <a:buSzTx/>
                <a:buFont typeface="Arial" panose="020B0604020202020204" pitchFamily="34" charset="0"/>
                <a:buChar char="•"/>
                <a:tabLst>
                  <a:tab pos="169545" algn="l"/>
                </a:tabLst>
                <a:defRPr/>
              </a:pPr>
              <a:r>
                <a:rPr kumimoji="0" lang="en-US" sz="1300" b="0" i="0" u="none" strike="noStrike" kern="1200" cap="none" spc="0" normalizeH="0" baseline="0" noProof="0">
                  <a:ln>
                    <a:noFill/>
                  </a:ln>
                  <a:solidFill>
                    <a:prstClr val="black"/>
                  </a:solidFill>
                  <a:effectLst/>
                  <a:uLnTx/>
                  <a:uFillTx/>
                  <a:latin typeface="Helvetica"/>
                  <a:ea typeface="+mn-ea"/>
                  <a:cs typeface="Helvetica"/>
                </a:rPr>
                <a:t>Standard of care PAH background therapies</a:t>
              </a:r>
            </a:p>
            <a:p>
              <a:pPr marL="228600" marR="0" lvl="0" indent="-228600" algn="l" defTabSz="914400" rtl="0" eaLnBrk="1" fontAlgn="auto" latinLnBrk="0" hangingPunct="1">
                <a:lnSpc>
                  <a:spcPct val="100000"/>
                </a:lnSpc>
                <a:spcBef>
                  <a:spcPts val="0"/>
                </a:spcBef>
                <a:spcAft>
                  <a:spcPts val="300"/>
                </a:spcAft>
                <a:buClr>
                  <a:srgbClr val="ED7D31"/>
                </a:buClr>
                <a:buSzTx/>
                <a:buFont typeface="Arial" panose="020B0604020202020204" pitchFamily="34" charset="0"/>
                <a:buChar char="•"/>
                <a:tabLst>
                  <a:tab pos="169545" algn="l"/>
                </a:tabLst>
                <a:defRPr/>
              </a:pPr>
              <a:r>
                <a:rPr kumimoji="0" lang="en-US" sz="1300" b="0" i="0" u="none" strike="noStrike" kern="1200" cap="none" spc="0" normalizeH="0" baseline="0" noProof="0">
                  <a:ln>
                    <a:noFill/>
                  </a:ln>
                  <a:solidFill>
                    <a:prstClr val="black"/>
                  </a:solidFill>
                  <a:effectLst/>
                  <a:uLnTx/>
                  <a:uFillTx/>
                  <a:latin typeface="Helvetica"/>
                  <a:ea typeface="+mn-ea"/>
                  <a:cs typeface="Helvetica"/>
                </a:rPr>
                <a:t>PVR ≥ 400 dyne*s/cm</a:t>
              </a:r>
              <a:r>
                <a:rPr kumimoji="0" lang="en-US" sz="1300" b="0" i="0" u="none" strike="noStrike" kern="1200" cap="none" spc="0" normalizeH="0" baseline="30000" noProof="0">
                  <a:ln>
                    <a:noFill/>
                  </a:ln>
                  <a:solidFill>
                    <a:prstClr val="black"/>
                  </a:solidFill>
                  <a:effectLst/>
                  <a:uLnTx/>
                  <a:uFillTx/>
                  <a:latin typeface="Helvetica"/>
                  <a:ea typeface="+mn-ea"/>
                  <a:cs typeface="Helvetica"/>
                </a:rPr>
                <a:t>5</a:t>
              </a:r>
            </a:p>
          </p:txBody>
        </p:sp>
        <p:sp>
          <p:nvSpPr>
            <p:cNvPr id="6" name="object 100">
              <a:extLst>
                <a:ext uri="{FF2B5EF4-FFF2-40B4-BE49-F238E27FC236}">
                  <a16:creationId xmlns:a16="http://schemas.microsoft.com/office/drawing/2014/main" id="{F2C611D8-04E4-E413-7CDA-8D762E653666}"/>
                </a:ext>
              </a:extLst>
            </p:cNvPr>
            <p:cNvSpPr txBox="1"/>
            <p:nvPr/>
          </p:nvSpPr>
          <p:spPr>
            <a:xfrm>
              <a:off x="546058" y="3072129"/>
              <a:ext cx="4190534" cy="1245213"/>
            </a:xfrm>
            <a:prstGeom prst="rect">
              <a:avLst/>
            </a:prstGeom>
          </p:spPr>
          <p:txBody>
            <a:bodyPr vert="horz" wrap="square" lIns="0" tIns="90170" rIns="0" bIns="0" rtlCol="0">
              <a:spAutoFit/>
            </a:bodyPr>
            <a:lstStyle/>
            <a:p>
              <a:pPr marL="0" marR="0" lvl="0" indent="0" algn="l" defTabSz="1219170" rtl="0" eaLnBrk="1" fontAlgn="auto" latinLnBrk="0" hangingPunct="1">
                <a:lnSpc>
                  <a:spcPct val="100000"/>
                </a:lnSpc>
                <a:spcBef>
                  <a:spcPts val="300"/>
                </a:spcBef>
                <a:spcAft>
                  <a:spcPts val="300"/>
                </a:spcAft>
                <a:buClr>
                  <a:srgbClr val="4472C4"/>
                </a:buClr>
                <a:buSzTx/>
                <a:buFontTx/>
                <a:buNone/>
                <a:tabLst>
                  <a:tab pos="169545" algn="l"/>
                </a:tabLst>
                <a:defRPr/>
              </a:pPr>
              <a:r>
                <a:rPr kumimoji="0" lang="en-US" sz="1300" b="1" i="0" u="sng" strike="noStrike" kern="1200" cap="none" spc="0" normalizeH="0" baseline="0" noProof="0">
                  <a:ln>
                    <a:noFill/>
                  </a:ln>
                  <a:solidFill>
                    <a:prstClr val="black"/>
                  </a:solidFill>
                  <a:effectLst/>
                  <a:uLnTx/>
                  <a:uFillTx/>
                  <a:latin typeface="Helvetica" panose="020B0604020202020204" pitchFamily="34" charset="0"/>
                  <a:ea typeface="+mn-ea"/>
                  <a:cs typeface="Helvetica" panose="020B0604020202020204" pitchFamily="34" charset="0"/>
                </a:rPr>
                <a:t>Key Exclusion Criteria</a:t>
              </a:r>
            </a:p>
            <a:p>
              <a:pPr marL="228600" marR="0" lvl="0" indent="-228600" algn="l" defTabSz="914400" rtl="0" eaLnBrk="1" fontAlgn="auto" latinLnBrk="0" hangingPunct="1">
                <a:lnSpc>
                  <a:spcPct val="100000"/>
                </a:lnSpc>
                <a:spcBef>
                  <a:spcPts val="0"/>
                </a:spcBef>
                <a:spcAft>
                  <a:spcPts val="300"/>
                </a:spcAft>
                <a:buClr>
                  <a:srgbClr val="ED7D31"/>
                </a:buClr>
                <a:buSzTx/>
                <a:buFont typeface="Arial" panose="020B0604020202020204" pitchFamily="34" charset="0"/>
                <a:buChar char="•"/>
                <a:tabLst>
                  <a:tab pos="169545" algn="l"/>
                </a:tabLst>
                <a:defRPr/>
              </a:pPr>
              <a:r>
                <a:rPr kumimoji="0" lang="en-US" sz="1300" b="0" i="0" u="none" strike="noStrike" kern="1200" cap="none" spc="0" normalizeH="0" baseline="0" noProof="0">
                  <a:ln>
                    <a:noFill/>
                  </a:ln>
                  <a:solidFill>
                    <a:prstClr val="black"/>
                  </a:solidFill>
                  <a:effectLst/>
                  <a:uLnTx/>
                  <a:uFillTx/>
                  <a:latin typeface="Helvetica"/>
                  <a:ea typeface="+mn-ea"/>
                  <a:cs typeface="Helvetica"/>
                </a:rPr>
                <a:t>WHO Pulmonary Hypertension Group 2–5 </a:t>
              </a:r>
            </a:p>
            <a:p>
              <a:pPr marL="228600" marR="0" lvl="0" indent="-228600" algn="l" defTabSz="914400" rtl="0" eaLnBrk="1" fontAlgn="auto" latinLnBrk="0" hangingPunct="1">
                <a:lnSpc>
                  <a:spcPct val="100000"/>
                </a:lnSpc>
                <a:spcBef>
                  <a:spcPts val="0"/>
                </a:spcBef>
                <a:spcAft>
                  <a:spcPts val="300"/>
                </a:spcAft>
                <a:buClr>
                  <a:srgbClr val="ED7D31"/>
                </a:buClr>
                <a:buSzTx/>
                <a:buFont typeface="Arial" panose="020B0604020202020204" pitchFamily="34" charset="0"/>
                <a:buChar char="•"/>
                <a:tabLst>
                  <a:tab pos="169545" algn="l"/>
                </a:tabLst>
                <a:defRPr/>
              </a:pPr>
              <a:r>
                <a:rPr kumimoji="0" lang="en-US" sz="1300" b="0" i="0" u="none" strike="noStrike" kern="1200" cap="none" spc="0" normalizeH="0" baseline="0" noProof="0">
                  <a:ln>
                    <a:noFill/>
                  </a:ln>
                  <a:solidFill>
                    <a:prstClr val="black"/>
                  </a:solidFill>
                  <a:effectLst/>
                  <a:uLnTx/>
                  <a:uFillTx/>
                  <a:latin typeface="Helvetica"/>
                  <a:ea typeface="+mn-ea"/>
                  <a:cs typeface="Helvetica"/>
                </a:rPr>
                <a:t>HIV-associated PAH </a:t>
              </a:r>
            </a:p>
            <a:p>
              <a:pPr marL="228600" marR="0" lvl="0" indent="-228600" algn="l" defTabSz="914400" rtl="0" eaLnBrk="1" fontAlgn="auto" latinLnBrk="0" hangingPunct="1">
                <a:lnSpc>
                  <a:spcPct val="100000"/>
                </a:lnSpc>
                <a:spcBef>
                  <a:spcPts val="0"/>
                </a:spcBef>
                <a:spcAft>
                  <a:spcPts val="300"/>
                </a:spcAft>
                <a:buClr>
                  <a:srgbClr val="ED7D31"/>
                </a:buClr>
                <a:buSzTx/>
                <a:buFont typeface="Arial" panose="020B0604020202020204" pitchFamily="34" charset="0"/>
                <a:buChar char="•"/>
                <a:tabLst>
                  <a:tab pos="169545" algn="l"/>
                </a:tabLst>
                <a:defRPr/>
              </a:pPr>
              <a:r>
                <a:rPr kumimoji="0" lang="en-US" sz="1300" b="0" i="0" u="none" strike="noStrike" kern="1200" cap="none" spc="0" normalizeH="0" baseline="0" noProof="0">
                  <a:ln>
                    <a:noFill/>
                  </a:ln>
                  <a:solidFill>
                    <a:prstClr val="black"/>
                  </a:solidFill>
                  <a:effectLst/>
                  <a:uLnTx/>
                  <a:uFillTx/>
                  <a:latin typeface="Helvetica"/>
                  <a:ea typeface="+mn-ea"/>
                  <a:cs typeface="Helvetica"/>
                </a:rPr>
                <a:t>Inhaled prostanoids </a:t>
              </a:r>
            </a:p>
            <a:p>
              <a:pPr marL="228600" marR="0" lvl="0" indent="-228600" algn="l" defTabSz="914400" rtl="0" eaLnBrk="1" fontAlgn="auto" latinLnBrk="0" hangingPunct="1">
                <a:lnSpc>
                  <a:spcPct val="100000"/>
                </a:lnSpc>
                <a:spcBef>
                  <a:spcPts val="0"/>
                </a:spcBef>
                <a:spcAft>
                  <a:spcPts val="300"/>
                </a:spcAft>
                <a:buClr>
                  <a:srgbClr val="ED7D31"/>
                </a:buClr>
                <a:buSzTx/>
                <a:buFont typeface="Arial" panose="020B0604020202020204" pitchFamily="34" charset="0"/>
                <a:buChar char="•"/>
                <a:tabLst>
                  <a:tab pos="169545" algn="l"/>
                </a:tabLst>
                <a:defRPr/>
              </a:pPr>
              <a:r>
                <a:rPr kumimoji="0" lang="en-US" sz="1300" b="0" i="0" u="none" strike="noStrike" kern="1200" cap="none" spc="0" normalizeH="0" baseline="0" noProof="0">
                  <a:ln>
                    <a:noFill/>
                  </a:ln>
                  <a:solidFill>
                    <a:prstClr val="black"/>
                  </a:solidFill>
                  <a:effectLst/>
                  <a:uLnTx/>
                  <a:uFillTx/>
                  <a:latin typeface="Helvetica"/>
                  <a:ea typeface="+mn-ea"/>
                  <a:cs typeface="Helvetica"/>
                </a:rPr>
                <a:t>Use of anticoagulants </a:t>
              </a:r>
            </a:p>
          </p:txBody>
        </p:sp>
        <p:sp>
          <p:nvSpPr>
            <p:cNvPr id="9" name="TextBox 8">
              <a:extLst>
                <a:ext uri="{FF2B5EF4-FFF2-40B4-BE49-F238E27FC236}">
                  <a16:creationId xmlns:a16="http://schemas.microsoft.com/office/drawing/2014/main" id="{97870F5C-F07E-ABBC-D90A-8C35B90C6036}"/>
                </a:ext>
              </a:extLst>
            </p:cNvPr>
            <p:cNvSpPr txBox="1"/>
            <p:nvPr/>
          </p:nvSpPr>
          <p:spPr>
            <a:xfrm>
              <a:off x="459115" y="4377752"/>
              <a:ext cx="4612106" cy="1446550"/>
            </a:xfrm>
            <a:prstGeom prst="rect">
              <a:avLst/>
            </a:prstGeom>
            <a:noFill/>
          </p:spPr>
          <p:txBody>
            <a:bodyPr wrap="square" lIns="91440" tIns="45720" rIns="91440" bIns="45720" rtlCol="0" anchor="t">
              <a:spAutoFit/>
            </a:bodyPr>
            <a:lstStyle/>
            <a:p>
              <a:pPr marL="0" marR="0" lvl="0" indent="0" algn="l" defTabSz="1219170" rtl="0" eaLnBrk="1" fontAlgn="auto" latinLnBrk="0" hangingPunct="1">
                <a:lnSpc>
                  <a:spcPct val="100000"/>
                </a:lnSpc>
                <a:spcBef>
                  <a:spcPts val="0"/>
                </a:spcBef>
                <a:spcAft>
                  <a:spcPts val="300"/>
                </a:spcAft>
                <a:buClrTx/>
                <a:buSzTx/>
                <a:buFontTx/>
                <a:buNone/>
                <a:tabLst/>
                <a:defRPr/>
              </a:pPr>
              <a:r>
                <a:rPr kumimoji="0" lang="en-US" sz="1300" b="1" i="0" u="sng" strike="noStrike" kern="1200" cap="none" spc="0" normalizeH="0" baseline="0" noProof="0" dirty="0">
                  <a:ln>
                    <a:noFill/>
                  </a:ln>
                  <a:solidFill>
                    <a:srgbClr val="3F3F3F"/>
                  </a:solidFill>
                  <a:effectLst/>
                  <a:uLnTx/>
                  <a:uFillTx/>
                  <a:latin typeface="Helvetica"/>
                  <a:ea typeface="+mn-ea"/>
                  <a:cs typeface="Helvetica"/>
                </a:rPr>
                <a:t>Endpoints</a:t>
              </a:r>
            </a:p>
            <a:p>
              <a:pPr marL="228600" marR="0" lvl="0" indent="-228600" algn="l" defTabSz="914400" rtl="0" eaLnBrk="1" fontAlgn="auto" latinLnBrk="0" hangingPunct="1">
                <a:lnSpc>
                  <a:spcPct val="100000"/>
                </a:lnSpc>
                <a:spcBef>
                  <a:spcPts val="0"/>
                </a:spcBef>
                <a:spcAft>
                  <a:spcPts val="300"/>
                </a:spcAft>
                <a:buClr>
                  <a:srgbClr val="ED7D31"/>
                </a:buClr>
                <a:buSzTx/>
                <a:buFont typeface="Arial" panose="020B0604020202020204" pitchFamily="34" charset="0"/>
                <a:buChar char="•"/>
                <a:tabLst>
                  <a:tab pos="169545" algn="l"/>
                </a:tabLst>
                <a:defRPr/>
              </a:pPr>
              <a:r>
                <a:rPr kumimoji="0" lang="en-US" sz="1300" b="0" i="0" u="none" strike="noStrike" kern="1200" cap="none" spc="0" normalizeH="0" baseline="0" noProof="0" dirty="0">
                  <a:ln>
                    <a:noFill/>
                  </a:ln>
                  <a:solidFill>
                    <a:srgbClr val="FF0000"/>
                  </a:solidFill>
                  <a:effectLst/>
                  <a:uLnTx/>
                  <a:uFillTx/>
                  <a:latin typeface="Helvetica"/>
                  <a:ea typeface="+mn-ea"/>
                  <a:cs typeface="Helvetica"/>
                </a:rPr>
                <a:t>Primary: Change in PVR from BL to Week 24</a:t>
              </a:r>
            </a:p>
            <a:p>
              <a:pPr marL="228600" marR="0" lvl="0" indent="-228600" algn="l" defTabSz="914400" rtl="0" eaLnBrk="1" fontAlgn="auto" latinLnBrk="0" hangingPunct="1">
                <a:lnSpc>
                  <a:spcPct val="100000"/>
                </a:lnSpc>
                <a:spcBef>
                  <a:spcPts val="0"/>
                </a:spcBef>
                <a:spcAft>
                  <a:spcPts val="300"/>
                </a:spcAft>
                <a:buClr>
                  <a:srgbClr val="ED7D31"/>
                </a:buClr>
                <a:buSzTx/>
                <a:buFont typeface="Arial" panose="020B0604020202020204" pitchFamily="34" charset="0"/>
                <a:buChar char="•"/>
                <a:tabLst>
                  <a:tab pos="169545" algn="l"/>
                </a:tabLst>
                <a:defRPr/>
              </a:pPr>
              <a:r>
                <a:rPr kumimoji="0" lang="en-US" sz="1300" b="0" i="0" u="none" strike="noStrike" kern="1200" cap="none" spc="0" normalizeH="0" baseline="0" noProof="0" dirty="0">
                  <a:ln>
                    <a:noFill/>
                  </a:ln>
                  <a:solidFill>
                    <a:srgbClr val="3F3F3F"/>
                  </a:solidFill>
                  <a:effectLst/>
                  <a:uLnTx/>
                  <a:uFillTx/>
                  <a:latin typeface="Helvetica"/>
                  <a:ea typeface="+mn-ea"/>
                  <a:cs typeface="Helvetica"/>
                </a:rPr>
                <a:t>Secondary: Change in 6MWD from BL to Week 24</a:t>
              </a:r>
            </a:p>
            <a:p>
              <a:pPr marL="228600" marR="0" lvl="0" indent="-228600" algn="l" defTabSz="914400" rtl="0" eaLnBrk="1" fontAlgn="auto" latinLnBrk="0" hangingPunct="1">
                <a:lnSpc>
                  <a:spcPct val="100000"/>
                </a:lnSpc>
                <a:spcBef>
                  <a:spcPts val="0"/>
                </a:spcBef>
                <a:spcAft>
                  <a:spcPts val="300"/>
                </a:spcAft>
                <a:buClr>
                  <a:srgbClr val="ED7D31"/>
                </a:buClr>
                <a:buSzTx/>
                <a:buFont typeface="Arial" panose="020B0604020202020204" pitchFamily="34" charset="0"/>
                <a:buChar char="•"/>
                <a:tabLst>
                  <a:tab pos="169545" algn="l"/>
                </a:tabLst>
                <a:defRPr/>
              </a:pPr>
              <a:r>
                <a:rPr kumimoji="0" lang="en-US" sz="1300" b="0" i="0" u="none" strike="noStrike" kern="1200" cap="none" spc="0" normalizeH="0" baseline="0" noProof="0" dirty="0">
                  <a:ln>
                    <a:noFill/>
                  </a:ln>
                  <a:solidFill>
                    <a:srgbClr val="3F3F3F"/>
                  </a:solidFill>
                  <a:effectLst/>
                  <a:uLnTx/>
                  <a:uFillTx/>
                  <a:latin typeface="Helvetica"/>
                  <a:ea typeface="+mn-ea"/>
                  <a:cs typeface="Helvetica"/>
                </a:rPr>
                <a:t>Exploratory: NT-</a:t>
              </a:r>
              <a:r>
                <a:rPr kumimoji="0" lang="en-US" sz="1300" b="0" i="0" u="none" strike="noStrike" kern="1200" cap="none" spc="0" normalizeH="0" baseline="0" noProof="0" dirty="0" err="1">
                  <a:ln>
                    <a:noFill/>
                  </a:ln>
                  <a:solidFill>
                    <a:srgbClr val="3F3F3F"/>
                  </a:solidFill>
                  <a:effectLst/>
                  <a:uLnTx/>
                  <a:uFillTx/>
                  <a:latin typeface="Helvetica"/>
                  <a:ea typeface="+mn-ea"/>
                  <a:cs typeface="Helvetica"/>
                </a:rPr>
                <a:t>proBNP</a:t>
              </a:r>
              <a:r>
                <a:rPr kumimoji="0" lang="en-US" sz="1300" b="0" i="0" u="none" strike="noStrike" kern="1200" cap="none" spc="0" normalizeH="0" baseline="0" noProof="0" dirty="0">
                  <a:ln>
                    <a:noFill/>
                  </a:ln>
                  <a:solidFill>
                    <a:srgbClr val="3F3F3F"/>
                  </a:solidFill>
                  <a:effectLst/>
                  <a:uLnTx/>
                  <a:uFillTx/>
                  <a:latin typeface="Helvetica"/>
                  <a:ea typeface="+mn-ea"/>
                  <a:cs typeface="Helvetica"/>
                </a:rPr>
                <a:t>, RH structure and function by echocardiography</a:t>
              </a:r>
            </a:p>
            <a:p>
              <a:pPr marL="228600" marR="0" lvl="0" indent="-228600" algn="l" defTabSz="914400" rtl="0" eaLnBrk="1" fontAlgn="auto" latinLnBrk="0" hangingPunct="1">
                <a:lnSpc>
                  <a:spcPct val="100000"/>
                </a:lnSpc>
                <a:spcBef>
                  <a:spcPts val="0"/>
                </a:spcBef>
                <a:spcAft>
                  <a:spcPts val="300"/>
                </a:spcAft>
                <a:buClr>
                  <a:srgbClr val="ED7D31"/>
                </a:buClr>
                <a:buSzTx/>
                <a:buFont typeface="Arial" panose="020B0604020202020204" pitchFamily="34" charset="0"/>
                <a:buChar char="•"/>
                <a:tabLst>
                  <a:tab pos="169545" algn="l"/>
                </a:tabLst>
                <a:defRPr/>
              </a:pPr>
              <a:r>
                <a:rPr kumimoji="0" lang="en-US" sz="1300" b="0" i="0" u="none" strike="noStrike" kern="1200" cap="none" spc="0" normalizeH="0" baseline="0" noProof="0" dirty="0">
                  <a:ln>
                    <a:noFill/>
                  </a:ln>
                  <a:solidFill>
                    <a:srgbClr val="3F3F3F"/>
                  </a:solidFill>
                  <a:effectLst/>
                  <a:uLnTx/>
                  <a:uFillTx/>
                  <a:latin typeface="Helvetica"/>
                  <a:ea typeface="+mn-ea"/>
                  <a:cs typeface="Helvetica"/>
                </a:rPr>
                <a:t>Safety assessed during scheduled visits</a:t>
              </a:r>
            </a:p>
          </p:txBody>
        </p:sp>
        <p:sp>
          <p:nvSpPr>
            <p:cNvPr id="10" name="TextBox 9">
              <a:extLst>
                <a:ext uri="{FF2B5EF4-FFF2-40B4-BE49-F238E27FC236}">
                  <a16:creationId xmlns:a16="http://schemas.microsoft.com/office/drawing/2014/main" id="{E42B292B-D57A-7265-1CE2-674397DE373E}"/>
                </a:ext>
              </a:extLst>
            </p:cNvPr>
            <p:cNvSpPr txBox="1"/>
            <p:nvPr/>
          </p:nvSpPr>
          <p:spPr>
            <a:xfrm>
              <a:off x="446923" y="5851841"/>
              <a:ext cx="4620377" cy="530915"/>
            </a:xfrm>
            <a:prstGeom prst="rect">
              <a:avLst/>
            </a:prstGeom>
            <a:noFill/>
          </p:spPr>
          <p:txBody>
            <a:bodyPr wrap="square" lIns="91440" tIns="45720" rIns="91440" bIns="45720" rtlCol="0" anchor="t">
              <a:spAutoFit/>
            </a:bodyPr>
            <a:lstStyle/>
            <a:p>
              <a:pPr marL="0" marR="0" lvl="0" indent="0" algn="l" defTabSz="1219170" rtl="0" eaLnBrk="1" fontAlgn="auto" latinLnBrk="0" hangingPunct="1">
                <a:lnSpc>
                  <a:spcPct val="100000"/>
                </a:lnSpc>
                <a:spcBef>
                  <a:spcPts val="0"/>
                </a:spcBef>
                <a:spcAft>
                  <a:spcPts val="300"/>
                </a:spcAft>
                <a:buClrTx/>
                <a:buSzTx/>
                <a:buFontTx/>
                <a:buNone/>
                <a:tabLst/>
                <a:defRPr/>
              </a:pPr>
              <a:r>
                <a:rPr kumimoji="0" lang="en-US" sz="1300" b="1" i="0" u="sng" strike="noStrike" kern="1200" cap="none" spc="0" normalizeH="0" baseline="0" noProof="0">
                  <a:ln>
                    <a:noFill/>
                  </a:ln>
                  <a:solidFill>
                    <a:srgbClr val="3F3F3F"/>
                  </a:solidFill>
                  <a:effectLst/>
                  <a:uLnTx/>
                  <a:uFillTx/>
                  <a:latin typeface="Helvetica"/>
                  <a:ea typeface="+mn-ea"/>
                  <a:cs typeface="Helvetica"/>
                </a:rPr>
                <a:t>RHC Analyses</a:t>
              </a:r>
            </a:p>
            <a:p>
              <a:pPr marL="228600" marR="0" lvl="0" indent="-228600" algn="l" defTabSz="914400" rtl="0" eaLnBrk="1" fontAlgn="auto" latinLnBrk="0" hangingPunct="1">
                <a:lnSpc>
                  <a:spcPct val="100000"/>
                </a:lnSpc>
                <a:spcBef>
                  <a:spcPts val="0"/>
                </a:spcBef>
                <a:spcAft>
                  <a:spcPts val="300"/>
                </a:spcAft>
                <a:buClr>
                  <a:srgbClr val="ED7D31"/>
                </a:buClr>
                <a:buSzTx/>
                <a:buFont typeface="Arial" panose="020B0604020202020204" pitchFamily="34" charset="0"/>
                <a:buChar char="•"/>
                <a:tabLst>
                  <a:tab pos="169545" algn="l"/>
                </a:tabLst>
                <a:defRPr/>
              </a:pPr>
              <a:r>
                <a:rPr kumimoji="0" lang="en-US" sz="1300" b="0" i="0" u="none" strike="noStrike" kern="1200" cap="none" spc="0" normalizeH="0" baseline="0" noProof="0">
                  <a:ln>
                    <a:noFill/>
                  </a:ln>
                  <a:solidFill>
                    <a:srgbClr val="3F3F3F"/>
                  </a:solidFill>
                  <a:effectLst/>
                  <a:uLnTx/>
                  <a:uFillTx/>
                  <a:latin typeface="Helvetica"/>
                  <a:ea typeface="+mn-ea"/>
                  <a:cs typeface="Helvetica"/>
                </a:rPr>
                <a:t>PAC &amp; other cardiopulmonary hemodynamic parameters</a:t>
              </a:r>
            </a:p>
          </p:txBody>
        </p:sp>
      </p:grpSp>
      <p:cxnSp>
        <p:nvCxnSpPr>
          <p:cNvPr id="7" name="Straight Connector 6">
            <a:extLst>
              <a:ext uri="{FF2B5EF4-FFF2-40B4-BE49-F238E27FC236}">
                <a16:creationId xmlns:a16="http://schemas.microsoft.com/office/drawing/2014/main" id="{B4968988-D93A-650B-F3D4-6D19E29DA241}"/>
              </a:ext>
            </a:extLst>
          </p:cNvPr>
          <p:cNvCxnSpPr/>
          <p:nvPr/>
        </p:nvCxnSpPr>
        <p:spPr>
          <a:xfrm>
            <a:off x="0" y="914400"/>
            <a:ext cx="12192000" cy="0"/>
          </a:xfrm>
          <a:prstGeom prst="line">
            <a:avLst/>
          </a:prstGeom>
          <a:ln w="38100">
            <a:solidFill>
              <a:srgbClr val="70B9C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5124392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2183204-970A-B111-5DCA-6C0B2E08FD03}"/>
              </a:ext>
            </a:extLst>
          </p:cNvPr>
          <p:cNvSpPr txBox="1"/>
          <p:nvPr/>
        </p:nvSpPr>
        <p:spPr>
          <a:xfrm>
            <a:off x="1557505" y="5707282"/>
            <a:ext cx="261296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Times New Roman" panose="02020603050405020304" pitchFamily="18" charset="0"/>
                <a:cs typeface="Arial" panose="020B0604020202020204" pitchFamily="34" charset="0"/>
              </a:rPr>
              <a:t>This content or portions thereof may not be published, posted online or used in presentations without permission.</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0EE13496-F6DC-B1E6-63D7-6A65639436E6}"/>
              </a:ext>
            </a:extLst>
          </p:cNvPr>
          <p:cNvSpPr txBox="1"/>
          <p:nvPr/>
        </p:nvSpPr>
        <p:spPr>
          <a:xfrm>
            <a:off x="594592" y="359469"/>
            <a:ext cx="10997719" cy="692468"/>
          </a:xfrm>
          <a:prstGeom prst="roundRect">
            <a:avLst>
              <a:gd name="adj" fmla="val 50000"/>
            </a:avLst>
          </a:prstGeom>
          <a:solidFill>
            <a:srgbClr val="0098EA"/>
          </a:solidFill>
        </p:spPr>
        <p:txBody>
          <a:bodyPr wrap="square" t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Trebuchet MS" panose="020B0703020202090204" pitchFamily="34" charset="0"/>
                <a:ea typeface="+mn-ea"/>
                <a:cs typeface="Calibri" panose="020F0502020204030204" pitchFamily="34" charset="0"/>
              </a:rPr>
              <a:t>Resource Information</a:t>
            </a:r>
          </a:p>
        </p:txBody>
      </p:sp>
      <p:sp>
        <p:nvSpPr>
          <p:cNvPr id="4" name="TextBox 3">
            <a:extLst>
              <a:ext uri="{FF2B5EF4-FFF2-40B4-BE49-F238E27FC236}">
                <a16:creationId xmlns:a16="http://schemas.microsoft.com/office/drawing/2014/main" id="{821270A0-01CF-6D78-64D3-D2393CA1DB1B}"/>
              </a:ext>
            </a:extLst>
          </p:cNvPr>
          <p:cNvSpPr txBox="1"/>
          <p:nvPr/>
        </p:nvSpPr>
        <p:spPr>
          <a:xfrm>
            <a:off x="594592" y="1162619"/>
            <a:ext cx="10997719" cy="35855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98EA"/>
                </a:solidFill>
                <a:effectLst/>
                <a:uLnTx/>
                <a:uFillTx/>
                <a:latin typeface="Century Gothic" panose="020B0502020202020204" pitchFamily="34" charset="0"/>
                <a:ea typeface="+mn-ea"/>
                <a:cs typeface="+mn-cs"/>
              </a:rPr>
              <a:t>About This Resour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These slides are one component of a continuing education program available online at </a:t>
            </a:r>
            <a:r>
              <a:rPr kumimoji="0" lang="en-US" sz="1500" b="0" i="0" u="none" strike="noStrike" kern="1200" cap="none" spc="0" normalizeH="0" baseline="0" noProof="0" dirty="0" err="1">
                <a:ln>
                  <a:noFill/>
                </a:ln>
                <a:solidFill>
                  <a:srgbClr val="747474"/>
                </a:solidFill>
                <a:effectLst/>
                <a:uLnTx/>
                <a:uFillTx/>
                <a:latin typeface="Arial" panose="020B0604020202020204" pitchFamily="34" charset="0"/>
                <a:ea typeface="+mn-ea"/>
                <a:cs typeface="Arial" panose="020B0604020202020204" pitchFamily="34" charset="0"/>
              </a:rPr>
              <a:t>MedEd</a:t>
            </a: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 On The Go titled </a:t>
            </a:r>
            <a:r>
              <a:rPr kumimoji="0" lang="en-US" sz="1500" b="0" i="0" u="sng" strike="noStrike" kern="1200" cap="none" spc="0" normalizeH="0" baseline="0" noProof="0" dirty="0">
                <a:ln>
                  <a:noFill/>
                </a:ln>
                <a:solidFill>
                  <a:srgbClr val="0078D7"/>
                </a:solidFill>
                <a:effectLst/>
                <a:uLnTx/>
                <a:uFillTx/>
                <a:latin typeface="Arial" panose="020B0604020202020204" pitchFamily="34" charset="0"/>
                <a:ea typeface="+mn-ea"/>
                <a:cs typeface="Arial" panose="020B0604020202020204" pitchFamily="34" charset="0"/>
                <a:hlinkClick r:id="rId3"/>
              </a:rPr>
              <a:t>West Regional Pulmonary Hypertension Summit – A Case-Based Look At Diagnosis and Treatment</a:t>
            </a:r>
            <a:endParaRPr kumimoji="0" lang="en-US" sz="1500" b="0" i="0" u="sng" strike="noStrike" kern="1200" cap="none" spc="0" normalizeH="0" baseline="0" noProof="0" dirty="0">
              <a:ln>
                <a:noFill/>
              </a:ln>
              <a:solidFill>
                <a:srgbClr val="0078D7"/>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Program Learning Objectives:</a:t>
            </a: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Review essentials of the updated ERS/ESC diagnostic and treatment guidelines and emerging medical entities for treatm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Discuss current concepts on diagnosis and treatment of CTEPH and CTED with a real-world focu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Debate the importance and practice of screening for, diagnosing, and treating PAH associated with connective tissue diseas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Learn the essentials of cardiopulmonary exercise testing for the detection and diagnosis of pulmonary hypertension</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Consider lessons from the symposium in light of real-world case exampl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err="1">
                <a:ln>
                  <a:noFill/>
                </a:ln>
                <a:solidFill>
                  <a:srgbClr val="0098EA"/>
                </a:solidFill>
                <a:effectLst/>
                <a:uLnTx/>
                <a:uFillTx/>
                <a:latin typeface="Century Gothic" panose="020B0502020202020204" pitchFamily="34" charset="0"/>
                <a:ea typeface="+mn-ea"/>
                <a:cs typeface="Arial" panose="020B0604020202020204" pitchFamily="34" charset="0"/>
              </a:rPr>
              <a:t>MedEd</a:t>
            </a:r>
            <a:r>
              <a:rPr kumimoji="0" lang="en-US" sz="1500" b="1" i="0" u="none" strike="noStrike" kern="1200" cap="none" spc="0" normalizeH="0" baseline="0" noProof="0" dirty="0">
                <a:ln>
                  <a:noFill/>
                </a:ln>
                <a:solidFill>
                  <a:srgbClr val="0098EA"/>
                </a:solidFill>
                <a:effectLst/>
                <a:uLnTx/>
                <a:uFillTx/>
                <a:latin typeface="Century Gothic" panose="020B0502020202020204" pitchFamily="34" charset="0"/>
                <a:ea typeface="+mn-ea"/>
                <a:cs typeface="Arial" panose="020B0604020202020204" pitchFamily="34" charset="0"/>
              </a:rPr>
              <a:t> On The Go</a:t>
            </a:r>
            <a:r>
              <a:rPr kumimoji="0" lang="en-US" sz="1500" b="1" i="0" u="none" strike="noStrike" kern="1200" cap="none" spc="0" normalizeH="0" baseline="30000" noProof="0" dirty="0">
                <a:ln>
                  <a:noFill/>
                </a:ln>
                <a:solidFill>
                  <a:srgbClr val="0098EA"/>
                </a:solidFill>
                <a:effectLst/>
                <a:uLnTx/>
                <a:uFillTx/>
                <a:latin typeface="Century Gothic" panose="020B0502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hlinkClick r:id="rId4"/>
              </a:rPr>
              <a:t>www.mededonthego.com</a:t>
            </a: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747474"/>
              </a:solidFill>
              <a:effectLst/>
              <a:uLnTx/>
              <a:uFillTx/>
              <a:latin typeface="Calibri" panose="020F0502020204030204"/>
              <a:ea typeface="+mn-ea"/>
              <a:cs typeface="+mn-cs"/>
            </a:endParaRPr>
          </a:p>
        </p:txBody>
      </p:sp>
      <p:cxnSp>
        <p:nvCxnSpPr>
          <p:cNvPr id="25" name="Straight Connector 24">
            <a:extLst>
              <a:ext uri="{FF2B5EF4-FFF2-40B4-BE49-F238E27FC236}">
                <a16:creationId xmlns:a16="http://schemas.microsoft.com/office/drawing/2014/main" id="{6D57FF65-33DE-661D-FDBA-12500FF6E05A}"/>
              </a:ext>
            </a:extLst>
          </p:cNvPr>
          <p:cNvCxnSpPr>
            <a:cxnSpLocks/>
          </p:cNvCxnSpPr>
          <p:nvPr/>
        </p:nvCxnSpPr>
        <p:spPr>
          <a:xfrm>
            <a:off x="600876" y="5388512"/>
            <a:ext cx="10996532" cy="0"/>
          </a:xfrm>
          <a:prstGeom prst="line">
            <a:avLst/>
          </a:prstGeom>
          <a:ln>
            <a:solidFill>
              <a:srgbClr val="0098EA"/>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2187CAD-40DF-359C-4264-683025719B57}"/>
              </a:ext>
            </a:extLst>
          </p:cNvPr>
          <p:cNvSpPr txBox="1"/>
          <p:nvPr/>
        </p:nvSpPr>
        <p:spPr>
          <a:xfrm>
            <a:off x="9217940" y="5707282"/>
            <a:ext cx="2165677"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47474"/>
                </a:solidFill>
                <a:effectLst/>
                <a:uLnTx/>
                <a:uFillTx/>
                <a:latin typeface="Arial" panose="020B0604020202020204" pitchFamily="34" charset="0"/>
                <a:ea typeface="Times New Roman" panose="02020603050405020304" pitchFamily="18" charset="0"/>
                <a:cs typeface="Arial" panose="020B0604020202020204" pitchFamily="34" charset="0"/>
              </a:rPr>
              <a:t>To contact us regarding inaccuracies, omissions or permissions please email us at </a:t>
            </a:r>
            <a:r>
              <a:rPr kumimoji="0" lang="en-US" sz="1200" b="0" i="0" u="sng" strike="noStrike" kern="1200" cap="none" spc="0" normalizeH="0" baseline="0" noProof="0" dirty="0">
                <a:ln>
                  <a:noFill/>
                </a:ln>
                <a:solidFill>
                  <a:srgbClr val="3898F9"/>
                </a:solidFill>
                <a:effectLst/>
                <a:uLnTx/>
                <a:uFillTx/>
                <a:latin typeface="Arial" panose="020B0604020202020204" pitchFamily="34" charset="0"/>
                <a:ea typeface="Times New Roman" panose="02020603050405020304" pitchFamily="18" charset="0"/>
                <a:cs typeface="Arial" panose="020B0604020202020204" pitchFamily="34" charset="0"/>
                <a:hlinkClick r:id="rId5"/>
              </a:rPr>
              <a:t>support@MedEdOTG.com</a:t>
            </a: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Times New Roman" panose="02020603050405020304" pitchFamily="18" charset="0"/>
                <a:cs typeface="Arial" panose="020B0604020202020204" pitchFamily="34" charset="0"/>
              </a:rPr>
              <a:t> </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8" name="Graphic 7" descr="Chat bubble outline">
            <a:extLst>
              <a:ext uri="{FF2B5EF4-FFF2-40B4-BE49-F238E27FC236}">
                <a16:creationId xmlns:a16="http://schemas.microsoft.com/office/drawing/2014/main" id="{06F4C142-8867-0F42-B3B7-D4F09FB224B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8375917" y="5590710"/>
            <a:ext cx="787862" cy="787862"/>
          </a:xfrm>
          <a:prstGeom prst="rect">
            <a:avLst/>
          </a:prstGeom>
        </p:spPr>
      </p:pic>
      <p:pic>
        <p:nvPicPr>
          <p:cNvPr id="20" name="Graphic 19">
            <a:extLst>
              <a:ext uri="{FF2B5EF4-FFF2-40B4-BE49-F238E27FC236}">
                <a16:creationId xmlns:a16="http://schemas.microsoft.com/office/drawing/2014/main" id="{9D6FF3C3-E8EB-6F75-281D-7EC60CF26BB5}"/>
              </a:ext>
            </a:extLst>
          </p:cNvPr>
          <p:cNvPicPr>
            <a:picLocks noChangeAspect="1"/>
          </p:cNvPicPr>
          <p:nvPr/>
        </p:nvPicPr>
        <p:blipFill rotWithShape="1">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b="17964"/>
          <a:stretch/>
        </p:blipFill>
        <p:spPr>
          <a:xfrm>
            <a:off x="618797" y="5731536"/>
            <a:ext cx="787862" cy="646331"/>
          </a:xfrm>
          <a:prstGeom prst="rect">
            <a:avLst/>
          </a:prstGeom>
        </p:spPr>
      </p:pic>
      <p:sp>
        <p:nvSpPr>
          <p:cNvPr id="2" name="TextBox 1">
            <a:extLst>
              <a:ext uri="{FF2B5EF4-FFF2-40B4-BE49-F238E27FC236}">
                <a16:creationId xmlns:a16="http://schemas.microsoft.com/office/drawing/2014/main" id="{6CFC2CE5-F394-6990-63F0-E857AC5C3519}"/>
              </a:ext>
            </a:extLst>
          </p:cNvPr>
          <p:cNvSpPr txBox="1"/>
          <p:nvPr/>
        </p:nvSpPr>
        <p:spPr>
          <a:xfrm>
            <a:off x="5366615" y="5707282"/>
            <a:ext cx="246944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Times New Roman" panose="02020603050405020304" pitchFamily="18" charset="0"/>
                <a:cs typeface="Arial" panose="020B0604020202020204" pitchFamily="34" charset="0"/>
              </a:rPr>
              <a:t>This content can be saved for personal use (non-commercial use only) with credit given to the resource authors.</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6" name="Graphic 5" descr="Download from cloud outline">
            <a:extLst>
              <a:ext uri="{FF2B5EF4-FFF2-40B4-BE49-F238E27FC236}">
                <a16:creationId xmlns:a16="http://schemas.microsoft.com/office/drawing/2014/main" id="{2D69C189-75F0-6840-CF40-7D57A5931DA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79126" y="5625435"/>
            <a:ext cx="787862" cy="787862"/>
          </a:xfrm>
          <a:prstGeom prst="rect">
            <a:avLst/>
          </a:prstGeom>
        </p:spPr>
      </p:pic>
    </p:spTree>
    <p:extLst>
      <p:ext uri="{BB962C8B-B14F-4D97-AF65-F5344CB8AC3E}">
        <p14:creationId xmlns:p14="http://schemas.microsoft.com/office/powerpoint/2010/main" val="26007701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think-cell data - do not delete" hidden="1">
            <a:extLst>
              <a:ext uri="{FF2B5EF4-FFF2-40B4-BE49-F238E27FC236}">
                <a16:creationId xmlns:a16="http://schemas.microsoft.com/office/drawing/2014/main" id="{07CB5400-2E89-CA52-05E5-6A4275F19AE8}"/>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11" name="think-cell data - do not delete" hidden="1">
                        <a:extLst>
                          <a:ext uri="{FF2B5EF4-FFF2-40B4-BE49-F238E27FC236}">
                            <a16:creationId xmlns:a16="http://schemas.microsoft.com/office/drawing/2014/main" id="{07CB5400-2E89-CA52-05E5-6A4275F19AE8}"/>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76C62CC9-6D78-4492-887E-E9EF6066EA73}"/>
              </a:ext>
            </a:extLst>
          </p:cNvPr>
          <p:cNvSpPr>
            <a:spLocks noGrp="1"/>
          </p:cNvSpPr>
          <p:nvPr>
            <p:ph type="title"/>
          </p:nvPr>
        </p:nvSpPr>
        <p:spPr>
          <a:xfrm>
            <a:off x="296041" y="8022"/>
            <a:ext cx="11895960" cy="874766"/>
          </a:xfrm>
        </p:spPr>
        <p:txBody>
          <a:bodyPr vert="horz">
            <a:normAutofit/>
          </a:bodyPr>
          <a:lstStyle/>
          <a:p>
            <a:r>
              <a:rPr lang="en-US" sz="2800" b="1" dirty="0"/>
              <a:t>Primary Endpoint: Change in PVR From Baseline to Week 24</a:t>
            </a:r>
            <a:br>
              <a:rPr lang="en-US" sz="2800" b="1" dirty="0"/>
            </a:br>
            <a:r>
              <a:rPr lang="en-US" sz="1800" b="1" i="1" dirty="0"/>
              <a:t>(~60% of patients were on triple background PAH therapy; ~45% wer</a:t>
            </a:r>
            <a:r>
              <a:rPr lang="en-US" sz="1800" i="1" dirty="0"/>
              <a:t>e on parenteral prostacyclin</a:t>
            </a:r>
            <a:r>
              <a:rPr lang="en-US" sz="1800" b="1" i="1" dirty="0"/>
              <a:t>)</a:t>
            </a:r>
            <a:endParaRPr lang="en-US" sz="2800" b="1" i="1" dirty="0"/>
          </a:p>
        </p:txBody>
      </p:sp>
      <p:sp>
        <p:nvSpPr>
          <p:cNvPr id="4" name="Slide Number Placeholder 3">
            <a:extLst>
              <a:ext uri="{FF2B5EF4-FFF2-40B4-BE49-F238E27FC236}">
                <a16:creationId xmlns:a16="http://schemas.microsoft.com/office/drawing/2014/main" id="{1EB7B7BA-6D1A-4F96-A38D-7C31FC725B2D}"/>
              </a:ext>
            </a:extLst>
          </p:cNvPr>
          <p:cNvSpPr>
            <a:spLocks noGrp="1"/>
          </p:cNvSpPr>
          <p:nvPr>
            <p:ph type="sldNum" sz="quarter" idx="4294967295"/>
          </p:nvPr>
        </p:nvSpPr>
        <p:spPr>
          <a:xfrm>
            <a:off x="8610600" y="6551556"/>
            <a:ext cx="332915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2D6987-FB6D-4DB8-81B8-AD0F35E3BB5F}"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TextBox 5">
            <a:extLst>
              <a:ext uri="{FF2B5EF4-FFF2-40B4-BE49-F238E27FC236}">
                <a16:creationId xmlns:a16="http://schemas.microsoft.com/office/drawing/2014/main" id="{A2D7BB2E-1E8E-4F39-83DD-9C954F4563F9}"/>
              </a:ext>
            </a:extLst>
          </p:cNvPr>
          <p:cNvSpPr txBox="1"/>
          <p:nvPr/>
        </p:nvSpPr>
        <p:spPr>
          <a:xfrm>
            <a:off x="296040" y="6497729"/>
            <a:ext cx="11362560"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Helvetica" panose="020B0604020202020204" pitchFamily="34" charset="0"/>
                <a:ea typeface="+mn-ea"/>
                <a:cs typeface="Helvetica" panose="020B0604020202020204" pitchFamily="34" charset="0"/>
              </a:rPr>
              <a:t>Frantz RP et al. </a:t>
            </a:r>
            <a:r>
              <a:rPr kumimoji="0" lang="en-US" sz="800" b="0" i="1" u="none" strike="noStrike" kern="1200" cap="none" spc="0" normalizeH="0" baseline="0" noProof="0">
                <a:ln>
                  <a:noFill/>
                </a:ln>
                <a:solidFill>
                  <a:srgbClr val="FFFFFF"/>
                </a:solidFill>
                <a:effectLst/>
                <a:uLnTx/>
                <a:uFillTx/>
                <a:latin typeface="Helvetica" panose="020B0604020202020204" pitchFamily="34" charset="0"/>
                <a:ea typeface="+mn-ea"/>
                <a:cs typeface="Helvetica" panose="020B0604020202020204" pitchFamily="34" charset="0"/>
              </a:rPr>
              <a:t>Am J Respir Crit Care Med </a:t>
            </a:r>
            <a:r>
              <a:rPr kumimoji="0" lang="en-US" sz="800" b="0" i="0" u="none" strike="noStrike" kern="1200" cap="none" spc="0" normalizeH="0" baseline="0" noProof="0">
                <a:ln>
                  <a:noFill/>
                </a:ln>
                <a:solidFill>
                  <a:srgbClr val="FFFFFF"/>
                </a:solidFill>
                <a:effectLst/>
                <a:uLnTx/>
                <a:uFillTx/>
                <a:latin typeface="Helvetica" panose="020B0604020202020204" pitchFamily="34" charset="0"/>
                <a:ea typeface="+mn-ea"/>
                <a:cs typeface="Helvetica" panose="020B0604020202020204" pitchFamily="34" charset="0"/>
              </a:rPr>
              <a:t>2023;207:A6726.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Helvetica" panose="020B0604020202020204" pitchFamily="34" charset="0"/>
                <a:ea typeface="+mn-ea"/>
                <a:cs typeface="Helvetica" panose="020B0604020202020204" pitchFamily="34" charset="0"/>
              </a:rPr>
              <a:t>Based on an ANCOVA model with multiple imputation. </a:t>
            </a:r>
            <a:r>
              <a:rPr kumimoji="0" lang="en-US" sz="800" b="0" i="0" u="none" strike="noStrike" kern="1200" cap="none" spc="0" normalizeH="0" baseline="0" noProof="0">
                <a:ln>
                  <a:noFill/>
                </a:ln>
                <a:solidFill>
                  <a:srgbClr val="FFFFFF"/>
                </a:solidFill>
                <a:effectLst/>
                <a:uLnTx/>
                <a:uFillTx/>
                <a:latin typeface="Helvetica" panose="020B0604020202020204" pitchFamily="34" charset="0"/>
                <a:ea typeface="Calibri" panose="020F0502020204030204" pitchFamily="34" charset="0"/>
                <a:cs typeface="Helvetica" panose="020B0604020202020204" pitchFamily="34" charset="0"/>
              </a:rPr>
              <a:t>ANCOVA, analysis of covariance; FC, functional class; LS, least squares; LSMD, least squares mean difference; ITT, intention-to-treat; PVR, pulmonary vascular resistance; SE, standard error; </a:t>
            </a:r>
            <a:r>
              <a:rPr kumimoji="0" lang="da-DK" sz="800" b="0" i="0" u="none" strike="noStrike" kern="1200" cap="none" spc="0" normalizeH="0" baseline="0" noProof="0">
                <a:ln>
                  <a:noFill/>
                </a:ln>
                <a:solidFill>
                  <a:srgbClr val="FFFFFF"/>
                </a:solidFill>
                <a:effectLst/>
                <a:uLnTx/>
                <a:uFillTx/>
                <a:latin typeface="Helvetica" panose="020B0604020202020204" pitchFamily="34" charset="0"/>
                <a:ea typeface="Calibri" panose="020F0502020204030204" pitchFamily="34" charset="0"/>
                <a:cs typeface="Helvetica" panose="020B0604020202020204" pitchFamily="34" charset="0"/>
              </a:rPr>
              <a:t>WHO, World Health Organization</a:t>
            </a:r>
            <a:r>
              <a:rPr kumimoji="0" lang="en-US" sz="800" b="0" i="0" u="none" strike="noStrike" kern="1200" cap="none" spc="0" normalizeH="0" baseline="0" noProof="0">
                <a:ln>
                  <a:noFill/>
                </a:ln>
                <a:solidFill>
                  <a:srgbClr val="FFFFFF"/>
                </a:solidFill>
                <a:effectLst/>
                <a:uLnTx/>
                <a:uFillTx/>
                <a:latin typeface="Helvetica" panose="020B0604020202020204" pitchFamily="34" charset="0"/>
                <a:ea typeface="Calibri" panose="020F0502020204030204" pitchFamily="34" charset="0"/>
                <a:cs typeface="Helvetica" panose="020B0604020202020204" pitchFamily="34" charset="0"/>
              </a:rPr>
              <a:t>.</a:t>
            </a:r>
          </a:p>
        </p:txBody>
      </p:sp>
      <p:sp>
        <p:nvSpPr>
          <p:cNvPr id="20" name="TextBox 19">
            <a:extLst>
              <a:ext uri="{FF2B5EF4-FFF2-40B4-BE49-F238E27FC236}">
                <a16:creationId xmlns:a16="http://schemas.microsoft.com/office/drawing/2014/main" id="{C69AD129-DD16-E243-3D9B-025224D79EB8}"/>
              </a:ext>
            </a:extLst>
          </p:cNvPr>
          <p:cNvSpPr txBox="1"/>
          <p:nvPr/>
        </p:nvSpPr>
        <p:spPr>
          <a:xfrm>
            <a:off x="393349" y="5750419"/>
            <a:ext cx="11658599" cy="684803"/>
          </a:xfrm>
          <a:prstGeom prst="rect">
            <a:avLst/>
          </a:prstGeom>
          <a:noFill/>
        </p:spPr>
        <p:txBody>
          <a:bodyPr wrap="square" rtlCol="0">
            <a:spAutoFit/>
          </a:bodyPr>
          <a:lstStyle>
            <a:defPPr>
              <a:defRPr lang="en-US"/>
            </a:defPPr>
            <a:lvl1pPr>
              <a:defRPr sz="2400">
                <a:solidFill>
                  <a:srgbClr val="3E97AF"/>
                </a:solidFill>
              </a:defRPr>
            </a:lvl1pPr>
          </a:lstStyle>
          <a:p>
            <a:pPr marL="228600" marR="0" lvl="0" indent="-228600" algn="l" defTabSz="914400" rtl="0" eaLnBrk="1" fontAlgn="auto" latinLnBrk="0" hangingPunct="1">
              <a:lnSpc>
                <a:spcPct val="100000"/>
              </a:lnSpc>
              <a:spcBef>
                <a:spcPts val="0"/>
              </a:spcBef>
              <a:spcAft>
                <a:spcPts val="300"/>
              </a:spcAft>
              <a:buClr>
                <a:srgbClr val="ED7D31"/>
              </a:buClr>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Helvetica"/>
                <a:ea typeface="+mn-ea"/>
                <a:cs typeface="Helvetica"/>
              </a:rPr>
              <a:t>In the overall population, seralutinib significantly reduced PVR at Week 24 vs placebo (14.3%, p=0.0310) (</a:t>
            </a:r>
            <a:r>
              <a:rPr kumimoji="0" lang="en-US" sz="1800" b="1" i="0" u="none" strike="noStrike" kern="1200" cap="none" spc="0" normalizeH="0" baseline="0" noProof="0">
                <a:ln>
                  <a:noFill/>
                </a:ln>
                <a:solidFill>
                  <a:prstClr val="black"/>
                </a:solidFill>
                <a:effectLst/>
                <a:uLnTx/>
                <a:uFillTx/>
                <a:latin typeface="Helvetica"/>
                <a:ea typeface="+mn-ea"/>
                <a:cs typeface="Helvetica"/>
              </a:rPr>
              <a:t>A</a:t>
            </a:r>
            <a:r>
              <a:rPr kumimoji="0" lang="en-US" sz="1800" b="0" i="0" u="none" strike="noStrike" kern="1200" cap="none" spc="0" normalizeH="0" baseline="0" noProof="0">
                <a:ln>
                  <a:noFill/>
                </a:ln>
                <a:solidFill>
                  <a:prstClr val="black"/>
                </a:solidFill>
                <a:effectLst/>
                <a:uLnTx/>
                <a:uFillTx/>
                <a:latin typeface="Helvetica"/>
                <a:ea typeface="+mn-ea"/>
                <a:cs typeface="Helvetica"/>
              </a:rPr>
              <a:t>)</a:t>
            </a:r>
          </a:p>
          <a:p>
            <a:pPr marL="228600" marR="0" lvl="0" indent="-228600" algn="l" defTabSz="914400" rtl="0" eaLnBrk="1" fontAlgn="auto" latinLnBrk="0" hangingPunct="1">
              <a:lnSpc>
                <a:spcPct val="100000"/>
              </a:lnSpc>
              <a:spcBef>
                <a:spcPts val="0"/>
              </a:spcBef>
              <a:spcAft>
                <a:spcPts val="300"/>
              </a:spcAft>
              <a:buClr>
                <a:srgbClr val="ED7D31"/>
              </a:buClr>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Helvetica"/>
                <a:ea typeface="+mn-ea"/>
                <a:cs typeface="Helvetica"/>
              </a:rPr>
              <a:t>Seralutinib had a more pronounced effect on PVR in FC III patients: 20.8% reduction (p=0.0427) (</a:t>
            </a:r>
            <a:r>
              <a:rPr kumimoji="0" lang="en-US" sz="1800" b="1" i="0" u="none" strike="noStrike" kern="1200" cap="none" spc="0" normalizeH="0" baseline="0" noProof="0">
                <a:ln>
                  <a:noFill/>
                </a:ln>
                <a:solidFill>
                  <a:prstClr val="black"/>
                </a:solidFill>
                <a:effectLst/>
                <a:uLnTx/>
                <a:uFillTx/>
                <a:latin typeface="Helvetica"/>
                <a:ea typeface="+mn-ea"/>
                <a:cs typeface="Helvetica"/>
              </a:rPr>
              <a:t>B</a:t>
            </a:r>
            <a:r>
              <a:rPr kumimoji="0" lang="en-US" sz="1800" b="0" i="0" u="none" strike="noStrike" kern="1200" cap="none" spc="0" normalizeH="0" baseline="0" noProof="0">
                <a:ln>
                  <a:noFill/>
                </a:ln>
                <a:solidFill>
                  <a:prstClr val="black"/>
                </a:solidFill>
                <a:effectLst/>
                <a:uLnTx/>
                <a:uFillTx/>
                <a:latin typeface="Helvetica"/>
                <a:ea typeface="+mn-ea"/>
                <a:cs typeface="Helvetica"/>
              </a:rPr>
              <a:t>)</a:t>
            </a:r>
          </a:p>
        </p:txBody>
      </p:sp>
      <p:grpSp>
        <p:nvGrpSpPr>
          <p:cNvPr id="3" name="Group 2">
            <a:extLst>
              <a:ext uri="{FF2B5EF4-FFF2-40B4-BE49-F238E27FC236}">
                <a16:creationId xmlns:a16="http://schemas.microsoft.com/office/drawing/2014/main" id="{AE2A0196-7C06-A0F1-5B36-91789D03E599}"/>
              </a:ext>
            </a:extLst>
          </p:cNvPr>
          <p:cNvGrpSpPr/>
          <p:nvPr/>
        </p:nvGrpSpPr>
        <p:grpSpPr>
          <a:xfrm>
            <a:off x="468894" y="1202347"/>
            <a:ext cx="10739037" cy="4232557"/>
            <a:chOff x="468894" y="1245892"/>
            <a:chExt cx="10739037" cy="4232557"/>
          </a:xfrm>
        </p:grpSpPr>
        <p:pic>
          <p:nvPicPr>
            <p:cNvPr id="7" name="Picture 6" descr="A graph of a number of patients with a number of patients with a number of patients with a number of patients with a number of patients with a number of patients with a number of patients with a&#10;&#10;Description automatically generated with low confidence">
              <a:extLst>
                <a:ext uri="{FF2B5EF4-FFF2-40B4-BE49-F238E27FC236}">
                  <a16:creationId xmlns:a16="http://schemas.microsoft.com/office/drawing/2014/main" id="{CB5E4F81-D02E-6431-8D13-FBFEEBD8B1A3}"/>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755374" y="2043519"/>
              <a:ext cx="4465212" cy="3307710"/>
            </a:xfrm>
            <a:prstGeom prst="rect">
              <a:avLst/>
            </a:prstGeom>
          </p:spPr>
        </p:pic>
        <p:sp>
          <p:nvSpPr>
            <p:cNvPr id="14" name="Rectangle: Rounded Corners 13">
              <a:extLst>
                <a:ext uri="{FF2B5EF4-FFF2-40B4-BE49-F238E27FC236}">
                  <a16:creationId xmlns:a16="http://schemas.microsoft.com/office/drawing/2014/main" id="{D8D5ECA4-0A17-4EBA-F06F-7C918CCF30F6}"/>
                </a:ext>
              </a:extLst>
            </p:cNvPr>
            <p:cNvSpPr/>
            <p:nvPr/>
          </p:nvSpPr>
          <p:spPr>
            <a:xfrm>
              <a:off x="2046520" y="1249085"/>
              <a:ext cx="2455818" cy="493612"/>
            </a:xfrm>
            <a:prstGeom prst="roundRect">
              <a:avLst>
                <a:gd name="adj" fmla="val 6029"/>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latin typeface="Helvetica" panose="020B0604020202020204" pitchFamily="34" charset="0"/>
                  <a:ea typeface="+mn-ea"/>
                  <a:cs typeface="Helvetica" panose="020B0604020202020204" pitchFamily="34" charset="0"/>
                </a:rPr>
                <a:t>Overall population</a:t>
              </a:r>
              <a:endParaRPr kumimoji="0" lang="en-US" sz="1600" b="0" i="0" u="none" strike="noStrike" kern="0" cap="none" spc="0" normalizeH="0" baseline="0" noProof="0">
                <a:ln>
                  <a:noFill/>
                </a:ln>
                <a:solidFill>
                  <a:prstClr val="black"/>
                </a:solidFill>
                <a:effectLst/>
                <a:uLnTx/>
                <a:uFillTx/>
                <a:latin typeface="Helvetica" panose="020B0604020202020204" pitchFamily="34" charset="0"/>
                <a:ea typeface="+mn-ea"/>
                <a:cs typeface="Helvetica" panose="020B0604020202020204" pitchFamily="34" charset="0"/>
              </a:endParaRPr>
            </a:p>
          </p:txBody>
        </p:sp>
        <p:sp>
          <p:nvSpPr>
            <p:cNvPr id="15" name="TextBox 14">
              <a:extLst>
                <a:ext uri="{FF2B5EF4-FFF2-40B4-BE49-F238E27FC236}">
                  <a16:creationId xmlns:a16="http://schemas.microsoft.com/office/drawing/2014/main" id="{82AC0570-6D02-87C2-7C99-0575FBC4AAD4}"/>
                </a:ext>
              </a:extLst>
            </p:cNvPr>
            <p:cNvSpPr txBox="1"/>
            <p:nvPr/>
          </p:nvSpPr>
          <p:spPr>
            <a:xfrm>
              <a:off x="468894" y="1270308"/>
              <a:ext cx="428322" cy="400110"/>
            </a:xfrm>
            <a:prstGeom prst="rect">
              <a:avLst/>
            </a:prstGeom>
            <a:noFill/>
          </p:spPr>
          <p:txBody>
            <a:bodyPr wrap="none" rtlCol="0">
              <a:spAutoFit/>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orbel"/>
                  <a:ea typeface="+mn-ea"/>
                  <a:cs typeface="+mn-cs"/>
                </a:rPr>
                <a:t>A.</a:t>
              </a:r>
            </a:p>
          </p:txBody>
        </p:sp>
        <p:sp>
          <p:nvSpPr>
            <p:cNvPr id="16" name="TextBox 15">
              <a:extLst>
                <a:ext uri="{FF2B5EF4-FFF2-40B4-BE49-F238E27FC236}">
                  <a16:creationId xmlns:a16="http://schemas.microsoft.com/office/drawing/2014/main" id="{6F49B373-93E8-A78D-B341-C94DB6B2AEE2}"/>
                </a:ext>
              </a:extLst>
            </p:cNvPr>
            <p:cNvSpPr txBox="1"/>
            <p:nvPr/>
          </p:nvSpPr>
          <p:spPr>
            <a:xfrm>
              <a:off x="6235600" y="1270520"/>
              <a:ext cx="420308" cy="400110"/>
            </a:xfrm>
            <a:prstGeom prst="rect">
              <a:avLst/>
            </a:prstGeom>
            <a:noFill/>
          </p:spPr>
          <p:txBody>
            <a:bodyPr wrap="none" rtlCol="0">
              <a:spAutoFit/>
            </a:bodyPr>
            <a:lstStyle>
              <a:defPPr>
                <a:defRPr lang="en-US"/>
              </a:defPPr>
              <a:lvl1pPr>
                <a:defRPr b="1">
                  <a:latin typeface="Corbel"/>
                </a:defRPr>
              </a:lvl1pPr>
            </a:lstStyle>
            <a:p>
              <a:pPr marL="0" marR="0" lvl="0" indent="0" algn="l" defTabSz="121917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a:noFill/>
                  </a:ln>
                  <a:solidFill>
                    <a:prstClr val="black"/>
                  </a:solidFill>
                  <a:effectLst/>
                  <a:uLnTx/>
                  <a:uFillTx/>
                  <a:latin typeface="Corbel"/>
                  <a:ea typeface="+mn-ea"/>
                  <a:cs typeface="+mn-cs"/>
                </a:rPr>
                <a:t>B.</a:t>
              </a:r>
            </a:p>
          </p:txBody>
        </p:sp>
        <p:sp>
          <p:nvSpPr>
            <p:cNvPr id="8" name="Rectangle: Rounded Corners 7">
              <a:extLst>
                <a:ext uri="{FF2B5EF4-FFF2-40B4-BE49-F238E27FC236}">
                  <a16:creationId xmlns:a16="http://schemas.microsoft.com/office/drawing/2014/main" id="{54ACD966-5A67-EF09-1485-383B98710283}"/>
                </a:ext>
              </a:extLst>
            </p:cNvPr>
            <p:cNvSpPr/>
            <p:nvPr/>
          </p:nvSpPr>
          <p:spPr>
            <a:xfrm>
              <a:off x="6871063" y="1245892"/>
              <a:ext cx="4336868" cy="493612"/>
            </a:xfrm>
            <a:prstGeom prst="roundRect">
              <a:avLst>
                <a:gd name="adj" fmla="val 6029"/>
              </a:avLst>
            </a:prstGeom>
            <a:noFill/>
            <a:ln w="12700" cap="flat" cmpd="sng" algn="ctr">
              <a:no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latin typeface="Helvetica" panose="020B0604020202020204" pitchFamily="34" charset="0"/>
                  <a:ea typeface="+mn-ea"/>
                  <a:cs typeface="Helvetica" panose="020B0604020202020204" pitchFamily="34" charset="0"/>
                </a:rPr>
                <a:t>Prespecified subgroup analysis: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0" cap="none" spc="0" normalizeH="0" baseline="0" noProof="0">
                  <a:ln>
                    <a:noFill/>
                  </a:ln>
                  <a:solidFill>
                    <a:prstClr val="black"/>
                  </a:solidFill>
                  <a:effectLst/>
                  <a:uLnTx/>
                  <a:uFillTx/>
                  <a:latin typeface="Helvetica" panose="020B0604020202020204" pitchFamily="34" charset="0"/>
                  <a:ea typeface="+mn-ea"/>
                  <a:cs typeface="Helvetica" panose="020B0604020202020204" pitchFamily="34" charset="0"/>
                </a:rPr>
                <a:t>WHO Functional Class</a:t>
              </a:r>
              <a:endParaRPr kumimoji="0" lang="en-US" sz="1600" b="0" i="0" u="none" strike="noStrike" kern="0" cap="none" spc="0" normalizeH="0" baseline="0" noProof="0">
                <a:ln>
                  <a:noFill/>
                </a:ln>
                <a:solidFill>
                  <a:prstClr val="black"/>
                </a:solidFill>
                <a:effectLst/>
                <a:uLnTx/>
                <a:uFillTx/>
                <a:latin typeface="Helvetica" panose="020B0604020202020204" pitchFamily="34" charset="0"/>
                <a:ea typeface="+mn-ea"/>
                <a:cs typeface="Helvetica" panose="020B0604020202020204" pitchFamily="34" charset="0"/>
              </a:endParaRPr>
            </a:p>
          </p:txBody>
        </p:sp>
        <p:pic>
          <p:nvPicPr>
            <p:cNvPr id="19" name="Picture 18" descr="A picture containing text, screenshot, diagram, line&#10;&#10;Description automatically generated">
              <a:extLst>
                <a:ext uri="{FF2B5EF4-FFF2-40B4-BE49-F238E27FC236}">
                  <a16:creationId xmlns:a16="http://schemas.microsoft.com/office/drawing/2014/main" id="{54E874D2-6C5E-6502-2356-FC1072DE968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480313" y="2015420"/>
              <a:ext cx="4635612" cy="3463029"/>
            </a:xfrm>
            <a:prstGeom prst="rect">
              <a:avLst/>
            </a:prstGeom>
          </p:spPr>
        </p:pic>
      </p:grpSp>
      <p:cxnSp>
        <p:nvCxnSpPr>
          <p:cNvPr id="9" name="Straight Connector 8">
            <a:extLst>
              <a:ext uri="{FF2B5EF4-FFF2-40B4-BE49-F238E27FC236}">
                <a16:creationId xmlns:a16="http://schemas.microsoft.com/office/drawing/2014/main" id="{41233AE3-7FF3-E9A9-52FF-D96308ADF6AE}"/>
              </a:ext>
            </a:extLst>
          </p:cNvPr>
          <p:cNvCxnSpPr/>
          <p:nvPr/>
        </p:nvCxnSpPr>
        <p:spPr>
          <a:xfrm>
            <a:off x="0" y="914400"/>
            <a:ext cx="12192000" cy="0"/>
          </a:xfrm>
          <a:prstGeom prst="line">
            <a:avLst/>
          </a:prstGeom>
          <a:ln w="38100">
            <a:solidFill>
              <a:srgbClr val="70B9C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309633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4AD69F26-F953-61B5-0D8E-DB6D8A6511B3}"/>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9" name="think-cell data - do not delete" hidden="1">
                        <a:extLst>
                          <a:ext uri="{FF2B5EF4-FFF2-40B4-BE49-F238E27FC236}">
                            <a16:creationId xmlns:a16="http://schemas.microsoft.com/office/drawing/2014/main" id="{4AD69F26-F953-61B5-0D8E-DB6D8A6511B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69900AE-D4CC-4F93-9877-C16778789963}"/>
              </a:ext>
            </a:extLst>
          </p:cNvPr>
          <p:cNvSpPr>
            <a:spLocks noGrp="1"/>
          </p:cNvSpPr>
          <p:nvPr>
            <p:ph type="title"/>
          </p:nvPr>
        </p:nvSpPr>
        <p:spPr>
          <a:xfrm>
            <a:off x="32085" y="-16041"/>
            <a:ext cx="12192000" cy="874766"/>
          </a:xfrm>
        </p:spPr>
        <p:txBody>
          <a:bodyPr vert="horz"/>
          <a:lstStyle/>
          <a:p>
            <a:r>
              <a:rPr lang="en-US" b="1" dirty="0"/>
              <a:t>  </a:t>
            </a:r>
            <a:r>
              <a:rPr lang="en-US" sz="2800" b="1" dirty="0"/>
              <a:t>Current Status of </a:t>
            </a:r>
            <a:r>
              <a:rPr lang="en-US" sz="2800" b="1" dirty="0" err="1"/>
              <a:t>Seralutinib</a:t>
            </a:r>
            <a:endParaRPr lang="en-US" b="1" dirty="0"/>
          </a:p>
        </p:txBody>
      </p:sp>
      <p:sp>
        <p:nvSpPr>
          <p:cNvPr id="3" name="Content Placeholder 2">
            <a:extLst>
              <a:ext uri="{FF2B5EF4-FFF2-40B4-BE49-F238E27FC236}">
                <a16:creationId xmlns:a16="http://schemas.microsoft.com/office/drawing/2014/main" id="{48F8027A-2A0A-48F6-9955-DF2FFAF84F9B}"/>
              </a:ext>
            </a:extLst>
          </p:cNvPr>
          <p:cNvSpPr>
            <a:spLocks noGrp="1"/>
          </p:cNvSpPr>
          <p:nvPr>
            <p:ph idx="1"/>
          </p:nvPr>
        </p:nvSpPr>
        <p:spPr>
          <a:xfrm>
            <a:off x="269176" y="1101045"/>
            <a:ext cx="11186911" cy="4878675"/>
          </a:xfrm>
        </p:spPr>
        <p:txBody>
          <a:bodyPr vert="horz" lIns="91440" tIns="45720" rIns="91440" bIns="45720" rtlCol="0" anchor="t">
            <a:normAutofit lnSpcReduction="10000"/>
          </a:bodyPr>
          <a:lstStyle/>
          <a:p>
            <a:r>
              <a:rPr lang="en-US" sz="2400" dirty="0" err="1">
                <a:latin typeface="Helvetica"/>
                <a:cs typeface="Helvetica"/>
              </a:rPr>
              <a:t>Seralutinib</a:t>
            </a:r>
            <a:r>
              <a:rPr lang="en-US" sz="2400" dirty="0">
                <a:latin typeface="Helvetica"/>
                <a:cs typeface="Helvetica"/>
              </a:rPr>
              <a:t>, a PDGFR, CSF1R, and c-KIT tyrosine kinase inhibitor administered by dry powder inhaler, demonstrated clinical activity and a favorable safety profile in the Phase 2 TORREY trial</a:t>
            </a:r>
          </a:p>
          <a:p>
            <a:r>
              <a:rPr lang="en-US" sz="2400" dirty="0">
                <a:latin typeface="Helvetica"/>
                <a:cs typeface="Helvetica"/>
              </a:rPr>
              <a:t>TORREY met the primary endpoint of reduction in PVR in a heavily treated, prevalent study population on standard of care background medications</a:t>
            </a:r>
          </a:p>
          <a:p>
            <a:r>
              <a:rPr lang="en-US" sz="2400" dirty="0" err="1">
                <a:latin typeface="Helvetica"/>
                <a:cs typeface="Helvetica"/>
              </a:rPr>
              <a:t>Prespecified</a:t>
            </a:r>
            <a:r>
              <a:rPr lang="en-US" sz="2400" dirty="0">
                <a:latin typeface="Helvetica"/>
                <a:cs typeface="Helvetica"/>
              </a:rPr>
              <a:t> subgroup analyses showed greater benefit in FC III and subjects with REVEAL 2.0 risk score ≥ 6 </a:t>
            </a:r>
          </a:p>
          <a:p>
            <a:r>
              <a:rPr lang="en-US" sz="2400" dirty="0">
                <a:latin typeface="Helvetica"/>
                <a:cs typeface="Helvetica"/>
              </a:rPr>
              <a:t>The reduction in PVR and increase in PAC in conjunction with a reduction of NT-</a:t>
            </a:r>
            <a:r>
              <a:rPr lang="en-US" sz="2400" dirty="0" err="1">
                <a:latin typeface="Helvetica"/>
                <a:cs typeface="Helvetica"/>
              </a:rPr>
              <a:t>proBNP</a:t>
            </a:r>
            <a:r>
              <a:rPr lang="en-US" sz="2400" dirty="0">
                <a:latin typeface="Helvetica"/>
                <a:cs typeface="Helvetica"/>
              </a:rPr>
              <a:t> indicates that </a:t>
            </a:r>
            <a:r>
              <a:rPr lang="en-US" sz="2400" dirty="0" err="1">
                <a:latin typeface="Helvetica"/>
                <a:cs typeface="Helvetica"/>
              </a:rPr>
              <a:t>seralutinib</a:t>
            </a:r>
            <a:r>
              <a:rPr lang="en-US" sz="2400" dirty="0">
                <a:latin typeface="Helvetica"/>
                <a:cs typeface="Helvetica"/>
              </a:rPr>
              <a:t> is reducing RV afterload and having a beneficial effect on the right heart</a:t>
            </a:r>
          </a:p>
          <a:p>
            <a:r>
              <a:rPr lang="en-US" sz="2400" dirty="0">
                <a:latin typeface="Helvetica"/>
                <a:cs typeface="Helvetica"/>
              </a:rPr>
              <a:t>Proof of concept has been demonstrated and a global registration Phase 3 program in PAH is in process</a:t>
            </a:r>
          </a:p>
        </p:txBody>
      </p:sp>
      <p:sp>
        <p:nvSpPr>
          <p:cNvPr id="6" name="Slide Number Placeholder 3">
            <a:extLst>
              <a:ext uri="{FF2B5EF4-FFF2-40B4-BE49-F238E27FC236}">
                <a16:creationId xmlns:a16="http://schemas.microsoft.com/office/drawing/2014/main" id="{691FA5A2-1087-8D70-107B-647172AD1F05}"/>
              </a:ext>
            </a:extLst>
          </p:cNvPr>
          <p:cNvSpPr>
            <a:spLocks noGrp="1"/>
          </p:cNvSpPr>
          <p:nvPr>
            <p:ph type="sldNum" sz="quarter" idx="4294967295"/>
          </p:nvPr>
        </p:nvSpPr>
        <p:spPr>
          <a:xfrm>
            <a:off x="8610600" y="6551556"/>
            <a:ext cx="3329152"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62D6987-FB6D-4DB8-81B8-AD0F35E3BB5F}" type="slidenum">
              <a:rPr kumimoji="0" lang="en-US" sz="1200" b="0" i="0" u="none" strike="noStrike" kern="1200" cap="none" spc="0" normalizeH="0" baseline="0" noProof="0" smtClean="0">
                <a:ln>
                  <a:noFill/>
                </a:ln>
                <a:solidFill>
                  <a:prstClr val="white"/>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TextBox 6">
            <a:extLst>
              <a:ext uri="{FF2B5EF4-FFF2-40B4-BE49-F238E27FC236}">
                <a16:creationId xmlns:a16="http://schemas.microsoft.com/office/drawing/2014/main" id="{93EF0040-0FBC-19E0-DF94-0F639BE2B47F}"/>
              </a:ext>
            </a:extLst>
          </p:cNvPr>
          <p:cNvSpPr txBox="1"/>
          <p:nvPr/>
        </p:nvSpPr>
        <p:spPr>
          <a:xfrm>
            <a:off x="296040" y="6564841"/>
            <a:ext cx="10923249" cy="346185"/>
          </a:xfrm>
          <a:prstGeom prst="rect">
            <a:avLst/>
          </a:prstGeom>
          <a:noFill/>
        </p:spPr>
        <p:txBody>
          <a:bodyPr wrap="square" rtlCol="0">
            <a:spAutoFit/>
          </a:bodyPr>
          <a:lstStyle/>
          <a:p>
            <a:pPr marL="0" marR="0" lvl="0" indent="0" algn="l" defTabSz="914400" rtl="0" eaLnBrk="1" fontAlgn="auto" latinLnBrk="0" hangingPunct="1">
              <a:lnSpc>
                <a:spcPct val="107000"/>
              </a:lnSpc>
              <a:spcBef>
                <a:spcPts val="0"/>
              </a:spcBef>
              <a:spcAft>
                <a:spcPts val="800"/>
              </a:spcAft>
              <a:buClrTx/>
              <a:buSzTx/>
              <a:buFontTx/>
              <a:buNone/>
              <a:tabLst/>
              <a:defRPr/>
            </a:pPr>
            <a:r>
              <a:rPr kumimoji="0" lang="da-DK" sz="800" b="0" i="0" u="none" strike="noStrike" kern="1200" cap="none" spc="0" normalizeH="0" baseline="0" noProof="0">
                <a:ln>
                  <a:noFill/>
                </a:ln>
                <a:solidFill>
                  <a:srgbClr val="FFFFFF"/>
                </a:solidFill>
                <a:effectLst/>
                <a:uLnTx/>
                <a:uFillTx/>
                <a:latin typeface="Helvetica" panose="020B0604020202020204" pitchFamily="34" charset="0"/>
                <a:ea typeface="Calibri" panose="020F0502020204030204" pitchFamily="34" charset="0"/>
                <a:cs typeface="Helvetica" panose="020B0604020202020204" pitchFamily="34" charset="0"/>
              </a:rPr>
              <a:t>CSF1R, colony stimulating factor 1 receptor; </a:t>
            </a:r>
            <a:r>
              <a:rPr kumimoji="0" lang="en-US" sz="800" b="0" i="0" u="none" strike="noStrike" kern="1200" cap="none" spc="0" normalizeH="0" baseline="0" noProof="0">
                <a:ln>
                  <a:noFill/>
                </a:ln>
                <a:solidFill>
                  <a:srgbClr val="FFFFFF"/>
                </a:solidFill>
                <a:effectLst/>
                <a:uLnTx/>
                <a:uFillTx/>
                <a:latin typeface="Helvetica" panose="020B0604020202020204" pitchFamily="34" charset="0"/>
                <a:ea typeface="Calibri" panose="020F0502020204030204" pitchFamily="34" charset="0"/>
                <a:cs typeface="Helvetica" panose="020B0604020202020204" pitchFamily="34" charset="0"/>
              </a:rPr>
              <a:t>FC, functional class; </a:t>
            </a:r>
            <a:r>
              <a:rPr kumimoji="0" lang="da-DK" sz="800" b="0" i="0" u="none" strike="noStrike" kern="1200" cap="none" spc="0" normalizeH="0" baseline="0" noProof="0">
                <a:ln>
                  <a:noFill/>
                </a:ln>
                <a:solidFill>
                  <a:srgbClr val="FFFFFF"/>
                </a:solidFill>
                <a:effectLst/>
                <a:uLnTx/>
                <a:uFillTx/>
                <a:latin typeface="Helvetica" panose="020B0604020202020204" pitchFamily="34" charset="0"/>
                <a:ea typeface="Calibri" panose="020F0502020204030204" pitchFamily="34" charset="0"/>
                <a:cs typeface="Helvetica" panose="020B0604020202020204" pitchFamily="34" charset="0"/>
              </a:rPr>
              <a:t>NT-proBNP, </a:t>
            </a:r>
            <a:r>
              <a:rPr kumimoji="0" lang="en-US" sz="800" b="0" i="0" u="none" strike="noStrike" kern="1200" cap="none" spc="0" normalizeH="0" baseline="0" noProof="0">
                <a:ln>
                  <a:noFill/>
                </a:ln>
                <a:solidFill>
                  <a:srgbClr val="FFFFFF"/>
                </a:solidFill>
                <a:effectLst/>
                <a:uLnTx/>
                <a:uFillTx/>
                <a:latin typeface="Helvetica" panose="020B0604020202020204" pitchFamily="34" charset="0"/>
                <a:ea typeface="Calibri" panose="020F0502020204030204" pitchFamily="34" charset="0"/>
                <a:cs typeface="Helvetica" panose="020B0604020202020204" pitchFamily="34" charset="0"/>
              </a:rPr>
              <a:t>N-terminal pro-brain natriuretic peptide; </a:t>
            </a:r>
            <a:r>
              <a:rPr kumimoji="0" lang="da-DK" sz="800" b="0" i="0" u="none" strike="noStrike" kern="1200" cap="none" spc="0" normalizeH="0" baseline="0" noProof="0">
                <a:ln>
                  <a:noFill/>
                </a:ln>
                <a:solidFill>
                  <a:srgbClr val="FFFFFF"/>
                </a:solidFill>
                <a:effectLst/>
                <a:uLnTx/>
                <a:uFillTx/>
                <a:latin typeface="Helvetica" panose="020B0604020202020204" pitchFamily="34" charset="0"/>
                <a:ea typeface="Calibri" panose="020F0502020204030204" pitchFamily="34" charset="0"/>
                <a:cs typeface="Helvetica" panose="020B0604020202020204" pitchFamily="34" charset="0"/>
              </a:rPr>
              <a:t>PAC, pulmonary artery compliance; PAH, pulmonary arterial hypertension; PDGFR, platelet-derived growth factor receptor; PVR, </a:t>
            </a:r>
            <a:r>
              <a:rPr kumimoji="0" lang="en-US" sz="800" b="0" i="0" u="none" strike="noStrike" kern="1200" cap="none" spc="0" normalizeH="0" baseline="0" noProof="0">
                <a:ln>
                  <a:noFill/>
                </a:ln>
                <a:solidFill>
                  <a:srgbClr val="FFFFFF"/>
                </a:solidFill>
                <a:effectLst/>
                <a:uLnTx/>
                <a:uFillTx/>
                <a:latin typeface="Helvetica" panose="020B0604020202020204" pitchFamily="34" charset="0"/>
                <a:ea typeface="Calibri" panose="020F0502020204030204" pitchFamily="34" charset="0"/>
                <a:cs typeface="Helvetica" panose="020B0604020202020204" pitchFamily="34" charset="0"/>
              </a:rPr>
              <a:t>pulmonary vascular resistance; REVEAL, Registry to Evaluate Early and Long-Term PAH Disease Management</a:t>
            </a:r>
            <a:r>
              <a:rPr kumimoji="0" lang="da-DK" sz="800" b="0" i="0" u="none" strike="noStrike" kern="1200" cap="none" spc="0" normalizeH="0" baseline="0" noProof="0">
                <a:ln>
                  <a:noFill/>
                </a:ln>
                <a:solidFill>
                  <a:srgbClr val="FFFFFF"/>
                </a:solidFill>
                <a:effectLst/>
                <a:uLnTx/>
                <a:uFillTx/>
                <a:latin typeface="Helvetica" panose="020B0604020202020204" pitchFamily="34" charset="0"/>
                <a:ea typeface="Calibri" panose="020F0502020204030204" pitchFamily="34" charset="0"/>
                <a:cs typeface="Helvetica" panose="020B0604020202020204" pitchFamily="34" charset="0"/>
              </a:rPr>
              <a:t>; RV, right ventricular.</a:t>
            </a:r>
            <a:endParaRPr kumimoji="0" lang="en-US" sz="800" b="0" i="0" u="none" strike="noStrike" kern="1200" cap="none" spc="0" normalizeH="0" baseline="0" noProof="0">
              <a:ln>
                <a:noFill/>
              </a:ln>
              <a:solidFill>
                <a:srgbClr val="FFFFFF"/>
              </a:solidFill>
              <a:effectLst/>
              <a:uLnTx/>
              <a:uFillTx/>
              <a:latin typeface="Helvetica" panose="020B0604020202020204" pitchFamily="34" charset="0"/>
              <a:ea typeface="Calibri" panose="020F0502020204030204" pitchFamily="34" charset="0"/>
              <a:cs typeface="Helvetica" panose="020B0604020202020204" pitchFamily="34" charset="0"/>
            </a:endParaRPr>
          </a:p>
        </p:txBody>
      </p:sp>
      <p:cxnSp>
        <p:nvCxnSpPr>
          <p:cNvPr id="8" name="Straight Connector 7">
            <a:extLst>
              <a:ext uri="{FF2B5EF4-FFF2-40B4-BE49-F238E27FC236}">
                <a16:creationId xmlns:a16="http://schemas.microsoft.com/office/drawing/2014/main" id="{8F5BEAB7-AD12-8A5A-4D41-26E961C2774F}"/>
              </a:ext>
            </a:extLst>
          </p:cNvPr>
          <p:cNvCxnSpPr/>
          <p:nvPr/>
        </p:nvCxnSpPr>
        <p:spPr>
          <a:xfrm>
            <a:off x="0" y="914400"/>
            <a:ext cx="12192000" cy="0"/>
          </a:xfrm>
          <a:prstGeom prst="line">
            <a:avLst/>
          </a:prstGeom>
          <a:ln w="38100">
            <a:solidFill>
              <a:srgbClr val="70B9CC"/>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1270852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a:extLst>
              <a:ext uri="{FF2B5EF4-FFF2-40B4-BE49-F238E27FC236}">
                <a16:creationId xmlns:a16="http://schemas.microsoft.com/office/drawing/2014/main" id="{6E540275-C3D0-118B-0C7A-8D7CA3EA0115}"/>
              </a:ext>
            </a:extLst>
          </p:cNvPr>
          <p:cNvGrpSpPr/>
          <p:nvPr/>
        </p:nvGrpSpPr>
        <p:grpSpPr>
          <a:xfrm>
            <a:off x="0" y="0"/>
            <a:ext cx="12192000" cy="6858000"/>
            <a:chOff x="0" y="0"/>
            <a:chExt cx="12192000" cy="6858000"/>
          </a:xfrm>
        </p:grpSpPr>
        <p:pic>
          <p:nvPicPr>
            <p:cNvPr id="4" name="Picture 3" descr="A blue and white blurry background&#10;&#10;Description automatically generated">
              <a:extLst>
                <a:ext uri="{FF2B5EF4-FFF2-40B4-BE49-F238E27FC236}">
                  <a16:creationId xmlns:a16="http://schemas.microsoft.com/office/drawing/2014/main" id="{E3873AAA-5686-2004-DFF9-433FCB6BD2D6}"/>
                </a:ext>
              </a:extLst>
            </p:cNvPr>
            <p:cNvPicPr>
              <a:picLocks noChangeAspect="1"/>
            </p:cNvPicPr>
            <p:nvPr/>
          </p:nvPicPr>
          <p:blipFill>
            <a:blip r:embed="rId2"/>
            <a:stretch>
              <a:fillRect/>
            </a:stretch>
          </p:blipFill>
          <p:spPr>
            <a:xfrm>
              <a:off x="0" y="0"/>
              <a:ext cx="12192000" cy="6858000"/>
            </a:xfrm>
            <a:prstGeom prst="rect">
              <a:avLst/>
            </a:prstGeom>
          </p:spPr>
        </p:pic>
        <p:sp>
          <p:nvSpPr>
            <p:cNvPr id="5" name="Rounded Rectangle 4">
              <a:extLst>
                <a:ext uri="{FF2B5EF4-FFF2-40B4-BE49-F238E27FC236}">
                  <a16:creationId xmlns:a16="http://schemas.microsoft.com/office/drawing/2014/main" id="{5051F619-2039-1DDC-821B-59C1F603027C}"/>
                </a:ext>
              </a:extLst>
            </p:cNvPr>
            <p:cNvSpPr/>
            <p:nvPr/>
          </p:nvSpPr>
          <p:spPr>
            <a:xfrm>
              <a:off x="371153" y="358028"/>
              <a:ext cx="11483788" cy="6141944"/>
            </a:xfrm>
            <a:prstGeom prst="roundRect">
              <a:avLst>
                <a:gd name="adj" fmla="val 5617"/>
              </a:avLst>
            </a:prstGeom>
            <a:gradFill flip="none" rotWithShape="1">
              <a:gsLst>
                <a:gs pos="99000">
                  <a:srgbClr val="173057"/>
                </a:gs>
                <a:gs pos="0">
                  <a:srgbClr val="0258A6">
                    <a:lumMod val="100000"/>
                  </a:srgb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2" name="Title 1">
            <a:extLst>
              <a:ext uri="{FF2B5EF4-FFF2-40B4-BE49-F238E27FC236}">
                <a16:creationId xmlns:a16="http://schemas.microsoft.com/office/drawing/2014/main" id="{0CE0695D-746F-FFD6-B476-A80EB4E0F332}"/>
              </a:ext>
            </a:extLst>
          </p:cNvPr>
          <p:cNvSpPr>
            <a:spLocks noGrp="1"/>
          </p:cNvSpPr>
          <p:nvPr>
            <p:ph type="title"/>
          </p:nvPr>
        </p:nvSpPr>
        <p:spPr>
          <a:xfrm>
            <a:off x="662101" y="2579356"/>
            <a:ext cx="10744200" cy="1520032"/>
          </a:xfrm>
        </p:spPr>
        <p:txBody>
          <a:bodyPr>
            <a:normAutofit/>
          </a:bodyPr>
          <a:lstStyle/>
          <a:p>
            <a:pPr algn="ctr"/>
            <a:r>
              <a:rPr lang="en-US" sz="6600" dirty="0">
                <a:solidFill>
                  <a:schemeClr val="bg1"/>
                </a:solidFill>
              </a:rPr>
              <a:t>Serotonin Antagonism</a:t>
            </a:r>
          </a:p>
        </p:txBody>
      </p:sp>
    </p:spTree>
    <p:extLst>
      <p:ext uri="{BB962C8B-B14F-4D97-AF65-F5344CB8AC3E}">
        <p14:creationId xmlns:p14="http://schemas.microsoft.com/office/powerpoint/2010/main" val="54140052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Image 15">
            <a:extLst>
              <a:ext uri="{FF2B5EF4-FFF2-40B4-BE49-F238E27FC236}">
                <a16:creationId xmlns:a16="http://schemas.microsoft.com/office/drawing/2014/main" id="{5FBA0B1E-57AF-CB4E-B62B-68E3CF41541D}"/>
              </a:ext>
            </a:extLst>
          </p:cNvPr>
          <p:cNvPicPr>
            <a:picLocks noChangeAspect="1"/>
          </p:cNvPicPr>
          <p:nvPr/>
        </p:nvPicPr>
        <p:blipFill>
          <a:blip r:embed="rId2"/>
          <a:stretch>
            <a:fillRect/>
          </a:stretch>
        </p:blipFill>
        <p:spPr>
          <a:xfrm>
            <a:off x="494391" y="830526"/>
            <a:ext cx="4252176" cy="5280928"/>
          </a:xfrm>
          <a:prstGeom prst="rect">
            <a:avLst/>
          </a:prstGeom>
        </p:spPr>
      </p:pic>
      <p:sp>
        <p:nvSpPr>
          <p:cNvPr id="14" name="ZoneTexte 29">
            <a:extLst>
              <a:ext uri="{FF2B5EF4-FFF2-40B4-BE49-F238E27FC236}">
                <a16:creationId xmlns:a16="http://schemas.microsoft.com/office/drawing/2014/main" id="{B767D210-2EC7-D447-9977-3276195FEAAD}"/>
              </a:ext>
            </a:extLst>
          </p:cNvPr>
          <p:cNvSpPr txBox="1">
            <a:spLocks noChangeArrowheads="1"/>
          </p:cNvSpPr>
          <p:nvPr/>
        </p:nvSpPr>
        <p:spPr bwMode="auto">
          <a:xfrm>
            <a:off x="4860319" y="750059"/>
            <a:ext cx="7088526" cy="32044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tabLst>
                <a:tab pos="444500" algn="l"/>
              </a:tabLst>
              <a:defRPr sz="1400">
                <a:solidFill>
                  <a:schemeClr val="tx1"/>
                </a:solidFill>
                <a:latin typeface="Comic Sans MS" panose="030F0902030302020204" pitchFamily="66" charset="0"/>
                <a:ea typeface="MS PGothic" panose="020B0600070205080204" pitchFamily="34" charset="-128"/>
              </a:defRPr>
            </a:lvl1pPr>
            <a:lvl2pPr marL="357188" indent="-273050" eaLnBrk="0" hangingPunct="0">
              <a:tabLst>
                <a:tab pos="444500" algn="l"/>
              </a:tabLst>
              <a:defRPr sz="1400">
                <a:solidFill>
                  <a:schemeClr val="tx1"/>
                </a:solidFill>
                <a:latin typeface="Comic Sans MS" panose="030F0902030302020204" pitchFamily="66" charset="0"/>
                <a:ea typeface="MS PGothic" panose="020B0600070205080204" pitchFamily="34" charset="-128"/>
              </a:defRPr>
            </a:lvl2pPr>
            <a:lvl3pPr marL="1143000" indent="-228600" eaLnBrk="0" hangingPunct="0">
              <a:tabLst>
                <a:tab pos="444500" algn="l"/>
              </a:tabLst>
              <a:defRPr sz="1400">
                <a:solidFill>
                  <a:schemeClr val="tx1"/>
                </a:solidFill>
                <a:latin typeface="Comic Sans MS" panose="030F0902030302020204" pitchFamily="66" charset="0"/>
                <a:ea typeface="MS PGothic" panose="020B0600070205080204" pitchFamily="34" charset="-128"/>
              </a:defRPr>
            </a:lvl3pPr>
            <a:lvl4pPr marL="1600200" indent="-228600" eaLnBrk="0" hangingPunct="0">
              <a:tabLst>
                <a:tab pos="444500" algn="l"/>
              </a:tabLst>
              <a:defRPr sz="1400">
                <a:solidFill>
                  <a:schemeClr val="tx1"/>
                </a:solidFill>
                <a:latin typeface="Comic Sans MS" panose="030F0902030302020204" pitchFamily="66" charset="0"/>
                <a:ea typeface="MS PGothic" panose="020B0600070205080204" pitchFamily="34" charset="-128"/>
              </a:defRPr>
            </a:lvl4pPr>
            <a:lvl5pPr marL="2057400" indent="-228600" eaLnBrk="0" hangingPunct="0">
              <a:tabLst>
                <a:tab pos="444500" algn="l"/>
              </a:tabLst>
              <a:defRPr sz="1400">
                <a:solidFill>
                  <a:schemeClr val="tx1"/>
                </a:solidFill>
                <a:latin typeface="Comic Sans MS" panose="030F0902030302020204" pitchFamily="66" charset="0"/>
                <a:ea typeface="MS PGothic" panose="020B0600070205080204" pitchFamily="34" charset="-128"/>
              </a:defRPr>
            </a:lvl5pPr>
            <a:lvl6pPr marL="2514600" indent="-228600" eaLnBrk="0" fontAlgn="base" hangingPunct="0">
              <a:spcBef>
                <a:spcPct val="0"/>
              </a:spcBef>
              <a:spcAft>
                <a:spcPct val="0"/>
              </a:spcAft>
              <a:tabLst>
                <a:tab pos="444500" algn="l"/>
              </a:tabLst>
              <a:defRPr sz="1400">
                <a:solidFill>
                  <a:schemeClr val="tx1"/>
                </a:solidFill>
                <a:latin typeface="Comic Sans MS" panose="030F0902030302020204" pitchFamily="66" charset="0"/>
                <a:ea typeface="MS PGothic" panose="020B0600070205080204" pitchFamily="34" charset="-128"/>
              </a:defRPr>
            </a:lvl6pPr>
            <a:lvl7pPr marL="2971800" indent="-228600" eaLnBrk="0" fontAlgn="base" hangingPunct="0">
              <a:spcBef>
                <a:spcPct val="0"/>
              </a:spcBef>
              <a:spcAft>
                <a:spcPct val="0"/>
              </a:spcAft>
              <a:tabLst>
                <a:tab pos="444500" algn="l"/>
              </a:tabLst>
              <a:defRPr sz="1400">
                <a:solidFill>
                  <a:schemeClr val="tx1"/>
                </a:solidFill>
                <a:latin typeface="Comic Sans MS" panose="030F0902030302020204" pitchFamily="66" charset="0"/>
                <a:ea typeface="MS PGothic" panose="020B0600070205080204" pitchFamily="34" charset="-128"/>
              </a:defRPr>
            </a:lvl7pPr>
            <a:lvl8pPr marL="3429000" indent="-228600" eaLnBrk="0" fontAlgn="base" hangingPunct="0">
              <a:spcBef>
                <a:spcPct val="0"/>
              </a:spcBef>
              <a:spcAft>
                <a:spcPct val="0"/>
              </a:spcAft>
              <a:tabLst>
                <a:tab pos="444500" algn="l"/>
              </a:tabLst>
              <a:defRPr sz="1400">
                <a:solidFill>
                  <a:schemeClr val="tx1"/>
                </a:solidFill>
                <a:latin typeface="Comic Sans MS" panose="030F0902030302020204" pitchFamily="66" charset="0"/>
                <a:ea typeface="MS PGothic" panose="020B0600070205080204" pitchFamily="34" charset="-128"/>
              </a:defRPr>
            </a:lvl8pPr>
            <a:lvl9pPr marL="3886200" indent="-228600" eaLnBrk="0" fontAlgn="base" hangingPunct="0">
              <a:spcBef>
                <a:spcPct val="0"/>
              </a:spcBef>
              <a:spcAft>
                <a:spcPct val="0"/>
              </a:spcAft>
              <a:tabLst>
                <a:tab pos="444500" algn="l"/>
              </a:tabLst>
              <a:defRPr sz="1400">
                <a:solidFill>
                  <a:schemeClr val="tx1"/>
                </a:solidFill>
                <a:latin typeface="Comic Sans MS" panose="030F0902030302020204" pitchFamily="66" charset="0"/>
                <a:ea typeface="MS PGothic" panose="020B0600070205080204" pitchFamily="34" charset="-128"/>
              </a:defRPr>
            </a:lvl9pPr>
          </a:lstStyle>
          <a:p>
            <a:pPr marL="369888" marR="0" lvl="1" indent="-285750" algn="just" defTabSz="457200" rtl="0" eaLnBrk="0" fontAlgn="auto" latinLnBrk="0" hangingPunct="0">
              <a:lnSpc>
                <a:spcPct val="120000"/>
              </a:lnSpc>
              <a:spcBef>
                <a:spcPts val="0"/>
              </a:spcBef>
              <a:spcAft>
                <a:spcPts val="0"/>
              </a:spcAft>
              <a:buClrTx/>
              <a:buSzTx/>
              <a:buFont typeface="Arial" panose="020B0604020202020204" pitchFamily="34" charset="0"/>
              <a:buChar char="•"/>
              <a:tabLst>
                <a:tab pos="444500" algn="l"/>
              </a:tabLst>
              <a:defRPr/>
            </a:pPr>
            <a:r>
              <a:rPr kumimoji="0" lang="en-US" altLang="fr-FR" sz="1600" b="0" i="0" u="none" strike="noStrike" kern="0" cap="none" spc="0" normalizeH="0" baseline="0" noProof="0" dirty="0">
                <a:ln>
                  <a:noFill/>
                </a:ln>
                <a:solidFill>
                  <a:srgbClr val="3F3F3F"/>
                </a:solidFill>
                <a:effectLst/>
                <a:uLnTx/>
                <a:uFillTx/>
                <a:latin typeface="Arial" panose="020B0604020202020204"/>
                <a:ea typeface="MS PGothic" panose="020B0600070205080204" pitchFamily="34" charset="-128"/>
                <a:cs typeface="Arial" panose="020B0604020202020204" pitchFamily="34" charset="0"/>
                <a:sym typeface="Calibri"/>
              </a:rPr>
              <a:t>5-HT is synthetized from tryptophan (from the diet) in two steps</a:t>
            </a:r>
          </a:p>
          <a:p>
            <a:pPr marL="357188" marR="0" lvl="1" indent="-273050" algn="just" defTabSz="457200" rtl="0" eaLnBrk="0" fontAlgn="auto" latinLnBrk="0" hangingPunct="0">
              <a:lnSpc>
                <a:spcPct val="120000"/>
              </a:lnSpc>
              <a:spcBef>
                <a:spcPts val="0"/>
              </a:spcBef>
              <a:spcAft>
                <a:spcPts val="0"/>
              </a:spcAft>
              <a:buClrTx/>
              <a:buSzTx/>
              <a:buFont typeface="Arial" panose="020B0604020202020204" pitchFamily="34" charset="0"/>
              <a:buChar char="•"/>
              <a:tabLst>
                <a:tab pos="444500" algn="l"/>
              </a:tabLst>
              <a:defRPr/>
            </a:pPr>
            <a:endParaRPr kumimoji="0" lang="en-US" altLang="fr-FR" sz="1000" b="0" i="0" u="none" strike="noStrike" kern="0" cap="none" spc="0" normalizeH="0" baseline="0" noProof="0" dirty="0">
              <a:ln>
                <a:noFill/>
              </a:ln>
              <a:solidFill>
                <a:srgbClr val="3F3F3F"/>
              </a:solidFill>
              <a:effectLst/>
              <a:uLnTx/>
              <a:uFillTx/>
              <a:latin typeface="Arial" panose="020B0604020202020204"/>
              <a:ea typeface="MS PGothic" panose="020B0600070205080204" pitchFamily="34" charset="-128"/>
              <a:cs typeface="Arial" panose="020B0604020202020204" pitchFamily="34" charset="0"/>
              <a:sym typeface="Calibri"/>
            </a:endParaRPr>
          </a:p>
          <a:p>
            <a:pPr marL="369888" marR="0" lvl="1" indent="-285750" algn="just" defTabSz="457200" rtl="0" eaLnBrk="0" fontAlgn="auto" latinLnBrk="0" hangingPunct="0">
              <a:lnSpc>
                <a:spcPct val="120000"/>
              </a:lnSpc>
              <a:spcBef>
                <a:spcPts val="0"/>
              </a:spcBef>
              <a:spcAft>
                <a:spcPts val="0"/>
              </a:spcAft>
              <a:buClrTx/>
              <a:buSzTx/>
              <a:buFont typeface="Arial" panose="020B0604020202020204" pitchFamily="34" charset="0"/>
              <a:buChar char="•"/>
              <a:tabLst>
                <a:tab pos="444500" algn="l"/>
              </a:tabLst>
              <a:defRPr/>
            </a:pPr>
            <a:r>
              <a:rPr kumimoji="0" lang="en-US" altLang="fr-FR" sz="1600" b="0" i="0" u="none" strike="noStrike" kern="0" cap="none" spc="0" normalizeH="0" baseline="0" noProof="0" dirty="0">
                <a:ln>
                  <a:noFill/>
                </a:ln>
                <a:solidFill>
                  <a:srgbClr val="3F3F3F"/>
                </a:solidFill>
                <a:effectLst/>
                <a:uLnTx/>
                <a:uFillTx/>
                <a:latin typeface="Arial" panose="020B0604020202020204"/>
                <a:ea typeface="MS PGothic" panose="020B0600070205080204" pitchFamily="34" charset="-128"/>
                <a:cs typeface="Arial" panose="020B0604020202020204" pitchFamily="34" charset="0"/>
                <a:sym typeface="Calibri"/>
              </a:rPr>
              <a:t>5-HT is degraded almost entirely by monoamine oxidase, which converts it to 5-hydroxyindole acetaldehyde, most of which is dehydrogenated to form 5-hydroxyindole acetic acid, which is excreted in the urine</a:t>
            </a:r>
            <a:endParaRPr kumimoji="0" lang="en-US" altLang="fr-FR" sz="1000" b="0" i="0" u="none" strike="noStrike" kern="0" cap="none" spc="0" normalizeH="0" baseline="0" noProof="0" dirty="0">
              <a:ln>
                <a:noFill/>
              </a:ln>
              <a:solidFill>
                <a:srgbClr val="002060"/>
              </a:solidFill>
              <a:effectLst/>
              <a:uLnTx/>
              <a:uFillTx/>
              <a:latin typeface="Arial" panose="020B0604020202020204"/>
              <a:ea typeface="MS PGothic" panose="020B0600070205080204" pitchFamily="34" charset="-128"/>
              <a:cs typeface="Arial" panose="020B0604020202020204" pitchFamily="34" charset="0"/>
              <a:sym typeface="Calibri"/>
            </a:endParaRPr>
          </a:p>
          <a:p>
            <a:pPr marL="369888" marR="0" lvl="1" indent="-285750" algn="just" defTabSz="457200" rtl="0" eaLnBrk="0" fontAlgn="auto" latinLnBrk="0" hangingPunct="0">
              <a:lnSpc>
                <a:spcPct val="120000"/>
              </a:lnSpc>
              <a:spcBef>
                <a:spcPts val="0"/>
              </a:spcBef>
              <a:spcAft>
                <a:spcPts val="0"/>
              </a:spcAft>
              <a:buClrTx/>
              <a:buSzTx/>
              <a:buFont typeface="Arial" panose="020B0604020202020204" pitchFamily="34" charset="0"/>
              <a:buChar char="•"/>
              <a:tabLst>
                <a:tab pos="444500" algn="l"/>
              </a:tabLst>
              <a:defRPr/>
            </a:pPr>
            <a:r>
              <a:rPr kumimoji="0" lang="en-US" altLang="fr-FR" sz="1600" b="0" i="0" u="none" strike="noStrike" kern="0" cap="none" spc="0" normalizeH="0" baseline="0" noProof="0" dirty="0">
                <a:ln>
                  <a:noFill/>
                </a:ln>
                <a:solidFill>
                  <a:srgbClr val="3F3F3F"/>
                </a:solidFill>
                <a:effectLst/>
                <a:uLnTx/>
                <a:uFillTx/>
                <a:latin typeface="Arial" panose="020B0604020202020204"/>
                <a:ea typeface="MS PGothic" panose="020B0600070205080204" pitchFamily="34" charset="-128"/>
                <a:cs typeface="Arial" panose="020B0604020202020204" pitchFamily="34" charset="0"/>
                <a:sym typeface="Calibri"/>
              </a:rPr>
              <a:t>Present in gastrointestinal (GI)</a:t>
            </a:r>
            <a:r>
              <a:rPr kumimoji="0" lang="en-US" altLang="fr-FR" sz="1600" b="0" i="0" u="none" strike="noStrike" kern="0" cap="none" spc="0" normalizeH="0" baseline="0" noProof="0" dirty="0">
                <a:ln>
                  <a:noFill/>
                </a:ln>
                <a:solidFill>
                  <a:srgbClr val="002060"/>
                </a:solidFill>
                <a:effectLst/>
                <a:uLnTx/>
                <a:uFillTx/>
                <a:latin typeface="Arial" panose="020B0604020202020204"/>
                <a:ea typeface="MS PGothic" panose="020B0600070205080204" pitchFamily="34" charset="-128"/>
                <a:cs typeface="Arial" panose="020B0604020202020204" pitchFamily="34" charset="0"/>
                <a:sym typeface="Calibri"/>
              </a:rPr>
              <a:t> </a:t>
            </a:r>
            <a:r>
              <a:rPr kumimoji="0" lang="en-US" altLang="fr-FR" sz="1600" b="0" i="0" u="none" strike="noStrike" kern="0" cap="none" spc="0" normalizeH="0" baseline="0" noProof="0" dirty="0">
                <a:ln>
                  <a:noFill/>
                </a:ln>
                <a:solidFill>
                  <a:srgbClr val="C00000"/>
                </a:solidFill>
                <a:effectLst/>
                <a:uLnTx/>
                <a:uFillTx/>
                <a:latin typeface="Arial" panose="020B0604020202020204"/>
                <a:ea typeface="MS PGothic" panose="020B0600070205080204" pitchFamily="34" charset="-128"/>
                <a:cs typeface="Arial" panose="020B0604020202020204" pitchFamily="34" charset="0"/>
                <a:sym typeface="Calibri"/>
              </a:rPr>
              <a:t>enterochromaffin cells</a:t>
            </a:r>
            <a:r>
              <a:rPr kumimoji="0" lang="en-US" altLang="fr-FR" sz="1600" b="0" i="0" u="none" strike="noStrike" kern="0" cap="none" spc="0" normalizeH="0" baseline="0" noProof="0" dirty="0">
                <a:ln>
                  <a:noFill/>
                </a:ln>
                <a:solidFill>
                  <a:srgbClr val="3F3F3F"/>
                </a:solidFill>
                <a:effectLst/>
                <a:uLnTx/>
                <a:uFillTx/>
                <a:latin typeface="Arial" panose="020B0604020202020204"/>
                <a:ea typeface="MS PGothic" panose="020B0600070205080204" pitchFamily="34" charset="-128"/>
                <a:cs typeface="Arial" panose="020B0604020202020204" pitchFamily="34" charset="0"/>
                <a:sym typeface="Calibri"/>
              </a:rPr>
              <a:t> (90%),</a:t>
            </a:r>
            <a:r>
              <a:rPr kumimoji="0" lang="en-US" altLang="fr-FR" sz="1600" b="0" i="0" u="none" strike="noStrike" kern="0" cap="none" spc="0" normalizeH="0" baseline="0" noProof="0" dirty="0">
                <a:ln>
                  <a:noFill/>
                </a:ln>
                <a:solidFill>
                  <a:srgbClr val="002060"/>
                </a:solidFill>
                <a:effectLst/>
                <a:uLnTx/>
                <a:uFillTx/>
                <a:latin typeface="Arial" panose="020B0604020202020204"/>
                <a:ea typeface="MS PGothic" panose="020B0600070205080204" pitchFamily="34" charset="-128"/>
                <a:cs typeface="Arial" panose="020B0604020202020204" pitchFamily="34" charset="0"/>
                <a:sym typeface="Calibri"/>
              </a:rPr>
              <a:t> </a:t>
            </a:r>
            <a:r>
              <a:rPr kumimoji="0" lang="en-US" altLang="fr-FR" sz="1600" b="0" i="0" u="none" strike="noStrike" kern="0" cap="none" spc="0" normalizeH="0" baseline="0" noProof="0" dirty="0">
                <a:ln>
                  <a:noFill/>
                </a:ln>
                <a:solidFill>
                  <a:srgbClr val="C00000"/>
                </a:solidFill>
                <a:effectLst/>
                <a:uLnTx/>
                <a:uFillTx/>
                <a:latin typeface="Arial" panose="020B0604020202020204"/>
                <a:ea typeface="MS PGothic" panose="020B0600070205080204" pitchFamily="34" charset="-128"/>
                <a:cs typeface="Arial" panose="020B0604020202020204" pitchFamily="34" charset="0"/>
                <a:sym typeface="Calibri"/>
              </a:rPr>
              <a:t>platelets,</a:t>
            </a:r>
            <a:r>
              <a:rPr kumimoji="0" lang="en-US" altLang="fr-FR" sz="1600" b="0" i="0" u="none" strike="noStrike" kern="0" cap="none" spc="0" normalizeH="0" baseline="0" noProof="0" dirty="0">
                <a:ln>
                  <a:noFill/>
                </a:ln>
                <a:solidFill>
                  <a:srgbClr val="002060"/>
                </a:solidFill>
                <a:effectLst/>
                <a:uLnTx/>
                <a:uFillTx/>
                <a:latin typeface="Arial" panose="020B0604020202020204"/>
                <a:ea typeface="MS PGothic" panose="020B0600070205080204" pitchFamily="34" charset="-128"/>
                <a:cs typeface="Arial" panose="020B0604020202020204" pitchFamily="34" charset="0"/>
                <a:sym typeface="Calibri"/>
              </a:rPr>
              <a:t> </a:t>
            </a:r>
            <a:r>
              <a:rPr kumimoji="0" lang="en-US" altLang="fr-FR" sz="1600" b="0" i="0" u="none" strike="noStrike" kern="0" cap="none" spc="0" normalizeH="0" baseline="0" noProof="0" dirty="0">
                <a:ln>
                  <a:noFill/>
                </a:ln>
                <a:solidFill>
                  <a:srgbClr val="3F3F3F"/>
                </a:solidFill>
                <a:effectLst/>
                <a:uLnTx/>
                <a:uFillTx/>
                <a:latin typeface="Arial" panose="020B0604020202020204"/>
                <a:ea typeface="MS PGothic" panose="020B0600070205080204" pitchFamily="34" charset="-128"/>
                <a:cs typeface="Arial" panose="020B0604020202020204" pitchFamily="34" charset="0"/>
                <a:sym typeface="Calibri"/>
              </a:rPr>
              <a:t>and the brain </a:t>
            </a:r>
          </a:p>
          <a:p>
            <a:pPr marL="369888" marR="0" lvl="1" indent="-285750" algn="just" defTabSz="457200" rtl="0" eaLnBrk="0" fontAlgn="auto" latinLnBrk="0" hangingPunct="0">
              <a:lnSpc>
                <a:spcPct val="120000"/>
              </a:lnSpc>
              <a:spcBef>
                <a:spcPts val="0"/>
              </a:spcBef>
              <a:spcAft>
                <a:spcPts val="0"/>
              </a:spcAft>
              <a:buClrTx/>
              <a:buSzTx/>
              <a:buFont typeface="Arial" panose="020B0604020202020204" pitchFamily="34" charset="0"/>
              <a:buChar char="•"/>
              <a:tabLst>
                <a:tab pos="444500" algn="l"/>
              </a:tabLst>
              <a:defRPr/>
            </a:pPr>
            <a:r>
              <a:rPr kumimoji="0" lang="en-US" altLang="fr-FR" sz="1600" b="0" i="0" u="none" strike="noStrike" kern="0" cap="none" spc="0" normalizeH="0" baseline="0" noProof="0" dirty="0">
                <a:ln>
                  <a:noFill/>
                </a:ln>
                <a:solidFill>
                  <a:srgbClr val="3F3F3F"/>
                </a:solidFill>
                <a:effectLst/>
                <a:uLnTx/>
                <a:uFillTx/>
                <a:latin typeface="Arial" panose="020B0604020202020204"/>
                <a:ea typeface="MS PGothic" panose="020B0600070205080204" pitchFamily="34" charset="-128"/>
                <a:cs typeface="Arial" panose="020B0604020202020204" pitchFamily="34" charset="0"/>
                <a:sym typeface="Calibri"/>
              </a:rPr>
              <a:t>Human</a:t>
            </a:r>
            <a:r>
              <a:rPr kumimoji="0" lang="en-US" altLang="fr-FR" sz="1600" b="0" i="0" u="none" strike="noStrike" kern="0" cap="none" spc="0" normalizeH="0" baseline="0" noProof="0" dirty="0">
                <a:ln>
                  <a:noFill/>
                </a:ln>
                <a:solidFill>
                  <a:srgbClr val="002060"/>
                </a:solidFill>
                <a:effectLst/>
                <a:uLnTx/>
                <a:uFillTx/>
                <a:latin typeface="Arial" panose="020B0604020202020204"/>
                <a:ea typeface="MS PGothic" panose="020B0600070205080204" pitchFamily="34" charset="-128"/>
                <a:cs typeface="Arial" panose="020B0604020202020204" pitchFamily="34" charset="0"/>
                <a:sym typeface="Calibri"/>
              </a:rPr>
              <a:t> </a:t>
            </a:r>
            <a:r>
              <a:rPr kumimoji="0" lang="en-US" altLang="fr-FR" sz="1600" b="0" i="0" u="none" strike="noStrike" kern="0" cap="none" spc="0" normalizeH="0" baseline="0" noProof="0" dirty="0">
                <a:ln>
                  <a:noFill/>
                </a:ln>
                <a:solidFill>
                  <a:srgbClr val="C00000"/>
                </a:solidFill>
                <a:effectLst/>
                <a:uLnTx/>
                <a:uFillTx/>
                <a:latin typeface="Arial" panose="020B0604020202020204"/>
                <a:ea typeface="MS PGothic" panose="020B0600070205080204" pitchFamily="34" charset="-128"/>
                <a:cs typeface="Arial" panose="020B0604020202020204" pitchFamily="34" charset="0"/>
                <a:sym typeface="Calibri"/>
              </a:rPr>
              <a:t>pulmonary endothelial cells (ECs)</a:t>
            </a:r>
            <a:r>
              <a:rPr kumimoji="0" lang="en-US" altLang="fr-FR" sz="1600" b="0" i="0" u="none" strike="noStrike" kern="0" cap="none" spc="0" normalizeH="0" baseline="0" noProof="0" dirty="0">
                <a:ln>
                  <a:noFill/>
                </a:ln>
                <a:solidFill>
                  <a:srgbClr val="002060"/>
                </a:solidFill>
                <a:effectLst/>
                <a:uLnTx/>
                <a:uFillTx/>
                <a:latin typeface="Arial" panose="020B0604020202020204"/>
                <a:ea typeface="MS PGothic" panose="020B0600070205080204" pitchFamily="34" charset="-128"/>
                <a:cs typeface="Arial" panose="020B0604020202020204" pitchFamily="34" charset="0"/>
                <a:sym typeface="Calibri"/>
              </a:rPr>
              <a:t> </a:t>
            </a:r>
            <a:r>
              <a:rPr kumimoji="0" lang="en-US" altLang="fr-FR" sz="1600" b="0" i="0" u="none" strike="noStrike" kern="0" cap="none" spc="0" normalizeH="0" baseline="0" noProof="0" dirty="0">
                <a:ln>
                  <a:noFill/>
                </a:ln>
                <a:solidFill>
                  <a:srgbClr val="3F3F3F"/>
                </a:solidFill>
                <a:effectLst/>
                <a:uLnTx/>
                <a:uFillTx/>
                <a:latin typeface="Arial" panose="020B0604020202020204"/>
                <a:ea typeface="MS PGothic" panose="020B0600070205080204" pitchFamily="34" charset="-128"/>
                <a:cs typeface="Arial" panose="020B0604020202020204" pitchFamily="34" charset="0"/>
                <a:sym typeface="Calibri"/>
              </a:rPr>
              <a:t>express TPH1 and produce 5-HT, and both TPH1 expression and 5-HT production are increased in P-ECs from patients with idiopathic PAH compared with that of controls</a:t>
            </a:r>
          </a:p>
        </p:txBody>
      </p:sp>
      <p:cxnSp>
        <p:nvCxnSpPr>
          <p:cNvPr id="18" name="Connecteur droit 17">
            <a:extLst>
              <a:ext uri="{FF2B5EF4-FFF2-40B4-BE49-F238E27FC236}">
                <a16:creationId xmlns:a16="http://schemas.microsoft.com/office/drawing/2014/main" id="{F8A19A81-E8E9-B140-AC09-7B90A38A681F}"/>
              </a:ext>
            </a:extLst>
          </p:cNvPr>
          <p:cNvCxnSpPr>
            <a:cxnSpLocks/>
          </p:cNvCxnSpPr>
          <p:nvPr/>
        </p:nvCxnSpPr>
        <p:spPr>
          <a:xfrm>
            <a:off x="4870643" y="830526"/>
            <a:ext cx="0" cy="5474581"/>
          </a:xfrm>
          <a:prstGeom prst="line">
            <a:avLst/>
          </a:prstGeom>
          <a:ln w="38100">
            <a:solidFill>
              <a:srgbClr val="002060"/>
            </a:solidFill>
          </a:ln>
        </p:spPr>
        <p:style>
          <a:lnRef idx="1">
            <a:schemeClr val="accent1"/>
          </a:lnRef>
          <a:fillRef idx="0">
            <a:schemeClr val="accent1"/>
          </a:fillRef>
          <a:effectRef idx="0">
            <a:schemeClr val="accent1"/>
          </a:effectRef>
          <a:fontRef idx="minor">
            <a:schemeClr val="tx1"/>
          </a:fontRef>
        </p:style>
      </p:cxnSp>
      <p:sp>
        <p:nvSpPr>
          <p:cNvPr id="19" name="Rectangle 1">
            <a:extLst>
              <a:ext uri="{FF2B5EF4-FFF2-40B4-BE49-F238E27FC236}">
                <a16:creationId xmlns:a16="http://schemas.microsoft.com/office/drawing/2014/main" id="{67E479C8-1743-8B41-BEB3-5ACF888E6D23}"/>
              </a:ext>
            </a:extLst>
          </p:cNvPr>
          <p:cNvSpPr>
            <a:spLocks noChangeArrowheads="1"/>
          </p:cNvSpPr>
          <p:nvPr/>
        </p:nvSpPr>
        <p:spPr bwMode="auto">
          <a:xfrm>
            <a:off x="114526" y="6596035"/>
            <a:ext cx="5382504"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marL="342900" indent="-342900" eaLnBrk="0" hangingPunct="0">
              <a:tabLst>
                <a:tab pos="444500" algn="l"/>
              </a:tabLst>
              <a:defRPr sz="1400">
                <a:solidFill>
                  <a:schemeClr val="tx1"/>
                </a:solidFill>
                <a:latin typeface="Comic Sans MS" panose="030F0902030302020204" pitchFamily="66" charset="0"/>
                <a:ea typeface="MS PGothic" panose="020B0600070205080204" pitchFamily="34" charset="-128"/>
              </a:defRPr>
            </a:lvl1pPr>
            <a:lvl2pPr eaLnBrk="0" hangingPunct="0">
              <a:tabLst>
                <a:tab pos="444500" algn="l"/>
              </a:tabLst>
              <a:defRPr sz="1400">
                <a:solidFill>
                  <a:schemeClr val="tx1"/>
                </a:solidFill>
                <a:latin typeface="Comic Sans MS" panose="030F0902030302020204" pitchFamily="66" charset="0"/>
                <a:ea typeface="MS PGothic" panose="020B0600070205080204" pitchFamily="34" charset="-128"/>
              </a:defRPr>
            </a:lvl2pPr>
            <a:lvl3pPr marL="1143000" indent="-228600" eaLnBrk="0" hangingPunct="0">
              <a:tabLst>
                <a:tab pos="444500" algn="l"/>
              </a:tabLst>
              <a:defRPr sz="1400">
                <a:solidFill>
                  <a:schemeClr val="tx1"/>
                </a:solidFill>
                <a:latin typeface="Comic Sans MS" panose="030F0902030302020204" pitchFamily="66" charset="0"/>
                <a:ea typeface="MS PGothic" panose="020B0600070205080204" pitchFamily="34" charset="-128"/>
              </a:defRPr>
            </a:lvl3pPr>
            <a:lvl4pPr marL="1600200" indent="-228600" eaLnBrk="0" hangingPunct="0">
              <a:tabLst>
                <a:tab pos="444500" algn="l"/>
              </a:tabLst>
              <a:defRPr sz="1400">
                <a:solidFill>
                  <a:schemeClr val="tx1"/>
                </a:solidFill>
                <a:latin typeface="Comic Sans MS" panose="030F0902030302020204" pitchFamily="66" charset="0"/>
                <a:ea typeface="MS PGothic" panose="020B0600070205080204" pitchFamily="34" charset="-128"/>
              </a:defRPr>
            </a:lvl4pPr>
            <a:lvl5pPr marL="2057400" indent="-228600" eaLnBrk="0" hangingPunct="0">
              <a:tabLst>
                <a:tab pos="444500" algn="l"/>
              </a:tabLst>
              <a:defRPr sz="1400">
                <a:solidFill>
                  <a:schemeClr val="tx1"/>
                </a:solidFill>
                <a:latin typeface="Comic Sans MS" panose="030F0902030302020204" pitchFamily="66" charset="0"/>
                <a:ea typeface="MS PGothic" panose="020B0600070205080204" pitchFamily="34" charset="-128"/>
              </a:defRPr>
            </a:lvl5pPr>
            <a:lvl6pPr marL="2514600" indent="-228600" eaLnBrk="0" fontAlgn="base" hangingPunct="0">
              <a:spcBef>
                <a:spcPct val="0"/>
              </a:spcBef>
              <a:spcAft>
                <a:spcPct val="0"/>
              </a:spcAft>
              <a:tabLst>
                <a:tab pos="444500" algn="l"/>
              </a:tabLst>
              <a:defRPr sz="1400">
                <a:solidFill>
                  <a:schemeClr val="tx1"/>
                </a:solidFill>
                <a:latin typeface="Comic Sans MS" panose="030F0902030302020204" pitchFamily="66" charset="0"/>
                <a:ea typeface="MS PGothic" panose="020B0600070205080204" pitchFamily="34" charset="-128"/>
              </a:defRPr>
            </a:lvl6pPr>
            <a:lvl7pPr marL="2971800" indent="-228600" eaLnBrk="0" fontAlgn="base" hangingPunct="0">
              <a:spcBef>
                <a:spcPct val="0"/>
              </a:spcBef>
              <a:spcAft>
                <a:spcPct val="0"/>
              </a:spcAft>
              <a:tabLst>
                <a:tab pos="444500" algn="l"/>
              </a:tabLst>
              <a:defRPr sz="1400">
                <a:solidFill>
                  <a:schemeClr val="tx1"/>
                </a:solidFill>
                <a:latin typeface="Comic Sans MS" panose="030F0902030302020204" pitchFamily="66" charset="0"/>
                <a:ea typeface="MS PGothic" panose="020B0600070205080204" pitchFamily="34" charset="-128"/>
              </a:defRPr>
            </a:lvl7pPr>
            <a:lvl8pPr marL="3429000" indent="-228600" eaLnBrk="0" fontAlgn="base" hangingPunct="0">
              <a:spcBef>
                <a:spcPct val="0"/>
              </a:spcBef>
              <a:spcAft>
                <a:spcPct val="0"/>
              </a:spcAft>
              <a:tabLst>
                <a:tab pos="444500" algn="l"/>
              </a:tabLst>
              <a:defRPr sz="1400">
                <a:solidFill>
                  <a:schemeClr val="tx1"/>
                </a:solidFill>
                <a:latin typeface="Comic Sans MS" panose="030F0902030302020204" pitchFamily="66" charset="0"/>
                <a:ea typeface="MS PGothic" panose="020B0600070205080204" pitchFamily="34" charset="-128"/>
              </a:defRPr>
            </a:lvl8pPr>
            <a:lvl9pPr marL="3886200" indent="-228600" eaLnBrk="0" fontAlgn="base" hangingPunct="0">
              <a:spcBef>
                <a:spcPct val="0"/>
              </a:spcBef>
              <a:spcAft>
                <a:spcPct val="0"/>
              </a:spcAft>
              <a:tabLst>
                <a:tab pos="444500" algn="l"/>
              </a:tabLst>
              <a:defRPr sz="1400">
                <a:solidFill>
                  <a:schemeClr val="tx1"/>
                </a:solidFill>
                <a:latin typeface="Comic Sans MS" panose="030F0902030302020204" pitchFamily="66" charset="0"/>
                <a:ea typeface="MS PGothic" panose="020B0600070205080204" pitchFamily="34" charset="-128"/>
              </a:defRPr>
            </a:lvl9pPr>
          </a:lstStyle>
          <a:p>
            <a:pPr marL="0" marR="0" lvl="1" indent="0" algn="l" defTabSz="457200" rtl="0" eaLnBrk="1" fontAlgn="auto" latinLnBrk="0" hangingPunct="1">
              <a:lnSpc>
                <a:spcPct val="120000"/>
              </a:lnSpc>
              <a:spcBef>
                <a:spcPts val="0"/>
              </a:spcBef>
              <a:spcAft>
                <a:spcPts val="0"/>
              </a:spcAft>
              <a:buClrTx/>
              <a:buSzTx/>
              <a:buFontTx/>
              <a:buNone/>
              <a:tabLst>
                <a:tab pos="444500" algn="l"/>
              </a:tabLst>
              <a:defRPr/>
            </a:pPr>
            <a:r>
              <a:rPr kumimoji="0" lang="en-US" altLang="fr-FR" sz="1000" b="0" i="0" u="none" strike="noStrike" kern="0" cap="none" spc="0" normalizeH="0" baseline="0" noProof="0" dirty="0" err="1">
                <a:ln>
                  <a:noFill/>
                </a:ln>
                <a:solidFill>
                  <a:srgbClr val="000000"/>
                </a:solidFill>
                <a:effectLst/>
                <a:uLnTx/>
                <a:uFillTx/>
                <a:latin typeface="Arial" panose="020B0604020202020204"/>
                <a:ea typeface="MS PGothic" panose="020B0600070205080204" pitchFamily="34" charset="-128"/>
                <a:cs typeface="Arial" panose="020B0604020202020204" pitchFamily="34" charset="0"/>
                <a:sym typeface="Calibri"/>
              </a:rPr>
              <a:t>Eddahibi</a:t>
            </a:r>
            <a:r>
              <a:rPr kumimoji="0" lang="en-US" altLang="fr-FR" sz="1000" b="0" i="0" u="none" strike="noStrike" kern="0" cap="none" spc="0" normalizeH="0" baseline="0" noProof="0" dirty="0">
                <a:ln>
                  <a:noFill/>
                </a:ln>
                <a:solidFill>
                  <a:srgbClr val="000000"/>
                </a:solidFill>
                <a:effectLst/>
                <a:uLnTx/>
                <a:uFillTx/>
                <a:latin typeface="Arial" panose="020B0604020202020204"/>
                <a:ea typeface="MS PGothic" panose="020B0600070205080204" pitchFamily="34" charset="-128"/>
                <a:cs typeface="Arial" panose="020B0604020202020204" pitchFamily="34" charset="0"/>
                <a:sym typeface="Calibri"/>
              </a:rPr>
              <a:t> S, et al.</a:t>
            </a:r>
            <a:r>
              <a:rPr kumimoji="0" lang="en-US" sz="1000" b="0" i="0" u="none" strike="noStrike" kern="1200" cap="none" spc="0" normalizeH="0" baseline="0" noProof="0" dirty="0">
                <a:ln>
                  <a:noFill/>
                </a:ln>
                <a:solidFill>
                  <a:srgbClr val="3F3F3F"/>
                </a:solidFill>
                <a:effectLst/>
                <a:uLnTx/>
                <a:uFillTx/>
                <a:latin typeface="Arial" panose="020B0604020202020204"/>
                <a:ea typeface="MS PGothic" panose="020B0600070205080204" pitchFamily="34" charset="-128"/>
                <a:cs typeface="+mn-cs"/>
              </a:rPr>
              <a:t> </a:t>
            </a:r>
            <a:r>
              <a:rPr kumimoji="0" lang="en-US" sz="1000" b="0" i="1" u="none" strike="noStrike" kern="1200" cap="none" spc="0" normalizeH="0" baseline="0" noProof="0" dirty="0">
                <a:ln>
                  <a:noFill/>
                </a:ln>
                <a:solidFill>
                  <a:srgbClr val="3F3F3F"/>
                </a:solidFill>
                <a:effectLst/>
                <a:uLnTx/>
                <a:uFillTx/>
                <a:latin typeface="Arial" panose="020B0604020202020204"/>
                <a:ea typeface="MS PGothic" panose="020B0600070205080204" pitchFamily="34" charset="-128"/>
                <a:cs typeface="+mn-cs"/>
              </a:rPr>
              <a:t>Circulation.</a:t>
            </a:r>
            <a:r>
              <a:rPr kumimoji="0" lang="en-US" sz="1000" b="0" i="0" u="none" strike="noStrike" kern="1200" cap="none" spc="0" normalizeH="0" baseline="0" noProof="0" dirty="0">
                <a:ln>
                  <a:noFill/>
                </a:ln>
                <a:solidFill>
                  <a:srgbClr val="3F3F3F"/>
                </a:solidFill>
                <a:effectLst/>
                <a:uLnTx/>
                <a:uFillTx/>
                <a:latin typeface="Arial" panose="020B0604020202020204"/>
                <a:ea typeface="MS PGothic" panose="020B0600070205080204" pitchFamily="34" charset="-128"/>
                <a:cs typeface="+mn-cs"/>
              </a:rPr>
              <a:t> 2006;113:1857-64.</a:t>
            </a:r>
            <a:endParaRPr kumimoji="0" lang="en-US" altLang="fr-FR" sz="1000" b="0" i="0" u="none" strike="noStrike" kern="0" cap="none" spc="0" normalizeH="0" baseline="0" noProof="0" dirty="0">
              <a:ln>
                <a:noFill/>
              </a:ln>
              <a:solidFill>
                <a:srgbClr val="000000"/>
              </a:solidFill>
              <a:effectLst/>
              <a:uLnTx/>
              <a:uFillTx/>
              <a:latin typeface="Arial" panose="020B0604020202020204"/>
              <a:ea typeface="MS PGothic" panose="020B0600070205080204" pitchFamily="34" charset="-128"/>
              <a:cs typeface="Arial" panose="020B0604020202020204" pitchFamily="34" charset="0"/>
              <a:sym typeface="Calibri"/>
            </a:endParaRPr>
          </a:p>
        </p:txBody>
      </p:sp>
      <p:sp>
        <p:nvSpPr>
          <p:cNvPr id="2" name="Rectangle 1">
            <a:extLst>
              <a:ext uri="{FF2B5EF4-FFF2-40B4-BE49-F238E27FC236}">
                <a16:creationId xmlns:a16="http://schemas.microsoft.com/office/drawing/2014/main" id="{097A885F-A536-084B-B52D-3785130BCD43}"/>
              </a:ext>
            </a:extLst>
          </p:cNvPr>
          <p:cNvSpPr/>
          <p:nvPr/>
        </p:nvSpPr>
        <p:spPr>
          <a:xfrm>
            <a:off x="494391" y="186606"/>
            <a:ext cx="8245451" cy="523220"/>
          </a:xfrm>
          <a:prstGeom prst="rect">
            <a:avLst/>
          </a:prstGeom>
        </p:spPr>
        <p:txBody>
          <a:bodyPr wrap="square">
            <a:spAutoFit/>
          </a:bodyPr>
          <a:lstStyle/>
          <a:p>
            <a:pPr marL="0" marR="0" lvl="0" indent="0" algn="l" defTabSz="457200" rtl="0" eaLnBrk="0" fontAlgn="auto" latinLnBrk="0" hangingPunct="0">
              <a:lnSpc>
                <a:spcPct val="100000"/>
              </a:lnSpc>
              <a:spcBef>
                <a:spcPts val="0"/>
              </a:spcBef>
              <a:spcAft>
                <a:spcPts val="0"/>
              </a:spcAft>
              <a:buClrTx/>
              <a:buSzTx/>
              <a:buFontTx/>
              <a:buNone/>
              <a:tabLst/>
              <a:defRPr/>
            </a:pPr>
            <a:r>
              <a:rPr kumimoji="0" lang="fr-FR" sz="2800" b="1" i="0" u="none" strike="noStrike" kern="0" cap="none" spc="0" normalizeH="0" baseline="0" noProof="0" dirty="0">
                <a:ln>
                  <a:noFill/>
                </a:ln>
                <a:solidFill>
                  <a:srgbClr val="3F3F3F"/>
                </a:solidFill>
                <a:effectLst/>
                <a:uLnTx/>
                <a:uFillTx/>
                <a:latin typeface="Arial" panose="020B0604020202020204"/>
                <a:ea typeface="+mn-ea"/>
                <a:cs typeface="Arial" pitchFamily="34" charset="0"/>
                <a:sym typeface="Calibri"/>
              </a:rPr>
              <a:t>Serotonin</a:t>
            </a:r>
            <a:r>
              <a:rPr kumimoji="0" lang="fr-FR" sz="2400" b="1" i="0" u="none" strike="noStrike" kern="0" cap="none" spc="0" normalizeH="0" baseline="0" noProof="0" dirty="0">
                <a:ln>
                  <a:noFill/>
                </a:ln>
                <a:solidFill>
                  <a:srgbClr val="3F3F3F"/>
                </a:solidFill>
                <a:effectLst/>
                <a:uLnTx/>
                <a:uFillTx/>
                <a:latin typeface="Arial" panose="020B0604020202020204"/>
                <a:ea typeface="+mn-ea"/>
                <a:cs typeface="Arial" pitchFamily="34" charset="0"/>
                <a:sym typeface="Calibri"/>
              </a:rPr>
              <a:t>: </a:t>
            </a:r>
            <a:r>
              <a:rPr kumimoji="0" lang="fr-FR" sz="2800" b="1" i="0" u="none" strike="noStrike" kern="0" cap="none" spc="0" normalizeH="0" baseline="0" noProof="0" dirty="0">
                <a:ln>
                  <a:noFill/>
                </a:ln>
                <a:solidFill>
                  <a:srgbClr val="3F3F3F"/>
                </a:solidFill>
                <a:effectLst/>
                <a:uLnTx/>
                <a:uFillTx/>
                <a:latin typeface="Arial" panose="020B0604020202020204"/>
                <a:ea typeface="+mn-ea"/>
                <a:cs typeface="Arial" pitchFamily="34" charset="0"/>
                <a:sym typeface="Calibri"/>
              </a:rPr>
              <a:t>5-Hydroxytryptamine</a:t>
            </a:r>
            <a:r>
              <a:rPr kumimoji="0" lang="fr-FR" sz="2400" b="1" i="0" u="none" strike="noStrike" kern="0" cap="none" spc="0" normalizeH="0" baseline="0" noProof="0" dirty="0">
                <a:ln>
                  <a:noFill/>
                </a:ln>
                <a:solidFill>
                  <a:srgbClr val="3F3F3F"/>
                </a:solidFill>
                <a:effectLst/>
                <a:uLnTx/>
                <a:uFillTx/>
                <a:latin typeface="Arial" panose="020B0604020202020204"/>
                <a:ea typeface="+mn-ea"/>
                <a:cs typeface="Arial" pitchFamily="34" charset="0"/>
                <a:sym typeface="Calibri"/>
              </a:rPr>
              <a:t> (5-HT)</a:t>
            </a:r>
          </a:p>
        </p:txBody>
      </p:sp>
      <p:pic>
        <p:nvPicPr>
          <p:cNvPr id="4" name="Picture 3" descr="A diagram of human organs&#10;&#10;Description automatically generated">
            <a:extLst>
              <a:ext uri="{FF2B5EF4-FFF2-40B4-BE49-F238E27FC236}">
                <a16:creationId xmlns:a16="http://schemas.microsoft.com/office/drawing/2014/main" id="{9079E05E-8604-732D-8A78-DE72B04A4810}"/>
              </a:ext>
            </a:extLst>
          </p:cNvPr>
          <p:cNvPicPr>
            <a:picLocks noChangeAspect="1"/>
          </p:cNvPicPr>
          <p:nvPr/>
        </p:nvPicPr>
        <p:blipFill>
          <a:blip r:embed="rId3"/>
          <a:stretch>
            <a:fillRect/>
          </a:stretch>
        </p:blipFill>
        <p:spPr>
          <a:xfrm>
            <a:off x="6886793" y="3936826"/>
            <a:ext cx="2501900" cy="2667000"/>
          </a:xfrm>
          <a:prstGeom prst="rect">
            <a:avLst/>
          </a:prstGeom>
        </p:spPr>
      </p:pic>
    </p:spTree>
    <p:extLst>
      <p:ext uri="{BB962C8B-B14F-4D97-AF65-F5344CB8AC3E}">
        <p14:creationId xmlns:p14="http://schemas.microsoft.com/office/powerpoint/2010/main" val="21190268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0885794-942A-4473-851A-B6FC971127FC}"/>
              </a:ext>
            </a:extLst>
          </p:cNvPr>
          <p:cNvSpPr>
            <a:spLocks noGrp="1"/>
          </p:cNvSpPr>
          <p:nvPr>
            <p:ph type="title"/>
          </p:nvPr>
        </p:nvSpPr>
        <p:spPr>
          <a:xfrm>
            <a:off x="609600" y="199505"/>
            <a:ext cx="10744200" cy="1185577"/>
          </a:xfrm>
        </p:spPr>
        <p:txBody>
          <a:bodyPr>
            <a:noAutofit/>
          </a:bodyPr>
          <a:lstStyle/>
          <a:p>
            <a:r>
              <a:rPr lang="en-US"/>
              <a:t>Serotonin Induces Proliferation and Vasoconstriction Leading to Development and Progression of PAH</a:t>
            </a:r>
          </a:p>
        </p:txBody>
      </p:sp>
      <p:sp>
        <p:nvSpPr>
          <p:cNvPr id="14" name="Slide Number Placeholder 13">
            <a:extLst>
              <a:ext uri="{FF2B5EF4-FFF2-40B4-BE49-F238E27FC236}">
                <a16:creationId xmlns:a16="http://schemas.microsoft.com/office/drawing/2014/main" id="{2C4766AD-23EC-6545-8E2C-7DE678BCE539}"/>
              </a:ext>
            </a:extLst>
          </p:cNvPr>
          <p:cNvSpPr>
            <a:spLocks noGrp="1"/>
          </p:cNvSpPr>
          <p:nvPr>
            <p:ph type="sldNum" sz="quarter" idx="4294967295"/>
          </p:nvPr>
        </p:nvSpPr>
        <p:spPr>
          <a:xfrm>
            <a:off x="11582400" y="6448425"/>
            <a:ext cx="609600" cy="365125"/>
          </a:xfrm>
          <a:prstGeom prst="rect">
            <a:avLst/>
          </a:prstGeom>
        </p:spPr>
        <p:txBody>
          <a:bodyPr vert="horz" lIns="0" tIns="45720" rIns="91440" bIns="45720" rtlCol="0" anchor="ctr"/>
          <a:lstStyle>
            <a:defPPr>
              <a:defRPr lang="en-GB"/>
            </a:defPPr>
            <a:lvl1pPr marL="0" algn="l" defTabSz="914400" rtl="0" eaLnBrk="1" latinLnBrk="0" hangingPunct="1">
              <a:defRPr sz="1100" kern="1200">
                <a:solidFill>
                  <a:schemeClr val="bg1"/>
                </a:solidFill>
                <a:latin typeface="Verdana" panose="020B0604030504040204" pitchFamily="34" charset="0"/>
                <a:ea typeface="Verdana" panose="020B0604030504040204" pitchFamily="34" charset="0"/>
                <a:cs typeface="Verdana" panose="020B060403050404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457200" rtl="0" eaLnBrk="1" fontAlgn="auto" latinLnBrk="0" hangingPunct="0">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t>   |  </a:t>
            </a:r>
            <a:fld id="{A8BDFFED-20DF-2D46-B137-BCA47FEAD7D4}" type="slidenum">
              <a:rPr kumimoji="0" lang="en-US" sz="1100" b="0" i="0" u="none" strike="noStrike" kern="1200" cap="none" spc="0" normalizeH="0" baseline="0" noProof="0" smtClean="0">
                <a:ln>
                  <a:noFill/>
                </a:ln>
                <a:solidFill>
                  <a:srgbClr val="FFFFFF"/>
                </a:solidFill>
                <a:effectLst/>
                <a:uLnTx/>
                <a:uFillTx/>
                <a:latin typeface="Verdana" panose="020B0604030504040204" pitchFamily="34" charset="0"/>
                <a:ea typeface="Verdana" panose="020B0604030504040204" pitchFamily="34" charset="0"/>
                <a:cs typeface="Verdana" panose="020B0604030504040204" pitchFamily="34" charset="0"/>
              </a:rPr>
              <a:pPr marL="0" marR="0" lvl="0" indent="0" algn="l" defTabSz="457200" rtl="0" eaLnBrk="1" fontAlgn="auto" latinLnBrk="0" hangingPunct="0">
                <a:lnSpc>
                  <a:spcPct val="100000"/>
                </a:lnSpc>
                <a:spcBef>
                  <a:spcPts val="0"/>
                </a:spcBef>
                <a:spcAft>
                  <a:spcPts val="0"/>
                </a:spcAft>
                <a:buClrTx/>
                <a:buSzTx/>
                <a:buFontTx/>
                <a:buNone/>
                <a:tabLst/>
                <a:defRPr/>
              </a:pPr>
              <a:t>24</a:t>
            </a:fld>
            <a:endParaRPr kumimoji="0" lang="en-US" sz="1100" b="0" i="0" u="none" strike="noStrike" kern="0" cap="none" spc="0" normalizeH="0" baseline="0" noProof="0">
              <a:ln>
                <a:noFill/>
              </a:ln>
              <a:solidFill>
                <a:srgbClr val="FFFFFF"/>
              </a:solidFill>
              <a:effectLst/>
              <a:uLnTx/>
              <a:uFillTx/>
              <a:latin typeface="Arial" panose="020B0604020202020204"/>
              <a:ea typeface="Verdana" panose="020B0604030504040204" pitchFamily="34" charset="0"/>
              <a:cs typeface="Verdana" panose="020B0604030504040204" pitchFamily="34" charset="0"/>
              <a:sym typeface="Calibri"/>
            </a:endParaRPr>
          </a:p>
        </p:txBody>
      </p:sp>
      <p:grpSp>
        <p:nvGrpSpPr>
          <p:cNvPr id="6" name="Group 5">
            <a:extLst>
              <a:ext uri="{FF2B5EF4-FFF2-40B4-BE49-F238E27FC236}">
                <a16:creationId xmlns:a16="http://schemas.microsoft.com/office/drawing/2014/main" id="{5285215E-27F0-9F43-AA34-9594E805E308}"/>
              </a:ext>
            </a:extLst>
          </p:cNvPr>
          <p:cNvGrpSpPr>
            <a:grpSpLocks noChangeAspect="1"/>
          </p:cNvGrpSpPr>
          <p:nvPr/>
        </p:nvGrpSpPr>
        <p:grpSpPr>
          <a:xfrm>
            <a:off x="609600" y="1663020"/>
            <a:ext cx="5361996" cy="4396992"/>
            <a:chOff x="238972" y="815346"/>
            <a:chExt cx="6587379" cy="5401842"/>
          </a:xfrm>
        </p:grpSpPr>
        <p:pic>
          <p:nvPicPr>
            <p:cNvPr id="5" name="Picture 4">
              <a:extLst>
                <a:ext uri="{FF2B5EF4-FFF2-40B4-BE49-F238E27FC236}">
                  <a16:creationId xmlns:a16="http://schemas.microsoft.com/office/drawing/2014/main" id="{AC97DA22-E29A-4604-B988-34CD521054B3}"/>
                </a:ext>
              </a:extLst>
            </p:cNvPr>
            <p:cNvPicPr>
              <a:picLocks noChangeAspect="1"/>
            </p:cNvPicPr>
            <p:nvPr/>
          </p:nvPicPr>
          <p:blipFill>
            <a:blip r:embed="rId3" cstate="screen">
              <a:extLst>
                <a:ext uri="{28A0092B-C50C-407E-A947-70E740481C1C}">
                  <a14:useLocalDpi xmlns:a14="http://schemas.microsoft.com/office/drawing/2010/main"/>
                </a:ext>
              </a:extLst>
            </a:blip>
            <a:srcRect/>
            <a:stretch/>
          </p:blipFill>
          <p:spPr>
            <a:xfrm>
              <a:off x="238972" y="815346"/>
              <a:ext cx="6587379" cy="5306135"/>
            </a:xfrm>
            <a:prstGeom prst="rect">
              <a:avLst/>
            </a:prstGeom>
          </p:spPr>
        </p:pic>
        <p:pic>
          <p:nvPicPr>
            <p:cNvPr id="3" name="Picture 2">
              <a:extLst>
                <a:ext uri="{FF2B5EF4-FFF2-40B4-BE49-F238E27FC236}">
                  <a16:creationId xmlns:a16="http://schemas.microsoft.com/office/drawing/2014/main" id="{5A292D7A-88F5-4E68-B7E2-6EA404FF89F2}"/>
                </a:ext>
              </a:extLst>
            </p:cNvPr>
            <p:cNvPicPr>
              <a:picLocks noChangeAspect="1"/>
            </p:cNvPicPr>
            <p:nvPr/>
          </p:nvPicPr>
          <p:blipFill>
            <a:blip r:embed="rId4"/>
            <a:stretch>
              <a:fillRect/>
            </a:stretch>
          </p:blipFill>
          <p:spPr>
            <a:xfrm>
              <a:off x="486204" y="2982178"/>
              <a:ext cx="1763793" cy="486235"/>
            </a:xfrm>
            <a:prstGeom prst="rect">
              <a:avLst/>
            </a:prstGeom>
          </p:spPr>
        </p:pic>
        <p:pic>
          <p:nvPicPr>
            <p:cNvPr id="10" name="Picture 9">
              <a:extLst>
                <a:ext uri="{FF2B5EF4-FFF2-40B4-BE49-F238E27FC236}">
                  <a16:creationId xmlns:a16="http://schemas.microsoft.com/office/drawing/2014/main" id="{5A207A77-36A2-45E2-A7D7-C4DAA4DD99E1}"/>
                </a:ext>
              </a:extLst>
            </p:cNvPr>
            <p:cNvPicPr>
              <a:picLocks noChangeAspect="1"/>
            </p:cNvPicPr>
            <p:nvPr/>
          </p:nvPicPr>
          <p:blipFill>
            <a:blip r:embed="rId5"/>
            <a:stretch>
              <a:fillRect/>
            </a:stretch>
          </p:blipFill>
          <p:spPr>
            <a:xfrm>
              <a:off x="416582" y="5694079"/>
              <a:ext cx="1903035" cy="523109"/>
            </a:xfrm>
            <a:prstGeom prst="rect">
              <a:avLst/>
            </a:prstGeom>
          </p:spPr>
        </p:pic>
      </p:grpSp>
      <p:sp>
        <p:nvSpPr>
          <p:cNvPr id="7" name="TextBox 6">
            <a:extLst>
              <a:ext uri="{FF2B5EF4-FFF2-40B4-BE49-F238E27FC236}">
                <a16:creationId xmlns:a16="http://schemas.microsoft.com/office/drawing/2014/main" id="{D20D5841-CCF3-D148-B1F0-2F896F601D16}"/>
              </a:ext>
            </a:extLst>
          </p:cNvPr>
          <p:cNvSpPr txBox="1"/>
          <p:nvPr/>
        </p:nvSpPr>
        <p:spPr>
          <a:xfrm>
            <a:off x="7085044" y="1569022"/>
            <a:ext cx="4828823" cy="427809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t">
            <a:spAutoFit/>
          </a:bodyPr>
          <a:lstStyle/>
          <a:p>
            <a:pPr marL="0" marR="0" lvl="0" indent="0" algn="ctr" defTabSz="457200" rtl="0" eaLnBrk="1"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3F3F3F"/>
                </a:solidFill>
                <a:effectLst/>
                <a:uLnTx/>
                <a:uFillTx/>
                <a:latin typeface="Arial" panose="020B0604020202020204"/>
                <a:ea typeface="+mn-ea"/>
                <a:cs typeface="+mn-cs"/>
                <a:sym typeface="Calibri"/>
              </a:rPr>
              <a:t>TPH1 upregulated in PAH</a:t>
            </a:r>
          </a:p>
          <a:p>
            <a:pPr marL="0" marR="0" lvl="0" indent="0" algn="ctr" defTabSz="457200" rtl="0" eaLnBrk="1" fontAlgn="auto" latinLnBrk="0" hangingPunct="0">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3F3F3F"/>
              </a:solidFill>
              <a:effectLst/>
              <a:uLnTx/>
              <a:uFillTx/>
              <a:latin typeface="Arial" panose="020B0604020202020204"/>
              <a:ea typeface="+mn-ea"/>
              <a:cs typeface="+mn-cs"/>
              <a:sym typeface="Calibri"/>
            </a:endParaRPr>
          </a:p>
          <a:p>
            <a:pPr marL="0" marR="0" lvl="0" indent="0" algn="ctr" defTabSz="457200" rtl="0" eaLnBrk="1" fontAlgn="auto" latinLnBrk="0" hangingPunct="0">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3F3F3F"/>
              </a:solidFill>
              <a:effectLst/>
              <a:uLnTx/>
              <a:uFillTx/>
              <a:latin typeface="Arial" panose="020B0604020202020204"/>
              <a:ea typeface="+mn-ea"/>
              <a:cs typeface="+mn-cs"/>
              <a:sym typeface="Calibri"/>
            </a:endParaRPr>
          </a:p>
          <a:p>
            <a:pPr marL="0" marR="0" lvl="0" indent="0" algn="ctr" defTabSz="457200" rtl="0" eaLnBrk="1"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3F3F3F"/>
                </a:solidFill>
                <a:effectLst/>
                <a:uLnTx/>
                <a:uFillTx/>
                <a:latin typeface="Arial" panose="020B0604020202020204"/>
                <a:ea typeface="+mn-ea"/>
                <a:cs typeface="+mn-cs"/>
                <a:sym typeface="Calibri"/>
              </a:rPr>
              <a:t>Increased locally-produced and platelet-derived serotonin contributes to the development of PAH</a:t>
            </a:r>
          </a:p>
          <a:p>
            <a:pPr marL="0" marR="0" lvl="0" indent="0" algn="ctr" defTabSz="457200" rtl="0" eaLnBrk="1" fontAlgn="auto" latinLnBrk="0" hangingPunct="0">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3F3F3F"/>
              </a:solidFill>
              <a:effectLst/>
              <a:uLnTx/>
              <a:uFillTx/>
              <a:latin typeface="Arial" panose="020B0604020202020204"/>
              <a:ea typeface="+mn-ea"/>
              <a:cs typeface="+mn-cs"/>
              <a:sym typeface="Calibri"/>
            </a:endParaRPr>
          </a:p>
          <a:p>
            <a:pPr marL="0" marR="0" lvl="0" indent="0" algn="ctr" defTabSz="457200" rtl="0" eaLnBrk="1" fontAlgn="auto" latinLnBrk="0" hangingPunct="0">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3F3F3F"/>
              </a:solidFill>
              <a:effectLst/>
              <a:uLnTx/>
              <a:uFillTx/>
              <a:latin typeface="Arial" panose="020B0604020202020204"/>
              <a:ea typeface="+mn-ea"/>
              <a:cs typeface="+mn-cs"/>
              <a:sym typeface="Calibri"/>
            </a:endParaRPr>
          </a:p>
          <a:p>
            <a:pPr marL="0" marR="0" lvl="0" indent="0" algn="ctr" defTabSz="457200" rtl="0" eaLnBrk="1"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3F3F3F"/>
                </a:solidFill>
                <a:effectLst/>
                <a:uLnTx/>
                <a:uFillTx/>
                <a:latin typeface="Arial" panose="020B0604020202020204"/>
                <a:ea typeface="+mn-ea"/>
                <a:cs typeface="+mn-cs"/>
                <a:sym typeface="Calibri"/>
              </a:rPr>
              <a:t>Excess serotonin stimulates thickening and constriction of the pulmonary blood vessels by acting through serotonin receptors and transporters</a:t>
            </a:r>
          </a:p>
          <a:p>
            <a:pPr marL="0" marR="0" lvl="0" indent="0" algn="ctr" defTabSz="457200" rtl="0" eaLnBrk="1" fontAlgn="auto" latinLnBrk="0" hangingPunct="0">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3F3F3F"/>
              </a:solidFill>
              <a:effectLst/>
              <a:uLnTx/>
              <a:uFillTx/>
              <a:latin typeface="Arial" panose="020B0604020202020204"/>
              <a:ea typeface="+mn-ea"/>
              <a:cs typeface="+mn-cs"/>
              <a:sym typeface="Calibri"/>
            </a:endParaRPr>
          </a:p>
          <a:p>
            <a:pPr marL="0" marR="0" lvl="0" indent="0" algn="ctr" defTabSz="457200" rtl="0" eaLnBrk="1" fontAlgn="auto" latinLnBrk="0" hangingPunct="0">
              <a:lnSpc>
                <a:spcPct val="100000"/>
              </a:lnSpc>
              <a:spcBef>
                <a:spcPts val="0"/>
              </a:spcBef>
              <a:spcAft>
                <a:spcPts val="0"/>
              </a:spcAft>
              <a:buClrTx/>
              <a:buSzTx/>
              <a:buFontTx/>
              <a:buNone/>
              <a:tabLst/>
              <a:defRPr/>
            </a:pPr>
            <a:endParaRPr kumimoji="0" lang="en-US" sz="1600" b="1" i="0" u="none" strike="noStrike" kern="0" cap="none" spc="0" normalizeH="0" baseline="0" noProof="0" dirty="0">
              <a:ln>
                <a:noFill/>
              </a:ln>
              <a:solidFill>
                <a:srgbClr val="3F3F3F"/>
              </a:solidFill>
              <a:effectLst/>
              <a:uLnTx/>
              <a:uFillTx/>
              <a:latin typeface="Arial" panose="020B0604020202020204"/>
              <a:ea typeface="+mn-ea"/>
              <a:cs typeface="+mn-cs"/>
              <a:sym typeface="Calibri"/>
            </a:endParaRPr>
          </a:p>
          <a:p>
            <a:pPr marL="0" marR="0" lvl="0" indent="0" algn="ctr" defTabSz="457200" rtl="0" eaLnBrk="1" fontAlgn="auto" latinLnBrk="0" hangingPunct="0">
              <a:lnSpc>
                <a:spcPct val="100000"/>
              </a:lnSpc>
              <a:spcBef>
                <a:spcPts val="0"/>
              </a:spcBef>
              <a:spcAft>
                <a:spcPts val="0"/>
              </a:spcAft>
              <a:buClrTx/>
              <a:buSzTx/>
              <a:buFontTx/>
              <a:buNone/>
              <a:tabLst/>
              <a:defRPr/>
            </a:pPr>
            <a:r>
              <a:rPr kumimoji="0" lang="en-US" sz="1600" b="1" i="0" u="none" strike="noStrike" kern="0" cap="none" spc="0" normalizeH="0" baseline="0" noProof="0" dirty="0">
                <a:ln>
                  <a:noFill/>
                </a:ln>
                <a:solidFill>
                  <a:srgbClr val="3F3F3F"/>
                </a:solidFill>
                <a:effectLst/>
                <a:uLnTx/>
                <a:uFillTx/>
                <a:latin typeface="Arial" panose="020B0604020202020204"/>
                <a:ea typeface="+mn-ea"/>
                <a:cs typeface="+mn-cs"/>
                <a:sym typeface="Calibri"/>
              </a:rPr>
              <a:t>Pulmonary arterial pressure increases and leads to stress on the right ventricle and ultimately to heart failure</a:t>
            </a:r>
          </a:p>
        </p:txBody>
      </p:sp>
      <p:sp>
        <p:nvSpPr>
          <p:cNvPr id="4" name="L-Shape 3">
            <a:extLst>
              <a:ext uri="{FF2B5EF4-FFF2-40B4-BE49-F238E27FC236}">
                <a16:creationId xmlns:a16="http://schemas.microsoft.com/office/drawing/2014/main" id="{30833FFF-8699-6E44-BF92-AE2CE6A9714D}"/>
              </a:ext>
            </a:extLst>
          </p:cNvPr>
          <p:cNvSpPr/>
          <p:nvPr/>
        </p:nvSpPr>
        <p:spPr>
          <a:xfrm rot="18900000">
            <a:off x="9293735" y="1830059"/>
            <a:ext cx="362096" cy="364744"/>
          </a:xfrm>
          <a:prstGeom prst="corner">
            <a:avLst>
              <a:gd name="adj1" fmla="val 29545"/>
              <a:gd name="adj2" fmla="val 27273"/>
            </a:avLst>
          </a:prstGeom>
          <a:solidFill>
            <a:schemeClr val="accent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Arial" panose="020B0604020202020204"/>
              <a:ea typeface="+mn-ea"/>
              <a:cs typeface="+mn-cs"/>
              <a:sym typeface="Calibri"/>
            </a:endParaRPr>
          </a:p>
        </p:txBody>
      </p:sp>
      <p:sp>
        <p:nvSpPr>
          <p:cNvPr id="12" name="L-Shape 11">
            <a:extLst>
              <a:ext uri="{FF2B5EF4-FFF2-40B4-BE49-F238E27FC236}">
                <a16:creationId xmlns:a16="http://schemas.microsoft.com/office/drawing/2014/main" id="{9EFA3E5C-9AE0-9849-9E83-51F1D0171686}"/>
              </a:ext>
            </a:extLst>
          </p:cNvPr>
          <p:cNvSpPr/>
          <p:nvPr/>
        </p:nvSpPr>
        <p:spPr>
          <a:xfrm rot="18900000">
            <a:off x="9264915" y="4550689"/>
            <a:ext cx="362096" cy="364744"/>
          </a:xfrm>
          <a:prstGeom prst="corner">
            <a:avLst>
              <a:gd name="adj1" fmla="val 29545"/>
              <a:gd name="adj2" fmla="val 27273"/>
            </a:avLst>
          </a:prstGeom>
          <a:solidFill>
            <a:schemeClr val="accent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Arial" panose="020B0604020202020204"/>
              <a:ea typeface="+mn-ea"/>
              <a:cs typeface="+mn-cs"/>
              <a:sym typeface="Calibri"/>
            </a:endParaRPr>
          </a:p>
        </p:txBody>
      </p:sp>
      <p:sp>
        <p:nvSpPr>
          <p:cNvPr id="15" name="L-Shape 14">
            <a:extLst>
              <a:ext uri="{FF2B5EF4-FFF2-40B4-BE49-F238E27FC236}">
                <a16:creationId xmlns:a16="http://schemas.microsoft.com/office/drawing/2014/main" id="{56225339-A05C-4928-8108-BCE5AB6D617B}"/>
              </a:ext>
            </a:extLst>
          </p:cNvPr>
          <p:cNvSpPr/>
          <p:nvPr/>
        </p:nvSpPr>
        <p:spPr>
          <a:xfrm rot="18900000">
            <a:off x="9264915" y="3053207"/>
            <a:ext cx="362096" cy="364744"/>
          </a:xfrm>
          <a:prstGeom prst="corner">
            <a:avLst>
              <a:gd name="adj1" fmla="val 29545"/>
              <a:gd name="adj2" fmla="val 27273"/>
            </a:avLst>
          </a:prstGeom>
          <a:solidFill>
            <a:schemeClr val="accent2"/>
          </a:solidFill>
          <a:ln w="25400" cap="flat">
            <a:noFill/>
            <a:prstDash val="solid"/>
            <a:round/>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8" tIns="45718" rIns="45718" bIns="45718" numCol="1" spcCol="38100" rtlCol="0" anchor="ctr">
            <a:spAutoFit/>
          </a:bodyPr>
          <a:lstStyle/>
          <a:p>
            <a:pPr marL="0" marR="0" lvl="0" indent="0" algn="l" defTabSz="457200" rtl="0" eaLnBrk="1" fontAlgn="auto" latinLnBrk="0" hangingPunct="0">
              <a:lnSpc>
                <a:spcPct val="100000"/>
              </a:lnSpc>
              <a:spcBef>
                <a:spcPts val="0"/>
              </a:spcBef>
              <a:spcAft>
                <a:spcPts val="0"/>
              </a:spcAft>
              <a:buClrTx/>
              <a:buSzTx/>
              <a:buFontTx/>
              <a:buNone/>
              <a:tabLst/>
              <a:defRPr/>
            </a:pPr>
            <a:endParaRPr kumimoji="0" lang="en-US" sz="1600" b="0" i="0" u="none" strike="noStrike" kern="0" cap="none" spc="0" normalizeH="0" baseline="0" noProof="0">
              <a:ln>
                <a:noFill/>
              </a:ln>
              <a:solidFill>
                <a:srgbClr val="000000"/>
              </a:solidFill>
              <a:effectLst/>
              <a:uLnTx/>
              <a:uFillTx/>
              <a:latin typeface="Arial" panose="020B0604020202020204"/>
              <a:ea typeface="+mn-ea"/>
              <a:cs typeface="+mn-cs"/>
              <a:sym typeface="Calibri"/>
            </a:endParaRPr>
          </a:p>
        </p:txBody>
      </p:sp>
    </p:spTree>
    <p:extLst>
      <p:ext uri="{BB962C8B-B14F-4D97-AF65-F5344CB8AC3E}">
        <p14:creationId xmlns:p14="http://schemas.microsoft.com/office/powerpoint/2010/main" val="16643051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933978-F816-46CB-BC73-DF1B4416906F}"/>
              </a:ext>
            </a:extLst>
          </p:cNvPr>
          <p:cNvSpPr>
            <a:spLocks noGrp="1"/>
          </p:cNvSpPr>
          <p:nvPr>
            <p:ph type="title"/>
          </p:nvPr>
        </p:nvSpPr>
        <p:spPr>
          <a:xfrm>
            <a:off x="609600" y="199505"/>
            <a:ext cx="10744200" cy="1185577"/>
          </a:xfrm>
        </p:spPr>
        <p:txBody>
          <a:bodyPr/>
          <a:lstStyle/>
          <a:p>
            <a:r>
              <a:rPr lang="en-US" dirty="0"/>
              <a:t>Failure of Targeting the Serotonin Pathway in PAH</a:t>
            </a:r>
          </a:p>
        </p:txBody>
      </p:sp>
      <p:sp>
        <p:nvSpPr>
          <p:cNvPr id="3" name="TextBox 2">
            <a:extLst>
              <a:ext uri="{FF2B5EF4-FFF2-40B4-BE49-F238E27FC236}">
                <a16:creationId xmlns:a16="http://schemas.microsoft.com/office/drawing/2014/main" id="{615D0612-C34F-4137-981D-9C8BAC60FD4A}"/>
              </a:ext>
            </a:extLst>
          </p:cNvPr>
          <p:cNvSpPr txBox="1"/>
          <p:nvPr/>
        </p:nvSpPr>
        <p:spPr>
          <a:xfrm>
            <a:off x="609600" y="1828800"/>
            <a:ext cx="10820400" cy="286232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F3F3F"/>
                </a:solidFill>
                <a:effectLst/>
                <a:uLnTx/>
                <a:uFillTx/>
                <a:latin typeface="Arial" panose="020B0604020202020204"/>
                <a:ea typeface="+mn-ea"/>
                <a:cs typeface="+mn-cs"/>
              </a:rPr>
              <a:t>Following database lock of the 24-week double-blind placebo-controlled part of the study on </a:t>
            </a:r>
            <a:r>
              <a:rPr kumimoji="0" lang="en-US" sz="1800" b="1" i="0" u="none" strike="noStrike" kern="1200" cap="none" spc="0" normalizeH="0" baseline="0" noProof="0" dirty="0">
                <a:ln>
                  <a:noFill/>
                </a:ln>
                <a:solidFill>
                  <a:srgbClr val="FF0000"/>
                </a:solidFill>
                <a:effectLst/>
                <a:uLnTx/>
                <a:uFillTx/>
                <a:latin typeface="Arial" panose="020B0604020202020204"/>
                <a:ea typeface="+mn-ea"/>
                <a:cs typeface="+mn-cs"/>
              </a:rPr>
              <a:t>Thursday, 29 June 2023</a:t>
            </a:r>
            <a:r>
              <a:rPr kumimoji="0" lang="en-US" sz="1800" b="0" i="0" u="none" strike="noStrike" kern="1200" cap="none" spc="0" normalizeH="0" baseline="0" noProof="0" dirty="0">
                <a:ln>
                  <a:noFill/>
                </a:ln>
                <a:solidFill>
                  <a:srgbClr val="3F3F3F"/>
                </a:solidFill>
                <a:effectLst/>
                <a:uLnTx/>
                <a:uFillTx/>
                <a:latin typeface="Arial" panose="020B0604020202020204"/>
                <a:ea typeface="+mn-ea"/>
                <a:cs typeface="+mn-cs"/>
              </a:rPr>
              <a:t> and a review of the preliminary data from this portion of the study with the Chair of the Data Monitoring Committee (DMC) on Friday, 30 June 2023, the DMC Chair recommended, and the Sponsor agreed, that patients should stop their treatment with </a:t>
            </a:r>
            <a:r>
              <a:rPr kumimoji="0" lang="en-US" sz="1800" b="0" i="0" u="none" strike="noStrike" kern="1200" cap="none" spc="0" normalizeH="0" baseline="0" noProof="0" dirty="0" err="1">
                <a:ln>
                  <a:noFill/>
                </a:ln>
                <a:solidFill>
                  <a:srgbClr val="3F3F3F"/>
                </a:solidFill>
                <a:effectLst/>
                <a:uLnTx/>
                <a:uFillTx/>
                <a:latin typeface="Arial" panose="020B0604020202020204"/>
                <a:ea typeface="+mn-ea"/>
                <a:cs typeface="+mn-cs"/>
              </a:rPr>
              <a:t>rodatristat</a:t>
            </a:r>
            <a:r>
              <a:rPr kumimoji="0" lang="en-US" sz="1800" b="0" i="0" u="none" strike="noStrike" kern="1200" cap="none" spc="0" normalizeH="0" baseline="0" noProof="0" dirty="0">
                <a:ln>
                  <a:noFill/>
                </a:ln>
                <a:solidFill>
                  <a:srgbClr val="3F3F3F"/>
                </a:solidFill>
                <a:effectLst/>
                <a:uLnTx/>
                <a:uFillTx/>
                <a:latin typeface="Arial" panose="020B0604020202020204"/>
                <a:ea typeface="+mn-ea"/>
                <a:cs typeface="+mn-cs"/>
              </a:rPr>
              <a:t> ethyl and terminate the continuation of the study as a result o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F3F3F"/>
                </a:solidFill>
                <a:effectLst/>
                <a:uLnTx/>
                <a:uFillTx/>
                <a:latin typeface="Arial" panose="020B0604020202020204"/>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F3F3F"/>
                </a:solidFill>
                <a:effectLst/>
                <a:uLnTx/>
                <a:uFillTx/>
                <a:latin typeface="Arial" panose="020B0604020202020204"/>
                <a:ea typeface="+mn-ea"/>
                <a:cs typeface="+mn-cs"/>
              </a:rPr>
              <a:t>-an increase in the change in PVR from baseline to Week 24 (primary endpoint of the stud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F3F3F"/>
                </a:solidFill>
                <a:effectLst/>
                <a:uLnTx/>
                <a:uFillTx/>
                <a:latin typeface="Arial" panose="020B0604020202020204"/>
                <a:ea typeface="+mn-ea"/>
                <a:cs typeface="+mn-cs"/>
              </a:rPr>
              <a:t>-an increase in the change in NT-</a:t>
            </a:r>
            <a:r>
              <a:rPr kumimoji="0" lang="en-US" sz="1800" b="0" i="0" u="none" strike="noStrike" kern="1200" cap="none" spc="0" normalizeH="0" baseline="0" noProof="0" dirty="0" err="1">
                <a:ln>
                  <a:noFill/>
                </a:ln>
                <a:solidFill>
                  <a:srgbClr val="3F3F3F"/>
                </a:solidFill>
                <a:effectLst/>
                <a:uLnTx/>
                <a:uFillTx/>
                <a:latin typeface="Arial" panose="020B0604020202020204"/>
                <a:ea typeface="+mn-ea"/>
                <a:cs typeface="+mn-cs"/>
              </a:rPr>
              <a:t>proBNP</a:t>
            </a:r>
            <a:r>
              <a:rPr kumimoji="0" lang="en-US" sz="1800" b="0" i="0" u="none" strike="noStrike" kern="1200" cap="none" spc="0" normalizeH="0" baseline="0" noProof="0" dirty="0">
                <a:ln>
                  <a:noFill/>
                </a:ln>
                <a:solidFill>
                  <a:srgbClr val="3F3F3F"/>
                </a:solidFill>
                <a:effectLst/>
                <a:uLnTx/>
                <a:uFillTx/>
                <a:latin typeface="Arial" panose="020B0604020202020204"/>
                <a:ea typeface="+mn-ea"/>
                <a:cs typeface="+mn-cs"/>
              </a:rPr>
              <a:t> from baseline to week 24 (secondary endpoint), an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F3F3F"/>
                </a:solidFill>
                <a:effectLst/>
                <a:uLnTx/>
                <a:uFillTx/>
                <a:latin typeface="Arial" panose="020B0604020202020204"/>
                <a:ea typeface="+mn-ea"/>
                <a:cs typeface="+mn-cs"/>
              </a:rPr>
              <a:t>-an imbalance in safety data with </a:t>
            </a:r>
            <a:r>
              <a:rPr kumimoji="0" lang="en-US" sz="1800" b="0" i="0" u="none" strike="noStrike" kern="1200" cap="none" spc="0" normalizeH="0" baseline="0" noProof="0" dirty="0" err="1">
                <a:ln>
                  <a:noFill/>
                </a:ln>
                <a:solidFill>
                  <a:srgbClr val="3F3F3F"/>
                </a:solidFill>
                <a:effectLst/>
                <a:uLnTx/>
                <a:uFillTx/>
                <a:latin typeface="Arial" panose="020B0604020202020204"/>
                <a:ea typeface="+mn-ea"/>
                <a:cs typeface="+mn-cs"/>
              </a:rPr>
              <a:t>rodatristat</a:t>
            </a:r>
            <a:r>
              <a:rPr kumimoji="0" lang="en-US" sz="1800" b="0" i="0" u="none" strike="noStrike" kern="1200" cap="none" spc="0" normalizeH="0" baseline="0" noProof="0" dirty="0">
                <a:ln>
                  <a:noFill/>
                </a:ln>
                <a:solidFill>
                  <a:srgbClr val="3F3F3F"/>
                </a:solidFill>
                <a:effectLst/>
                <a:uLnTx/>
                <a:uFillTx/>
                <a:latin typeface="Arial" panose="020B0604020202020204"/>
                <a:ea typeface="+mn-ea"/>
                <a:cs typeface="+mn-cs"/>
              </a:rPr>
              <a:t> compared with placebo.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Arial" panose="020B0604020202020204"/>
              <a:ea typeface="+mn-ea"/>
              <a:cs typeface="+mn-cs"/>
            </a:endParaRPr>
          </a:p>
        </p:txBody>
      </p:sp>
      <p:sp>
        <p:nvSpPr>
          <p:cNvPr id="4" name="TextBox 3">
            <a:extLst>
              <a:ext uri="{FF2B5EF4-FFF2-40B4-BE49-F238E27FC236}">
                <a16:creationId xmlns:a16="http://schemas.microsoft.com/office/drawing/2014/main" id="{E6F6D927-97A4-8367-F22D-F47E83061A0C}"/>
              </a:ext>
            </a:extLst>
          </p:cNvPr>
          <p:cNvSpPr txBox="1"/>
          <p:nvPr/>
        </p:nvSpPr>
        <p:spPr>
          <a:xfrm>
            <a:off x="254524" y="6479145"/>
            <a:ext cx="598602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F3F3F"/>
                </a:solidFill>
                <a:effectLst/>
                <a:uLnTx/>
                <a:uFillTx/>
                <a:latin typeface="Arial" panose="020B0604020202020204"/>
                <a:ea typeface="+mn-ea"/>
                <a:cs typeface="+mn-cs"/>
              </a:rPr>
              <a:t>DMC, data monitoring committee. </a:t>
            </a:r>
          </a:p>
        </p:txBody>
      </p:sp>
    </p:spTree>
    <p:extLst>
      <p:ext uri="{BB962C8B-B14F-4D97-AF65-F5344CB8AC3E}">
        <p14:creationId xmlns:p14="http://schemas.microsoft.com/office/powerpoint/2010/main" val="366340436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A diagram of different types of blood flow&#10;&#10;Description automatically generated">
            <a:extLst>
              <a:ext uri="{FF2B5EF4-FFF2-40B4-BE49-F238E27FC236}">
                <a16:creationId xmlns:a16="http://schemas.microsoft.com/office/drawing/2014/main" id="{341BD903-9E66-48E1-A40E-7BB2C93B98A5}"/>
              </a:ext>
            </a:extLst>
          </p:cNvPr>
          <p:cNvPicPr>
            <a:picLocks noChangeAspect="1"/>
          </p:cNvPicPr>
          <p:nvPr/>
        </p:nvPicPr>
        <p:blipFill>
          <a:blip r:embed="rId3"/>
          <a:stretch>
            <a:fillRect/>
          </a:stretch>
        </p:blipFill>
        <p:spPr>
          <a:xfrm>
            <a:off x="6093902" y="473488"/>
            <a:ext cx="4178300" cy="5613400"/>
          </a:xfrm>
          <a:prstGeom prst="rect">
            <a:avLst/>
          </a:prstGeom>
        </p:spPr>
      </p:pic>
      <p:sp>
        <p:nvSpPr>
          <p:cNvPr id="25602" name="Title 1"/>
          <p:cNvSpPr>
            <a:spLocks noGrp="1"/>
          </p:cNvSpPr>
          <p:nvPr>
            <p:ph type="title"/>
          </p:nvPr>
        </p:nvSpPr>
        <p:spPr>
          <a:xfrm>
            <a:off x="699104" y="576193"/>
            <a:ext cx="3006896" cy="3370165"/>
          </a:xfrm>
        </p:spPr>
        <p:txBody>
          <a:bodyPr>
            <a:noAutofit/>
          </a:bodyPr>
          <a:lstStyle/>
          <a:p>
            <a:pPr algn="l" eaLnBrk="1" hangingPunct="1"/>
            <a:r>
              <a:rPr lang="en-US" dirty="0">
                <a:ea typeface="ヒラギノ角ゴ Pro W3" pitchFamily="-108" charset="-128"/>
              </a:rPr>
              <a:t>Aria’s Device:</a:t>
            </a:r>
            <a:br>
              <a:rPr lang="en-US" b="0" dirty="0">
                <a:ea typeface="ヒラギノ角ゴ Pro W3" pitchFamily="-108" charset="-128"/>
              </a:rPr>
            </a:br>
            <a:br>
              <a:rPr lang="en-US" b="0" dirty="0">
                <a:ea typeface="ヒラギノ角ゴ Pro W3" pitchFamily="-108" charset="-128"/>
              </a:rPr>
            </a:br>
            <a:r>
              <a:rPr lang="en-US" b="0" dirty="0">
                <a:ea typeface="ヒラギノ角ゴ Pro W3" pitchFamily="-108" charset="-128"/>
              </a:rPr>
              <a:t>Abnormal compliance contributes to</a:t>
            </a:r>
            <a:br>
              <a:rPr lang="en-US" b="0" dirty="0">
                <a:ea typeface="ヒラギノ角ゴ Pro W3" pitchFamily="-108" charset="-128"/>
              </a:rPr>
            </a:br>
            <a:r>
              <a:rPr lang="en-US" b="0" dirty="0">
                <a:ea typeface="ヒラギノ角ゴ Pro W3" pitchFamily="-108" charset="-128"/>
              </a:rPr>
              <a:t>RV dysfunction</a:t>
            </a:r>
          </a:p>
        </p:txBody>
      </p:sp>
      <p:sp>
        <p:nvSpPr>
          <p:cNvPr id="4" name="TextBox 3"/>
          <p:cNvSpPr txBox="1"/>
          <p:nvPr/>
        </p:nvSpPr>
        <p:spPr>
          <a:xfrm>
            <a:off x="4978400" y="3107267"/>
            <a:ext cx="18466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3F3F3F"/>
              </a:solidFill>
              <a:effectLst/>
              <a:uLnTx/>
              <a:uFillTx/>
              <a:latin typeface="Arial" panose="020B0604020202020204"/>
              <a:ea typeface="+mn-ea"/>
              <a:cs typeface="+mn-cs"/>
            </a:endParaRPr>
          </a:p>
        </p:txBody>
      </p:sp>
      <p:sp>
        <p:nvSpPr>
          <p:cNvPr id="6" name="TextBox 5">
            <a:extLst>
              <a:ext uri="{FF2B5EF4-FFF2-40B4-BE49-F238E27FC236}">
                <a16:creationId xmlns:a16="http://schemas.microsoft.com/office/drawing/2014/main" id="{BCBA8EF0-FF73-DD31-17E5-ABC7A09DDF19}"/>
              </a:ext>
            </a:extLst>
          </p:cNvPr>
          <p:cNvSpPr txBox="1"/>
          <p:nvPr/>
        </p:nvSpPr>
        <p:spPr>
          <a:xfrm>
            <a:off x="4638933" y="523464"/>
            <a:ext cx="1981200" cy="203132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3F3F3F"/>
              </a:solidFill>
              <a:effectLst/>
              <a:uLnTx/>
              <a:uFillTx/>
              <a:latin typeface="Helvetica Neue"/>
              <a:ea typeface="+mn-ea"/>
              <a:cs typeface="Helvetica Neue"/>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F3F3F"/>
                </a:solidFill>
                <a:effectLst/>
                <a:uLnTx/>
                <a:uFillTx/>
                <a:latin typeface="Arial" panose="020B0604020202020204"/>
                <a:ea typeface="+mn-ea"/>
                <a:cs typeface="Helvetica Neue"/>
              </a:rPr>
              <a:t>Increased pulse pressure and pulsatile loa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Arial" panose="020B0604020202020204"/>
              <a:ea typeface="+mn-ea"/>
              <a:cs typeface="Helvetica Neue"/>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F3F3F"/>
                </a:solidFill>
                <a:effectLst/>
                <a:uLnTx/>
                <a:uFillTx/>
                <a:latin typeface="Arial" panose="020B0604020202020204"/>
                <a:ea typeface="+mn-ea"/>
                <a:cs typeface="Helvetica Neue"/>
              </a:rPr>
              <a:t>Target of Aria’s device</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3F3F3F"/>
              </a:solidFill>
              <a:effectLst/>
              <a:uLnTx/>
              <a:uFillTx/>
              <a:latin typeface="Helvetica Neue"/>
              <a:ea typeface="+mn-ea"/>
              <a:cs typeface="Helvetica Neue"/>
            </a:endParaRPr>
          </a:p>
        </p:txBody>
      </p:sp>
      <p:sp>
        <p:nvSpPr>
          <p:cNvPr id="8" name="TextBox 7">
            <a:extLst>
              <a:ext uri="{FF2B5EF4-FFF2-40B4-BE49-F238E27FC236}">
                <a16:creationId xmlns:a16="http://schemas.microsoft.com/office/drawing/2014/main" id="{D1749FE9-81BF-9F8E-842D-0DB1F9109FB6}"/>
              </a:ext>
            </a:extLst>
          </p:cNvPr>
          <p:cNvSpPr txBox="1"/>
          <p:nvPr/>
        </p:nvSpPr>
        <p:spPr>
          <a:xfrm>
            <a:off x="10270104" y="523463"/>
            <a:ext cx="2133600" cy="178510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srgbClr val="3F3F3F"/>
              </a:solidFill>
              <a:effectLst/>
              <a:uLnTx/>
              <a:uFillTx/>
              <a:latin typeface="Arial" panose="020B0604020202020204"/>
              <a:ea typeface="+mn-ea"/>
              <a:cs typeface="Helvetica Neue"/>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F3F3F"/>
                </a:solidFill>
                <a:effectLst/>
                <a:uLnTx/>
                <a:uFillTx/>
                <a:latin typeface="Arial" panose="020B0604020202020204"/>
                <a:ea typeface="+mn-ea"/>
                <a:cs typeface="Helvetica Neue"/>
              </a:rPr>
              <a:t>Increase mean pressure and steady state loa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3F3F3F"/>
              </a:solidFill>
              <a:effectLst/>
              <a:uLnTx/>
              <a:uFillTx/>
              <a:latin typeface="Arial" panose="020B0604020202020204"/>
              <a:ea typeface="+mn-ea"/>
              <a:cs typeface="Helvetica Neue"/>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3F3F3F"/>
                </a:solidFill>
                <a:effectLst/>
                <a:uLnTx/>
                <a:uFillTx/>
                <a:latin typeface="Arial" panose="020B0604020202020204"/>
                <a:ea typeface="+mn-ea"/>
                <a:cs typeface="Helvetica Neue"/>
              </a:rPr>
              <a:t>Target of drug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srgbClr val="3F3F3F"/>
              </a:solidFill>
              <a:effectLst/>
              <a:uLnTx/>
              <a:uFillTx/>
              <a:latin typeface="Helvetica Neue"/>
              <a:ea typeface="+mn-ea"/>
              <a:cs typeface="Helvetica Neue"/>
            </a:endParaRPr>
          </a:p>
        </p:txBody>
      </p:sp>
      <p:sp>
        <p:nvSpPr>
          <p:cNvPr id="2" name="TextBox 1">
            <a:extLst>
              <a:ext uri="{FF2B5EF4-FFF2-40B4-BE49-F238E27FC236}">
                <a16:creationId xmlns:a16="http://schemas.microsoft.com/office/drawing/2014/main" id="{888FF63C-BA7F-47C2-ACF4-60BEC769BB6F}"/>
              </a:ext>
            </a:extLst>
          </p:cNvPr>
          <p:cNvSpPr txBox="1"/>
          <p:nvPr/>
        </p:nvSpPr>
        <p:spPr>
          <a:xfrm>
            <a:off x="245853" y="6149870"/>
            <a:ext cx="5053996"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Arial" panose="020B0604020202020204"/>
                <a:ea typeface="+mn-ea"/>
                <a:cs typeface="+mn-cs"/>
              </a:rPr>
              <a:t>Compliance= </a:t>
            </a:r>
            <a:r>
              <a:rPr kumimoji="0" lang="en-US" sz="1800" b="0" i="0" u="sng" strike="noStrike" kern="1200" cap="none" spc="0" normalizeH="0" baseline="0" noProof="0" dirty="0">
                <a:ln>
                  <a:noFill/>
                </a:ln>
                <a:solidFill>
                  <a:srgbClr val="FF0000"/>
                </a:solidFill>
                <a:effectLst/>
                <a:uLnTx/>
                <a:uFillTx/>
                <a:latin typeface="Arial" panose="020B0604020202020204"/>
                <a:ea typeface="+mn-ea"/>
                <a:cs typeface="+mn-cs"/>
              </a:rPr>
              <a:t>(Stroke Volum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FF0000"/>
                </a:solidFill>
                <a:effectLst/>
                <a:uLnTx/>
                <a:uFillTx/>
                <a:latin typeface="Arial" panose="020B0604020202020204"/>
                <a:ea typeface="+mn-ea"/>
                <a:cs typeface="+mn-cs"/>
              </a:rPr>
              <a:t>                      (Pulse Pressure)</a:t>
            </a:r>
          </a:p>
        </p:txBody>
      </p:sp>
    </p:spTree>
    <p:extLst>
      <p:ext uri="{BB962C8B-B14F-4D97-AF65-F5344CB8AC3E}">
        <p14:creationId xmlns:p14="http://schemas.microsoft.com/office/powerpoint/2010/main" val="41251246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AE8234-4398-964D-AD48-4662C393ECB3}"/>
              </a:ext>
            </a:extLst>
          </p:cNvPr>
          <p:cNvSpPr>
            <a:spLocks noGrp="1"/>
          </p:cNvSpPr>
          <p:nvPr>
            <p:ph type="title"/>
          </p:nvPr>
        </p:nvSpPr>
        <p:spPr/>
        <p:txBody>
          <a:bodyPr/>
          <a:lstStyle/>
          <a:p>
            <a:r>
              <a:rPr lang="en-US" dirty="0"/>
              <a:t>Implanted Device</a:t>
            </a:r>
          </a:p>
        </p:txBody>
      </p:sp>
      <p:sp>
        <p:nvSpPr>
          <p:cNvPr id="4" name="Title 1">
            <a:extLst>
              <a:ext uri="{FF2B5EF4-FFF2-40B4-BE49-F238E27FC236}">
                <a16:creationId xmlns:a16="http://schemas.microsoft.com/office/drawing/2014/main" id="{97B50C3C-D910-48F2-BEA4-26AA47F2863C}"/>
              </a:ext>
            </a:extLst>
          </p:cNvPr>
          <p:cNvSpPr txBox="1">
            <a:spLocks/>
          </p:cNvSpPr>
          <p:nvPr/>
        </p:nvSpPr>
        <p:spPr>
          <a:xfrm>
            <a:off x="7758453" y="4851991"/>
            <a:ext cx="4358371" cy="1275385"/>
          </a:xfrm>
          <a:prstGeom prst="rect">
            <a:avLst/>
          </a:prstGeom>
        </p:spPr>
        <p:txBody>
          <a:bodyPr vert="horz" lIns="91440" tIns="45720" rIns="91440" bIns="45720" rtlCol="0" anchor="ctr">
            <a:normAutofit/>
          </a:bodyPr>
          <a:lstStyle>
            <a:lvl1pPr algn="ctr" rtl="0" eaLnBrk="0" fontAlgn="base" hangingPunct="0">
              <a:spcBef>
                <a:spcPct val="0"/>
              </a:spcBef>
              <a:spcAft>
                <a:spcPct val="0"/>
              </a:spcAft>
              <a:defRPr sz="3600" b="1">
                <a:solidFill>
                  <a:schemeClr val="tx1"/>
                </a:solidFill>
                <a:latin typeface="+mj-lt"/>
                <a:ea typeface="+mj-ea"/>
                <a:cs typeface="+mj-cs"/>
              </a:defRPr>
            </a:lvl1pPr>
            <a:lvl2pPr algn="ctr" rtl="0" eaLnBrk="0" fontAlgn="base" hangingPunct="0">
              <a:spcBef>
                <a:spcPct val="0"/>
              </a:spcBef>
              <a:spcAft>
                <a:spcPct val="0"/>
              </a:spcAft>
              <a:defRPr sz="3600" b="1">
                <a:solidFill>
                  <a:schemeClr val="tx1"/>
                </a:solidFill>
                <a:latin typeface="Arial" charset="0"/>
              </a:defRPr>
            </a:lvl2pPr>
            <a:lvl3pPr algn="ctr" rtl="0" eaLnBrk="0" fontAlgn="base" hangingPunct="0">
              <a:spcBef>
                <a:spcPct val="0"/>
              </a:spcBef>
              <a:spcAft>
                <a:spcPct val="0"/>
              </a:spcAft>
              <a:defRPr sz="3600" b="1">
                <a:solidFill>
                  <a:schemeClr val="tx1"/>
                </a:solidFill>
                <a:latin typeface="Arial" charset="0"/>
              </a:defRPr>
            </a:lvl3pPr>
            <a:lvl4pPr algn="ctr" rtl="0" eaLnBrk="0" fontAlgn="base" hangingPunct="0">
              <a:spcBef>
                <a:spcPct val="0"/>
              </a:spcBef>
              <a:spcAft>
                <a:spcPct val="0"/>
              </a:spcAft>
              <a:defRPr sz="3600" b="1">
                <a:solidFill>
                  <a:schemeClr val="tx1"/>
                </a:solidFill>
                <a:latin typeface="Arial" charset="0"/>
              </a:defRPr>
            </a:lvl4pPr>
            <a:lvl5pPr algn="ctr" rtl="0" eaLnBrk="0" fontAlgn="base" hangingPunct="0">
              <a:spcBef>
                <a:spcPct val="0"/>
              </a:spcBef>
              <a:spcAft>
                <a:spcPct val="0"/>
              </a:spcAft>
              <a:defRPr sz="3600" b="1">
                <a:solidFill>
                  <a:schemeClr val="tx1"/>
                </a:solidFill>
                <a:latin typeface="Arial" charset="0"/>
              </a:defRPr>
            </a:lvl5pPr>
            <a:lvl6pPr marL="457200" algn="ctr" rtl="0" fontAlgn="base">
              <a:spcBef>
                <a:spcPct val="0"/>
              </a:spcBef>
              <a:spcAft>
                <a:spcPct val="0"/>
              </a:spcAft>
              <a:defRPr sz="3600" b="1">
                <a:solidFill>
                  <a:schemeClr val="tx1"/>
                </a:solidFill>
                <a:latin typeface="Arial" charset="0"/>
              </a:defRPr>
            </a:lvl6pPr>
            <a:lvl7pPr marL="914400" algn="ctr" rtl="0" fontAlgn="base">
              <a:spcBef>
                <a:spcPct val="0"/>
              </a:spcBef>
              <a:spcAft>
                <a:spcPct val="0"/>
              </a:spcAft>
              <a:defRPr sz="3600" b="1">
                <a:solidFill>
                  <a:schemeClr val="tx1"/>
                </a:solidFill>
                <a:latin typeface="Arial" charset="0"/>
              </a:defRPr>
            </a:lvl7pPr>
            <a:lvl8pPr marL="1371600" algn="ctr" rtl="0" fontAlgn="base">
              <a:spcBef>
                <a:spcPct val="0"/>
              </a:spcBef>
              <a:spcAft>
                <a:spcPct val="0"/>
              </a:spcAft>
              <a:defRPr sz="3600" b="1">
                <a:solidFill>
                  <a:schemeClr val="tx1"/>
                </a:solidFill>
                <a:latin typeface="Arial" charset="0"/>
              </a:defRPr>
            </a:lvl8pPr>
            <a:lvl9pPr marL="1828800" algn="ctr" rtl="0" fontAlgn="base">
              <a:spcBef>
                <a:spcPct val="0"/>
              </a:spcBef>
              <a:spcAft>
                <a:spcPct val="0"/>
              </a:spcAft>
              <a:defRPr sz="3600" b="1">
                <a:solidFill>
                  <a:schemeClr val="tx1"/>
                </a:solidFill>
                <a:latin typeface="Arial" charset="0"/>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dirty="0">
              <a:ln>
                <a:noFill/>
              </a:ln>
              <a:solidFill>
                <a:srgbClr val="3F3F3F"/>
              </a:solidFill>
              <a:effectLst/>
              <a:uLnTx/>
              <a:uFillTx/>
              <a:latin typeface="Arial" panose="020B0604020202020204"/>
              <a:ea typeface="ヒラギノ角ゴ Pro W3" pitchFamily="-108" charset="-128"/>
              <a:cs typeface="+mj-cs"/>
            </a:endParaRPr>
          </a:p>
        </p:txBody>
      </p:sp>
      <p:pic>
        <p:nvPicPr>
          <p:cNvPr id="11" name="Ep2_Slide25_video">
            <a:hlinkClick r:id="" action="ppaction://media"/>
            <a:extLst>
              <a:ext uri="{FF2B5EF4-FFF2-40B4-BE49-F238E27FC236}">
                <a16:creationId xmlns:a16="http://schemas.microsoft.com/office/drawing/2014/main" id="{E811A713-4DF4-CDF1-87DF-2AD03B751A5E}"/>
              </a:ext>
            </a:extLst>
          </p:cNvPr>
          <p:cNvPicPr>
            <a:picLocks noGrp="1" noChangeAspect="1"/>
          </p:cNvPicPr>
          <p:nvPr>
            <p:ph idx="1"/>
            <a:videoFile r:link="rId2"/>
            <p:extLst>
              <p:ext uri="{DAA4B4D4-6D71-4841-9C94-3DE7FCFB9230}">
                <p14:media xmlns:p14="http://schemas.microsoft.com/office/powerpoint/2010/main" r:embed="rId1"/>
              </p:ext>
            </p:extLst>
          </p:nvPr>
        </p:nvPicPr>
        <p:blipFill>
          <a:blip r:embed="rId4"/>
          <a:stretch>
            <a:fillRect/>
          </a:stretch>
        </p:blipFill>
        <p:spPr>
          <a:xfrm>
            <a:off x="1785143" y="1404564"/>
            <a:ext cx="8393113" cy="4722812"/>
          </a:xfrm>
        </p:spPr>
      </p:pic>
    </p:spTree>
    <p:extLst>
      <p:ext uri="{BB962C8B-B14F-4D97-AF65-F5344CB8AC3E}">
        <p14:creationId xmlns:p14="http://schemas.microsoft.com/office/powerpoint/2010/main" val="27585216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mediacall" presetSubtype="0" fill="hold" nodeType="clickEffect">
                                  <p:stCondLst>
                                    <p:cond delay="0"/>
                                  </p:stCondLst>
                                  <p:childTnLst>
                                    <p:cmd type="call" cmd="playFrom(0.0)">
                                      <p:cBhvr>
                                        <p:cTn id="6" dur="80250" fill="hold"/>
                                        <p:tgtEl>
                                          <p:spTgt spid="11"/>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fill="hold" display="0">
                  <p:stCondLst>
                    <p:cond delay="indefinite"/>
                  </p:stCondLst>
                </p:cTn>
                <p:tgtEl>
                  <p:spTgt spid="11"/>
                </p:tgtEl>
              </p:cMediaNode>
            </p:video>
            <p:seq concurrent="1" nextAc="seek">
              <p:cTn id="8" restart="whenNotActive" fill="hold" evtFilter="cancelBubble" nodeType="interactiveSeq">
                <p:stCondLst>
                  <p:cond evt="onClick" delay="0">
                    <p:tgtEl>
                      <p:spTgt spid="11"/>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11"/>
                                        </p:tgtEl>
                                      </p:cBhvr>
                                    </p:cmd>
                                  </p:childTnLst>
                                </p:cTn>
                              </p:par>
                            </p:childTnLst>
                          </p:cTn>
                        </p:par>
                      </p:childTnLst>
                    </p:cTn>
                  </p:par>
                </p:childTnLst>
              </p:cTn>
              <p:nextCondLst>
                <p:cond evt="onClick" delay="0">
                  <p:tgtEl>
                    <p:spTgt spid="11"/>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19942FDA-CFDC-9E47-93A7-061BDB7CDDBE}"/>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3F3F3F">
                    <a:tint val="75000"/>
                  </a:srgbClr>
                </a:solidFill>
                <a:effectLst/>
                <a:uLnTx/>
                <a:uFillTx/>
                <a:latin typeface="Helvetica Neue" panose="02000503000000020004" pitchFamily="2" charset="0"/>
                <a:ea typeface="Helvetica Neue" panose="02000503000000020004" pitchFamily="2" charset="0"/>
                <a:cs typeface="Helvetica Neue" panose="02000503000000020004" pitchFamily="2" charset="0"/>
              </a:rPr>
              <a:t>CONFIDENTIAL</a:t>
            </a:r>
            <a:endParaRPr kumimoji="0" lang="en-US" sz="1000" b="0" i="0" u="none" strike="noStrike" kern="1200" cap="none" spc="0" normalizeH="0" baseline="0" noProof="0" dirty="0">
              <a:ln>
                <a:noFill/>
              </a:ln>
              <a:solidFill>
                <a:srgbClr val="3F3F3F">
                  <a:tint val="75000"/>
                </a:srgbClr>
              </a:solidFill>
              <a:effectLst/>
              <a:uLnTx/>
              <a:uFillTx/>
              <a:latin typeface="Helvetica Neue" panose="02000503000000020004" pitchFamily="2" charset="0"/>
              <a:ea typeface="Helvetica Neue" panose="02000503000000020004" pitchFamily="2" charset="0"/>
              <a:cs typeface="Helvetica Neue" panose="02000503000000020004" pitchFamily="2" charset="0"/>
            </a:endParaRPr>
          </a:p>
        </p:txBody>
      </p:sp>
      <p:sp>
        <p:nvSpPr>
          <p:cNvPr id="20" name="Rectangle 7">
            <a:extLst>
              <a:ext uri="{FF2B5EF4-FFF2-40B4-BE49-F238E27FC236}">
                <a16:creationId xmlns:a16="http://schemas.microsoft.com/office/drawing/2014/main" id="{97751672-4D2B-0B4C-A105-6E9D90612149}"/>
              </a:ext>
            </a:extLst>
          </p:cNvPr>
          <p:cNvSpPr>
            <a:spLocks noGrp="1" noChangeArrowheads="1"/>
          </p:cNvSpPr>
          <p:nvPr>
            <p:ph type="title"/>
          </p:nvPr>
        </p:nvSpPr>
        <p:spPr>
          <a:xfrm>
            <a:off x="730900" y="297118"/>
            <a:ext cx="11563848" cy="755650"/>
          </a:xfrm>
        </p:spPr>
        <p:txBody>
          <a:bodyPr>
            <a:normAutofit fontScale="90000"/>
          </a:bodyPr>
          <a:lstStyle/>
          <a:p>
            <a:pPr algn="l"/>
            <a:r>
              <a:rPr lang="en-US" sz="3200" b="0" dirty="0">
                <a:latin typeface="Helvetica Neue" panose="02000503000000020004" pitchFamily="2" charset="0"/>
                <a:ea typeface="Helvetica Neue" panose="02000503000000020004" pitchFamily="2" charset="0"/>
                <a:cs typeface="Helvetica Neue" panose="02000503000000020004" pitchFamily="2" charset="0"/>
              </a:rPr>
              <a:t>Mechanism of Action:  Device mimics the function of a healthy elastic pulmonary artery (functions similar to aortic balloon pump)</a:t>
            </a:r>
          </a:p>
        </p:txBody>
      </p:sp>
      <p:cxnSp>
        <p:nvCxnSpPr>
          <p:cNvPr id="21" name="Straight Connector 20">
            <a:extLst>
              <a:ext uri="{FF2B5EF4-FFF2-40B4-BE49-F238E27FC236}">
                <a16:creationId xmlns:a16="http://schemas.microsoft.com/office/drawing/2014/main" id="{C536908D-8BD8-C842-82A0-0D1E2A9613F4}"/>
              </a:ext>
            </a:extLst>
          </p:cNvPr>
          <p:cNvCxnSpPr>
            <a:cxnSpLocks/>
          </p:cNvCxnSpPr>
          <p:nvPr/>
        </p:nvCxnSpPr>
        <p:spPr>
          <a:xfrm>
            <a:off x="1079620" y="3637822"/>
            <a:ext cx="9440487" cy="0"/>
          </a:xfrm>
          <a:prstGeom prst="line">
            <a:avLst/>
          </a:prstGeom>
          <a:ln w="12700" cmpd="sng">
            <a:solidFill>
              <a:schemeClr val="tx1"/>
            </a:solidFill>
          </a:ln>
        </p:spPr>
        <p:style>
          <a:lnRef idx="2">
            <a:schemeClr val="accent1"/>
          </a:lnRef>
          <a:fillRef idx="0">
            <a:schemeClr val="accent1"/>
          </a:fillRef>
          <a:effectRef idx="1">
            <a:schemeClr val="accent1"/>
          </a:effectRef>
          <a:fontRef idx="minor">
            <a:schemeClr val="tx1"/>
          </a:fontRef>
        </p:style>
      </p:cxnSp>
      <p:sp>
        <p:nvSpPr>
          <p:cNvPr id="22" name="TextBox 21">
            <a:extLst>
              <a:ext uri="{FF2B5EF4-FFF2-40B4-BE49-F238E27FC236}">
                <a16:creationId xmlns:a16="http://schemas.microsoft.com/office/drawing/2014/main" id="{2361E7DA-A7DD-8B45-9136-9FF13B5CDB55}"/>
              </a:ext>
            </a:extLst>
          </p:cNvPr>
          <p:cNvSpPr txBox="1"/>
          <p:nvPr/>
        </p:nvSpPr>
        <p:spPr>
          <a:xfrm>
            <a:off x="835150" y="1839137"/>
            <a:ext cx="1077539"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F3F3F"/>
                </a:solidFill>
                <a:effectLst/>
                <a:uLnTx/>
                <a:uFillTx/>
                <a:latin typeface="Helvetica Neue" panose="02000503000000020004" pitchFamily="2" charset="0"/>
                <a:ea typeface="Helvetica Neue" panose="02000503000000020004" pitchFamily="2" charset="0"/>
                <a:cs typeface="Helvetica Neue" panose="02000503000000020004" pitchFamily="2" charset="0"/>
              </a:rPr>
              <a:t>Systole</a:t>
            </a:r>
          </a:p>
        </p:txBody>
      </p:sp>
      <p:sp>
        <p:nvSpPr>
          <p:cNvPr id="23" name="TextBox 22">
            <a:extLst>
              <a:ext uri="{FF2B5EF4-FFF2-40B4-BE49-F238E27FC236}">
                <a16:creationId xmlns:a16="http://schemas.microsoft.com/office/drawing/2014/main" id="{8EBE115B-DE69-944F-873A-8ED5AF3F3D85}"/>
              </a:ext>
            </a:extLst>
          </p:cNvPr>
          <p:cNvSpPr txBox="1"/>
          <p:nvPr/>
        </p:nvSpPr>
        <p:spPr>
          <a:xfrm>
            <a:off x="806393" y="4476409"/>
            <a:ext cx="1181734" cy="4001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3F3F3F"/>
                </a:solidFill>
                <a:effectLst/>
                <a:uLnTx/>
                <a:uFillTx/>
                <a:latin typeface="Helvetica Neue" panose="02000503000000020004" pitchFamily="2" charset="0"/>
                <a:ea typeface="Helvetica Neue" panose="02000503000000020004" pitchFamily="2" charset="0"/>
                <a:cs typeface="Helvetica Neue" panose="02000503000000020004" pitchFamily="2" charset="0"/>
              </a:rPr>
              <a:t>Diastole</a:t>
            </a:r>
          </a:p>
        </p:txBody>
      </p:sp>
      <p:sp>
        <p:nvSpPr>
          <p:cNvPr id="24" name="TextBox 23">
            <a:extLst>
              <a:ext uri="{FF2B5EF4-FFF2-40B4-BE49-F238E27FC236}">
                <a16:creationId xmlns:a16="http://schemas.microsoft.com/office/drawing/2014/main" id="{B68B06F1-76ED-344E-8290-C83DB08F3545}"/>
              </a:ext>
            </a:extLst>
          </p:cNvPr>
          <p:cNvSpPr txBox="1"/>
          <p:nvPr/>
        </p:nvSpPr>
        <p:spPr>
          <a:xfrm>
            <a:off x="9360086" y="1523862"/>
            <a:ext cx="2535907"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F3F3F"/>
                </a:solidFill>
                <a:effectLst/>
                <a:uLnTx/>
                <a:uFillTx/>
                <a:latin typeface="Helvetica Neue" panose="02000503000000020004" pitchFamily="2" charset="0"/>
                <a:ea typeface="Helvetica Neue" panose="02000503000000020004" pitchFamily="2" charset="0"/>
                <a:cs typeface="Helvetica Neue" panose="02000503000000020004" pitchFamily="2" charset="0"/>
              </a:rPr>
              <a:t>Balloon deflation prevents PA pressure from rising - reduces afterload</a:t>
            </a:r>
          </a:p>
        </p:txBody>
      </p:sp>
      <p:sp>
        <p:nvSpPr>
          <p:cNvPr id="25" name="TextBox 24">
            <a:extLst>
              <a:ext uri="{FF2B5EF4-FFF2-40B4-BE49-F238E27FC236}">
                <a16:creationId xmlns:a16="http://schemas.microsoft.com/office/drawing/2014/main" id="{EB295534-397D-B143-99B4-E639F0188CA6}"/>
              </a:ext>
            </a:extLst>
          </p:cNvPr>
          <p:cNvSpPr txBox="1"/>
          <p:nvPr/>
        </p:nvSpPr>
        <p:spPr>
          <a:xfrm>
            <a:off x="9436954" y="4276968"/>
            <a:ext cx="2361756"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F3F3F"/>
                </a:solidFill>
                <a:effectLst/>
                <a:uLnTx/>
                <a:uFillTx/>
                <a:latin typeface="Helvetica Neue" panose="02000503000000020004" pitchFamily="2" charset="0"/>
                <a:ea typeface="Helvetica Neue" panose="02000503000000020004" pitchFamily="2" charset="0"/>
                <a:cs typeface="Helvetica Neue" panose="02000503000000020004" pitchFamily="2" charset="0"/>
              </a:rPr>
              <a:t>Balloon inflation “pushes” blood forward – increases cardiac output</a:t>
            </a:r>
          </a:p>
        </p:txBody>
      </p:sp>
      <p:pic>
        <p:nvPicPr>
          <p:cNvPr id="26" name="Picture 25">
            <a:extLst>
              <a:ext uri="{FF2B5EF4-FFF2-40B4-BE49-F238E27FC236}">
                <a16:creationId xmlns:a16="http://schemas.microsoft.com/office/drawing/2014/main" id="{65CAA79C-F761-C344-A9A3-9FAD2EA800E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512824" y="1464521"/>
            <a:ext cx="2277808" cy="1281267"/>
          </a:xfrm>
          <a:prstGeom prst="rect">
            <a:avLst/>
          </a:prstGeom>
          <a:ln w="19050"/>
        </p:spPr>
        <p:style>
          <a:lnRef idx="2">
            <a:schemeClr val="dk1"/>
          </a:lnRef>
          <a:fillRef idx="1">
            <a:schemeClr val="lt1"/>
          </a:fillRef>
          <a:effectRef idx="0">
            <a:schemeClr val="dk1"/>
          </a:effectRef>
          <a:fontRef idx="minor">
            <a:schemeClr val="dk1"/>
          </a:fontRef>
        </p:style>
      </p:pic>
      <p:pic>
        <p:nvPicPr>
          <p:cNvPr id="27" name="Picture 26">
            <a:extLst>
              <a:ext uri="{FF2B5EF4-FFF2-40B4-BE49-F238E27FC236}">
                <a16:creationId xmlns:a16="http://schemas.microsoft.com/office/drawing/2014/main" id="{CE9C9383-A4A5-554B-8FAF-7E3AE0C261E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512824" y="4098000"/>
            <a:ext cx="2277808" cy="1281267"/>
          </a:xfrm>
          <a:prstGeom prst="rect">
            <a:avLst/>
          </a:prstGeom>
          <a:ln w="19050"/>
        </p:spPr>
        <p:style>
          <a:lnRef idx="2">
            <a:schemeClr val="dk1"/>
          </a:lnRef>
          <a:fillRef idx="1">
            <a:schemeClr val="lt1"/>
          </a:fillRef>
          <a:effectRef idx="0">
            <a:schemeClr val="dk1"/>
          </a:effectRef>
          <a:fontRef idx="minor">
            <a:schemeClr val="dk1"/>
          </a:fontRef>
        </p:style>
      </p:pic>
      <p:sp>
        <p:nvSpPr>
          <p:cNvPr id="28" name="TextBox 27">
            <a:extLst>
              <a:ext uri="{FF2B5EF4-FFF2-40B4-BE49-F238E27FC236}">
                <a16:creationId xmlns:a16="http://schemas.microsoft.com/office/drawing/2014/main" id="{16B2236E-2EC9-EB48-87E1-7AEE5E4968C3}"/>
              </a:ext>
            </a:extLst>
          </p:cNvPr>
          <p:cNvSpPr txBox="1"/>
          <p:nvPr/>
        </p:nvSpPr>
        <p:spPr>
          <a:xfrm>
            <a:off x="3294037" y="2849884"/>
            <a:ext cx="2362200" cy="5770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3F3F3F"/>
                </a:solidFill>
                <a:effectLst/>
                <a:uLnTx/>
                <a:uFillTx/>
                <a:latin typeface="Helvetica Neue" panose="02000503000000020004" pitchFamily="2" charset="0"/>
                <a:ea typeface="Helvetica Neue" panose="02000503000000020004" pitchFamily="2" charset="0"/>
                <a:cs typeface="Helvetica Neue" panose="02000503000000020004" pitchFamily="2" charset="0"/>
              </a:rPr>
              <a:t>Elastic walls of pulmonary artery stretch to make room for incoming stroke volume</a:t>
            </a:r>
          </a:p>
        </p:txBody>
      </p:sp>
      <p:sp>
        <p:nvSpPr>
          <p:cNvPr id="29" name="TextBox 28">
            <a:extLst>
              <a:ext uri="{FF2B5EF4-FFF2-40B4-BE49-F238E27FC236}">
                <a16:creationId xmlns:a16="http://schemas.microsoft.com/office/drawing/2014/main" id="{B8FFAE2A-FCF5-AA45-AB3F-AA9EDB300FC5}"/>
              </a:ext>
            </a:extLst>
          </p:cNvPr>
          <p:cNvSpPr txBox="1"/>
          <p:nvPr/>
        </p:nvSpPr>
        <p:spPr>
          <a:xfrm>
            <a:off x="6497059" y="2852121"/>
            <a:ext cx="2399215"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3F3F3F"/>
                </a:solidFill>
                <a:effectLst/>
                <a:uLnTx/>
                <a:uFillTx/>
                <a:latin typeface="Helvetica Neue" panose="02000503000000020004" pitchFamily="2" charset="0"/>
                <a:ea typeface="Helvetica Neue" panose="02000503000000020004" pitchFamily="2" charset="0"/>
                <a:cs typeface="Helvetica Neue" panose="02000503000000020004" pitchFamily="2" charset="0"/>
              </a:rPr>
              <a:t>Gas in balloon compresses to make room for incoming stroke volume</a:t>
            </a:r>
          </a:p>
        </p:txBody>
      </p:sp>
      <p:sp>
        <p:nvSpPr>
          <p:cNvPr id="30" name="TextBox 29">
            <a:extLst>
              <a:ext uri="{FF2B5EF4-FFF2-40B4-BE49-F238E27FC236}">
                <a16:creationId xmlns:a16="http://schemas.microsoft.com/office/drawing/2014/main" id="{E0B917C3-7665-8C43-822A-3698D391C664}"/>
              </a:ext>
            </a:extLst>
          </p:cNvPr>
          <p:cNvSpPr txBox="1"/>
          <p:nvPr/>
        </p:nvSpPr>
        <p:spPr>
          <a:xfrm>
            <a:off x="3216523" y="5552203"/>
            <a:ext cx="2667000" cy="5770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3F3F3F"/>
                </a:solidFill>
                <a:effectLst/>
                <a:uLnTx/>
                <a:uFillTx/>
                <a:latin typeface="Helvetica Neue" panose="02000503000000020004" pitchFamily="2" charset="0"/>
                <a:ea typeface="Helvetica Neue" panose="02000503000000020004" pitchFamily="2" charset="0"/>
                <a:cs typeface="Helvetica Neue" panose="02000503000000020004" pitchFamily="2" charset="0"/>
              </a:rPr>
              <a:t>Elastic walls of pulmonary artery recoil, enabling blood to flow throughout cardiac cycle</a:t>
            </a:r>
          </a:p>
        </p:txBody>
      </p:sp>
      <p:sp>
        <p:nvSpPr>
          <p:cNvPr id="31" name="TextBox 30">
            <a:extLst>
              <a:ext uri="{FF2B5EF4-FFF2-40B4-BE49-F238E27FC236}">
                <a16:creationId xmlns:a16="http://schemas.microsoft.com/office/drawing/2014/main" id="{F8597FAD-A133-1542-A975-2D02AB39802F}"/>
              </a:ext>
            </a:extLst>
          </p:cNvPr>
          <p:cNvSpPr txBox="1"/>
          <p:nvPr/>
        </p:nvSpPr>
        <p:spPr>
          <a:xfrm>
            <a:off x="6512824" y="5498988"/>
            <a:ext cx="2587313" cy="41549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3F3F3F"/>
                </a:solidFill>
                <a:effectLst/>
                <a:uLnTx/>
                <a:uFillTx/>
                <a:latin typeface="Helvetica Neue" panose="02000503000000020004" pitchFamily="2" charset="0"/>
                <a:ea typeface="Helvetica Neue" panose="02000503000000020004" pitchFamily="2" charset="0"/>
                <a:cs typeface="Helvetica Neue" panose="02000503000000020004" pitchFamily="2" charset="0"/>
              </a:rPr>
              <a:t>Gas in balloon expands, enabling blood to flow throughout cardiac cycle</a:t>
            </a:r>
          </a:p>
        </p:txBody>
      </p:sp>
      <p:pic>
        <p:nvPicPr>
          <p:cNvPr id="32" name="Picture 31" descr="A picture containing object, clock&#10;&#10;Description automatically generated">
            <a:extLst>
              <a:ext uri="{FF2B5EF4-FFF2-40B4-BE49-F238E27FC236}">
                <a16:creationId xmlns:a16="http://schemas.microsoft.com/office/drawing/2014/main" id="{BAC96259-E539-8A48-ACBB-E5B0A959DBDE}"/>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2121928" y="1209162"/>
            <a:ext cx="3944620" cy="1745371"/>
          </a:xfrm>
          <a:prstGeom prst="rect">
            <a:avLst/>
          </a:prstGeom>
        </p:spPr>
      </p:pic>
      <p:pic>
        <p:nvPicPr>
          <p:cNvPr id="33" name="Picture 32" descr="A picture containing object, clock&#10;&#10;Description automatically generated">
            <a:extLst>
              <a:ext uri="{FF2B5EF4-FFF2-40B4-BE49-F238E27FC236}">
                <a16:creationId xmlns:a16="http://schemas.microsoft.com/office/drawing/2014/main" id="{EAB898CD-6467-4F4F-A4B8-2F946EC2808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2507722" y="4015717"/>
            <a:ext cx="3460705" cy="1363550"/>
          </a:xfrm>
          <a:prstGeom prst="rect">
            <a:avLst/>
          </a:prstGeom>
        </p:spPr>
      </p:pic>
      <p:sp>
        <p:nvSpPr>
          <p:cNvPr id="34" name="TextBox 33">
            <a:extLst>
              <a:ext uri="{FF2B5EF4-FFF2-40B4-BE49-F238E27FC236}">
                <a16:creationId xmlns:a16="http://schemas.microsoft.com/office/drawing/2014/main" id="{D70B61E1-86C3-4A46-B8FA-F839494D6E99}"/>
              </a:ext>
            </a:extLst>
          </p:cNvPr>
          <p:cNvSpPr txBox="1"/>
          <p:nvPr/>
        </p:nvSpPr>
        <p:spPr>
          <a:xfrm>
            <a:off x="2817219" y="1897181"/>
            <a:ext cx="49308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F3F3F"/>
                </a:solidFill>
                <a:effectLst/>
                <a:uLnTx/>
                <a:uFillTx/>
                <a:latin typeface="Helvetica Neue" panose="02000503000000020004" pitchFamily="2" charset="0"/>
                <a:ea typeface="Helvetica Neue" panose="02000503000000020004" pitchFamily="2" charset="0"/>
                <a:cs typeface="Helvetica Neue" panose="02000503000000020004" pitchFamily="2" charset="0"/>
              </a:rPr>
              <a:t>RV</a:t>
            </a:r>
          </a:p>
        </p:txBody>
      </p:sp>
      <p:sp>
        <p:nvSpPr>
          <p:cNvPr id="35" name="TextBox 34">
            <a:extLst>
              <a:ext uri="{FF2B5EF4-FFF2-40B4-BE49-F238E27FC236}">
                <a16:creationId xmlns:a16="http://schemas.microsoft.com/office/drawing/2014/main" id="{A49C8AED-73FE-7E45-BB57-399609F07DCD}"/>
              </a:ext>
            </a:extLst>
          </p:cNvPr>
          <p:cNvSpPr txBox="1"/>
          <p:nvPr/>
        </p:nvSpPr>
        <p:spPr>
          <a:xfrm>
            <a:off x="2755046" y="4505284"/>
            <a:ext cx="49308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F3F3F"/>
                </a:solidFill>
                <a:effectLst/>
                <a:uLnTx/>
                <a:uFillTx/>
                <a:latin typeface="Helvetica Neue" panose="02000503000000020004" pitchFamily="2" charset="0"/>
                <a:ea typeface="Helvetica Neue" panose="02000503000000020004" pitchFamily="2" charset="0"/>
                <a:cs typeface="Helvetica Neue" panose="02000503000000020004" pitchFamily="2" charset="0"/>
              </a:rPr>
              <a:t>RV</a:t>
            </a:r>
          </a:p>
        </p:txBody>
      </p:sp>
      <p:sp>
        <p:nvSpPr>
          <p:cNvPr id="36" name="TextBox 35">
            <a:extLst>
              <a:ext uri="{FF2B5EF4-FFF2-40B4-BE49-F238E27FC236}">
                <a16:creationId xmlns:a16="http://schemas.microsoft.com/office/drawing/2014/main" id="{861CFA7A-8A8B-B04A-A33A-25D1278ACA1F}"/>
              </a:ext>
            </a:extLst>
          </p:cNvPr>
          <p:cNvSpPr txBox="1"/>
          <p:nvPr/>
        </p:nvSpPr>
        <p:spPr>
          <a:xfrm>
            <a:off x="4235039" y="4476409"/>
            <a:ext cx="4801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F3F3F"/>
                </a:solidFill>
                <a:effectLst/>
                <a:uLnTx/>
                <a:uFillTx/>
                <a:latin typeface="Helvetica Neue" panose="02000503000000020004" pitchFamily="2" charset="0"/>
                <a:ea typeface="Helvetica Neue" panose="02000503000000020004" pitchFamily="2" charset="0"/>
                <a:cs typeface="Helvetica Neue" panose="02000503000000020004" pitchFamily="2" charset="0"/>
              </a:rPr>
              <a:t>PA</a:t>
            </a:r>
          </a:p>
        </p:txBody>
      </p:sp>
      <p:sp>
        <p:nvSpPr>
          <p:cNvPr id="37" name="TextBox 36">
            <a:extLst>
              <a:ext uri="{FF2B5EF4-FFF2-40B4-BE49-F238E27FC236}">
                <a16:creationId xmlns:a16="http://schemas.microsoft.com/office/drawing/2014/main" id="{14AEF56C-6247-4448-B062-A3242CE2ADC8}"/>
              </a:ext>
            </a:extLst>
          </p:cNvPr>
          <p:cNvSpPr txBox="1"/>
          <p:nvPr/>
        </p:nvSpPr>
        <p:spPr>
          <a:xfrm>
            <a:off x="4281050" y="1893498"/>
            <a:ext cx="48019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1" i="0" u="none" strike="noStrike" kern="1200" cap="none" spc="0" normalizeH="0" baseline="0" noProof="0" dirty="0">
                <a:ln>
                  <a:noFill/>
                </a:ln>
                <a:solidFill>
                  <a:srgbClr val="3F3F3F"/>
                </a:solidFill>
                <a:effectLst/>
                <a:uLnTx/>
                <a:uFillTx/>
                <a:latin typeface="Helvetica Neue" panose="02000503000000020004" pitchFamily="2" charset="0"/>
                <a:ea typeface="Helvetica Neue" panose="02000503000000020004" pitchFamily="2" charset="0"/>
                <a:cs typeface="Helvetica Neue" panose="02000503000000020004" pitchFamily="2" charset="0"/>
              </a:rPr>
              <a:t>PA</a:t>
            </a:r>
          </a:p>
        </p:txBody>
      </p:sp>
      <p:sp>
        <p:nvSpPr>
          <p:cNvPr id="2" name="Freeform: Shape 1">
            <a:extLst>
              <a:ext uri="{FF2B5EF4-FFF2-40B4-BE49-F238E27FC236}">
                <a16:creationId xmlns:a16="http://schemas.microsoft.com/office/drawing/2014/main" id="{2622BC51-4647-62EB-D01A-72D169549200}"/>
              </a:ext>
            </a:extLst>
          </p:cNvPr>
          <p:cNvSpPr/>
          <p:nvPr/>
        </p:nvSpPr>
        <p:spPr>
          <a:xfrm>
            <a:off x="6816436" y="4257408"/>
            <a:ext cx="1974196" cy="851816"/>
          </a:xfrm>
          <a:custGeom>
            <a:avLst/>
            <a:gdLst>
              <a:gd name="connsiteX0" fmla="*/ 1872808 w 1921707"/>
              <a:gd name="connsiteY0" fmla="*/ 268942 h 718807"/>
              <a:gd name="connsiteX1" fmla="*/ 1515850 w 1921707"/>
              <a:gd name="connsiteY1" fmla="*/ 24450 h 718807"/>
              <a:gd name="connsiteX2" fmla="*/ 938849 w 1921707"/>
              <a:gd name="connsiteY2" fmla="*/ 0 h 718807"/>
              <a:gd name="connsiteX3" fmla="*/ 259161 w 1921707"/>
              <a:gd name="connsiteY3" fmla="*/ 298281 h 718807"/>
              <a:gd name="connsiteX4" fmla="*/ 0 w 1921707"/>
              <a:gd name="connsiteY4" fmla="*/ 298281 h 718807"/>
              <a:gd name="connsiteX5" fmla="*/ 0 w 1921707"/>
              <a:gd name="connsiteY5" fmla="*/ 459645 h 718807"/>
              <a:gd name="connsiteX6" fmla="*/ 312950 w 1921707"/>
              <a:gd name="connsiteY6" fmla="*/ 474315 h 718807"/>
              <a:gd name="connsiteX7" fmla="*/ 899730 w 1921707"/>
              <a:gd name="connsiteY7" fmla="*/ 718807 h 718807"/>
              <a:gd name="connsiteX8" fmla="*/ 1452282 w 1921707"/>
              <a:gd name="connsiteY8" fmla="*/ 718807 h 718807"/>
              <a:gd name="connsiteX9" fmla="*/ 1843469 w 1921707"/>
              <a:gd name="connsiteY9" fmla="*/ 464535 h 718807"/>
              <a:gd name="connsiteX10" fmla="*/ 1921707 w 1921707"/>
              <a:gd name="connsiteY10" fmla="*/ 464535 h 718807"/>
              <a:gd name="connsiteX11" fmla="*/ 1921707 w 1921707"/>
              <a:gd name="connsiteY11" fmla="*/ 317840 h 718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21707" h="718807">
                <a:moveTo>
                  <a:pt x="1872808" y="268942"/>
                </a:moveTo>
                <a:lnTo>
                  <a:pt x="1515850" y="24450"/>
                </a:lnTo>
                <a:lnTo>
                  <a:pt x="938849" y="0"/>
                </a:lnTo>
                <a:lnTo>
                  <a:pt x="259161" y="298281"/>
                </a:lnTo>
                <a:lnTo>
                  <a:pt x="0" y="298281"/>
                </a:lnTo>
                <a:lnTo>
                  <a:pt x="0" y="459645"/>
                </a:lnTo>
                <a:lnTo>
                  <a:pt x="312950" y="474315"/>
                </a:lnTo>
                <a:lnTo>
                  <a:pt x="899730" y="718807"/>
                </a:lnTo>
                <a:lnTo>
                  <a:pt x="1452282" y="718807"/>
                </a:lnTo>
                <a:lnTo>
                  <a:pt x="1843469" y="464535"/>
                </a:lnTo>
                <a:lnTo>
                  <a:pt x="1921707" y="464535"/>
                </a:lnTo>
                <a:lnTo>
                  <a:pt x="1921707" y="317840"/>
                </a:lnTo>
              </a:path>
            </a:pathLst>
          </a:custGeom>
          <a:noFill/>
          <a:ln w="76200">
            <a:solidFill>
              <a:srgbClr val="00B0F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3" name="Freeform: Shape 2">
            <a:extLst>
              <a:ext uri="{FF2B5EF4-FFF2-40B4-BE49-F238E27FC236}">
                <a16:creationId xmlns:a16="http://schemas.microsoft.com/office/drawing/2014/main" id="{5DEF8D78-AEB8-D785-B4F1-273C1FFFB718}"/>
              </a:ext>
            </a:extLst>
          </p:cNvPr>
          <p:cNvSpPr/>
          <p:nvPr/>
        </p:nvSpPr>
        <p:spPr>
          <a:xfrm>
            <a:off x="6831917" y="1603037"/>
            <a:ext cx="1974196" cy="851816"/>
          </a:xfrm>
          <a:custGeom>
            <a:avLst/>
            <a:gdLst>
              <a:gd name="connsiteX0" fmla="*/ 1872808 w 1921707"/>
              <a:gd name="connsiteY0" fmla="*/ 268942 h 718807"/>
              <a:gd name="connsiteX1" fmla="*/ 1515850 w 1921707"/>
              <a:gd name="connsiteY1" fmla="*/ 24450 h 718807"/>
              <a:gd name="connsiteX2" fmla="*/ 938849 w 1921707"/>
              <a:gd name="connsiteY2" fmla="*/ 0 h 718807"/>
              <a:gd name="connsiteX3" fmla="*/ 259161 w 1921707"/>
              <a:gd name="connsiteY3" fmla="*/ 298281 h 718807"/>
              <a:gd name="connsiteX4" fmla="*/ 0 w 1921707"/>
              <a:gd name="connsiteY4" fmla="*/ 298281 h 718807"/>
              <a:gd name="connsiteX5" fmla="*/ 0 w 1921707"/>
              <a:gd name="connsiteY5" fmla="*/ 459645 h 718807"/>
              <a:gd name="connsiteX6" fmla="*/ 312950 w 1921707"/>
              <a:gd name="connsiteY6" fmla="*/ 474315 h 718807"/>
              <a:gd name="connsiteX7" fmla="*/ 899730 w 1921707"/>
              <a:gd name="connsiteY7" fmla="*/ 718807 h 718807"/>
              <a:gd name="connsiteX8" fmla="*/ 1452282 w 1921707"/>
              <a:gd name="connsiteY8" fmla="*/ 718807 h 718807"/>
              <a:gd name="connsiteX9" fmla="*/ 1843469 w 1921707"/>
              <a:gd name="connsiteY9" fmla="*/ 464535 h 718807"/>
              <a:gd name="connsiteX10" fmla="*/ 1921707 w 1921707"/>
              <a:gd name="connsiteY10" fmla="*/ 464535 h 718807"/>
              <a:gd name="connsiteX11" fmla="*/ 1921707 w 1921707"/>
              <a:gd name="connsiteY11" fmla="*/ 317840 h 7188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921707" h="718807">
                <a:moveTo>
                  <a:pt x="1872808" y="268942"/>
                </a:moveTo>
                <a:lnTo>
                  <a:pt x="1515850" y="24450"/>
                </a:lnTo>
                <a:lnTo>
                  <a:pt x="938849" y="0"/>
                </a:lnTo>
                <a:lnTo>
                  <a:pt x="259161" y="298281"/>
                </a:lnTo>
                <a:lnTo>
                  <a:pt x="0" y="298281"/>
                </a:lnTo>
                <a:lnTo>
                  <a:pt x="0" y="459645"/>
                </a:lnTo>
                <a:lnTo>
                  <a:pt x="312950" y="474315"/>
                </a:lnTo>
                <a:lnTo>
                  <a:pt x="899730" y="718807"/>
                </a:lnTo>
                <a:lnTo>
                  <a:pt x="1452282" y="718807"/>
                </a:lnTo>
                <a:lnTo>
                  <a:pt x="1843469" y="464535"/>
                </a:lnTo>
                <a:lnTo>
                  <a:pt x="1921707" y="464535"/>
                </a:lnTo>
                <a:lnTo>
                  <a:pt x="1921707" y="317840"/>
                </a:lnTo>
              </a:path>
            </a:pathLst>
          </a:custGeom>
          <a:noFill/>
          <a:ln w="76200">
            <a:solidFill>
              <a:srgbClr val="00B0F0"/>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85758217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imilar </a:t>
            </a:r>
            <a:r>
              <a:rPr lang="en-US" i="1" u="sng" dirty="0"/>
              <a:t>acute</a:t>
            </a:r>
            <a:r>
              <a:rPr lang="en-US" dirty="0"/>
              <a:t> results in all WHO Groups (1, 2, 3)</a:t>
            </a:r>
          </a:p>
        </p:txBody>
      </p:sp>
      <p:pic>
        <p:nvPicPr>
          <p:cNvPr id="6" name="Content Placeholder 5"/>
          <p:cNvPicPr>
            <a:picLocks noGrp="1" noChangeAspect="1"/>
          </p:cNvPicPr>
          <p:nvPr>
            <p:ph idx="1"/>
          </p:nvPr>
        </p:nvPicPr>
        <p:blipFill>
          <a:blip r:embed="rId2"/>
          <a:stretch>
            <a:fillRect/>
          </a:stretch>
        </p:blipFill>
        <p:spPr>
          <a:xfrm>
            <a:off x="125571" y="1504336"/>
            <a:ext cx="12066429" cy="3924258"/>
          </a:xfrm>
          <a:prstGeom prst="rect">
            <a:avLst/>
          </a:prstGeom>
        </p:spPr>
      </p:pic>
      <p:sp>
        <p:nvSpPr>
          <p:cNvPr id="3" name="TextBox 2">
            <a:extLst>
              <a:ext uri="{FF2B5EF4-FFF2-40B4-BE49-F238E27FC236}">
                <a16:creationId xmlns:a16="http://schemas.microsoft.com/office/drawing/2014/main" id="{104ED3BA-39F7-4812-A997-20A8C105DF4A}"/>
              </a:ext>
            </a:extLst>
          </p:cNvPr>
          <p:cNvSpPr txBox="1"/>
          <p:nvPr/>
        </p:nvSpPr>
        <p:spPr>
          <a:xfrm>
            <a:off x="466725" y="5667375"/>
            <a:ext cx="1111567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F3F3F"/>
                </a:solidFill>
                <a:effectLst/>
                <a:uLnTx/>
                <a:uFillTx/>
                <a:latin typeface="Arial" panose="020B0604020202020204"/>
                <a:ea typeface="+mn-ea"/>
                <a:cs typeface="+mn-cs"/>
              </a:rPr>
              <a:t>ASPIRE-PH is an early feasibility study assessing treatment of PH (Groups 1, 2, and 3) using the ARIA CV Pulmonary Hypertension System in the ambulatory setting (just starting)</a:t>
            </a:r>
          </a:p>
        </p:txBody>
      </p:sp>
    </p:spTree>
    <p:extLst>
      <p:ext uri="{BB962C8B-B14F-4D97-AF65-F5344CB8AC3E}">
        <p14:creationId xmlns:p14="http://schemas.microsoft.com/office/powerpoint/2010/main" val="33871130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1000"/>
                                        <p:tgtEl>
                                          <p:spTgt spid="3"/>
                                        </p:tgtEl>
                                      </p:cBhvr>
                                    </p:animEffect>
                                    <p:anim calcmode="lin" valueType="num">
                                      <p:cBhvr>
                                        <p:cTn id="8" dur="1000" fill="hold"/>
                                        <p:tgtEl>
                                          <p:spTgt spid="3"/>
                                        </p:tgtEl>
                                        <p:attrNameLst>
                                          <p:attrName>ppt_x</p:attrName>
                                        </p:attrNameLst>
                                      </p:cBhvr>
                                      <p:tavLst>
                                        <p:tav tm="0">
                                          <p:val>
                                            <p:strVal val="#ppt_x"/>
                                          </p:val>
                                        </p:tav>
                                        <p:tav tm="100000">
                                          <p:val>
                                            <p:strVal val="#ppt_x"/>
                                          </p:val>
                                        </p:tav>
                                      </p:tavLst>
                                    </p:anim>
                                    <p:anim calcmode="lin" valueType="num">
                                      <p:cBhvr>
                                        <p:cTn id="9" dur="1000" fill="hold"/>
                                        <p:tgtEl>
                                          <p:spTgt spid="3"/>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8A5B30D-6EBE-AAA4-358F-AC940433A275}"/>
              </a:ext>
            </a:extLst>
          </p:cNvPr>
          <p:cNvSpPr>
            <a:spLocks noGrp="1"/>
          </p:cNvSpPr>
          <p:nvPr>
            <p:ph type="title"/>
          </p:nvPr>
        </p:nvSpPr>
        <p:spPr/>
        <p:txBody>
          <a:bodyPr/>
          <a:lstStyle/>
          <a:p>
            <a:r>
              <a:rPr lang="en-US" dirty="0"/>
              <a:t>Disclaimer</a:t>
            </a:r>
          </a:p>
        </p:txBody>
      </p:sp>
      <p:sp>
        <p:nvSpPr>
          <p:cNvPr id="10" name="Content Placeholder 4">
            <a:extLst>
              <a:ext uri="{FF2B5EF4-FFF2-40B4-BE49-F238E27FC236}">
                <a16:creationId xmlns:a16="http://schemas.microsoft.com/office/drawing/2014/main" id="{ED686F8A-DE79-29E4-3A92-6740BE7B4ED7}"/>
              </a:ext>
            </a:extLst>
          </p:cNvPr>
          <p:cNvSpPr txBox="1">
            <a:spLocks/>
          </p:cNvSpPr>
          <p:nvPr/>
        </p:nvSpPr>
        <p:spPr>
          <a:xfrm>
            <a:off x="838200" y="1825625"/>
            <a:ext cx="10515600" cy="284658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he views and opinions expressed in this educational activity are those of the faculty and do not necessarily represent the views of Total CME, LLC, the CME providers, or the companies providing educational grants. This presentation is not intended to define an exclusive course of patient management; the participant should use their clinical judgment, knowledge, experience, and diagnostic skills in applying or adopting for professional use any of the information provided herein. Any procedures, medications, or other courses of diagnosis or treatment discussed or suggested in this activity should not be used by clinicians without evaluation of their patient's conditions and possible contraindications or dangers in use, review of any applicable manufacturer’s product information, and comparison with recommendations of other authorities. Links to other sites may be provided as additional sources of information. </a:t>
            </a:r>
          </a:p>
        </p:txBody>
      </p:sp>
    </p:spTree>
    <p:extLst>
      <p:ext uri="{BB962C8B-B14F-4D97-AF65-F5344CB8AC3E}">
        <p14:creationId xmlns:p14="http://schemas.microsoft.com/office/powerpoint/2010/main" val="330651455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860C6D-7FD4-4CDF-AD94-2284BBD5FA1A}"/>
              </a:ext>
            </a:extLst>
          </p:cNvPr>
          <p:cNvSpPr>
            <a:spLocks noGrp="1"/>
          </p:cNvSpPr>
          <p:nvPr>
            <p:ph type="title"/>
          </p:nvPr>
        </p:nvSpPr>
        <p:spPr/>
        <p:txBody>
          <a:bodyPr/>
          <a:lstStyle/>
          <a:p>
            <a:r>
              <a:rPr lang="en-US" dirty="0"/>
              <a:t>Other Interventional/Surgical Devices</a:t>
            </a:r>
          </a:p>
        </p:txBody>
      </p:sp>
      <p:sp>
        <p:nvSpPr>
          <p:cNvPr id="3" name="Content Placeholder 2">
            <a:extLst>
              <a:ext uri="{FF2B5EF4-FFF2-40B4-BE49-F238E27FC236}">
                <a16:creationId xmlns:a16="http://schemas.microsoft.com/office/drawing/2014/main" id="{4E90B95B-289C-4F8C-904D-C40EB73F4635}"/>
              </a:ext>
            </a:extLst>
          </p:cNvPr>
          <p:cNvSpPr>
            <a:spLocks noGrp="1"/>
          </p:cNvSpPr>
          <p:nvPr>
            <p:ph idx="1"/>
          </p:nvPr>
        </p:nvSpPr>
        <p:spPr/>
        <p:txBody>
          <a:bodyPr>
            <a:normAutofit/>
          </a:bodyPr>
          <a:lstStyle/>
          <a:p>
            <a:r>
              <a:rPr lang="en-US" sz="3200" dirty="0"/>
              <a:t>Potts Shunt (percutaneous and surgical)</a:t>
            </a:r>
          </a:p>
          <a:p>
            <a:r>
              <a:rPr lang="en-US" sz="3200" dirty="0"/>
              <a:t>Pulmonary Artery Denervation</a:t>
            </a:r>
          </a:p>
          <a:p>
            <a:r>
              <a:rPr lang="en-US" sz="3200" dirty="0"/>
              <a:t>RVAD (</a:t>
            </a:r>
            <a:r>
              <a:rPr lang="en-US" sz="3200" dirty="0" err="1"/>
              <a:t>Impella</a:t>
            </a:r>
            <a:r>
              <a:rPr lang="en-US" sz="3200" dirty="0"/>
              <a:t> RP)</a:t>
            </a:r>
          </a:p>
          <a:p>
            <a:r>
              <a:rPr lang="en-US" sz="3200" dirty="0"/>
              <a:t>RV pacing</a:t>
            </a:r>
          </a:p>
          <a:p>
            <a:r>
              <a:rPr lang="en-US" sz="3200" dirty="0"/>
              <a:t>ECMO (</a:t>
            </a:r>
            <a:r>
              <a:rPr lang="en-US" sz="3200" dirty="0" err="1"/>
              <a:t>Venoarterial</a:t>
            </a:r>
            <a:r>
              <a:rPr lang="en-US" sz="3200" dirty="0"/>
              <a:t>; V-PA)</a:t>
            </a:r>
          </a:p>
        </p:txBody>
      </p:sp>
    </p:spTree>
    <p:extLst>
      <p:ext uri="{BB962C8B-B14F-4D97-AF65-F5344CB8AC3E}">
        <p14:creationId xmlns:p14="http://schemas.microsoft.com/office/powerpoint/2010/main" val="35371383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3498B0-93C0-4023-8ACD-71394DD865FF}"/>
              </a:ext>
            </a:extLst>
          </p:cNvPr>
          <p:cNvSpPr>
            <a:spLocks noGrp="1"/>
          </p:cNvSpPr>
          <p:nvPr>
            <p:ph type="title"/>
          </p:nvPr>
        </p:nvSpPr>
        <p:spPr>
          <a:xfrm>
            <a:off x="605367" y="378458"/>
            <a:ext cx="10145760" cy="387798"/>
          </a:xfrm>
        </p:spPr>
        <p:txBody>
          <a:bodyPr>
            <a:normAutofit fontScale="90000"/>
          </a:bodyPr>
          <a:lstStyle/>
          <a:p>
            <a:r>
              <a:rPr lang="en-GB" noProof="0"/>
              <a:t>Conclusions</a:t>
            </a:r>
          </a:p>
        </p:txBody>
      </p:sp>
      <p:grpSp>
        <p:nvGrpSpPr>
          <p:cNvPr id="11" name="Group 10">
            <a:extLst>
              <a:ext uri="{FF2B5EF4-FFF2-40B4-BE49-F238E27FC236}">
                <a16:creationId xmlns:a16="http://schemas.microsoft.com/office/drawing/2014/main" id="{2409061C-5ADD-4CB1-80F7-369A24DCAD47}"/>
              </a:ext>
            </a:extLst>
          </p:cNvPr>
          <p:cNvGrpSpPr/>
          <p:nvPr/>
        </p:nvGrpSpPr>
        <p:grpSpPr>
          <a:xfrm>
            <a:off x="590759" y="1329805"/>
            <a:ext cx="11165812" cy="982814"/>
            <a:chOff x="590759" y="1151421"/>
            <a:chExt cx="11165812" cy="982814"/>
          </a:xfrm>
        </p:grpSpPr>
        <p:sp>
          <p:nvSpPr>
            <p:cNvPr id="12" name="Rectangle: Rounded Corners 11">
              <a:extLst>
                <a:ext uri="{FF2B5EF4-FFF2-40B4-BE49-F238E27FC236}">
                  <a16:creationId xmlns:a16="http://schemas.microsoft.com/office/drawing/2014/main" id="{9901C728-E53E-4054-89A7-279DFFC63AEA}"/>
                </a:ext>
              </a:extLst>
            </p:cNvPr>
            <p:cNvSpPr/>
            <p:nvPr/>
          </p:nvSpPr>
          <p:spPr bwMode="auto">
            <a:xfrm>
              <a:off x="1211284" y="1212731"/>
              <a:ext cx="10545287" cy="860195"/>
            </a:xfrm>
            <a:prstGeom prst="roundRect">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vert="horz" wrap="square" lIns="64800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srgbClr val="212121"/>
                  </a:solidFill>
                  <a:effectLst/>
                  <a:uLnTx/>
                  <a:uFillTx/>
                  <a:latin typeface="Verdana" panose="020B0604030504040204" pitchFamily="34" charset="0"/>
                  <a:ea typeface="Verdana" panose="020B0604030504040204" pitchFamily="34" charset="0"/>
                  <a:cs typeface="+mn-cs"/>
                </a:rPr>
                <a:t>Phase III trials for new approaches to target the well-established pathological pathways in PAH are ongoing </a:t>
              </a:r>
            </a:p>
          </p:txBody>
        </p:sp>
        <p:sp>
          <p:nvSpPr>
            <p:cNvPr id="13" name="Oval 12">
              <a:extLst>
                <a:ext uri="{FF2B5EF4-FFF2-40B4-BE49-F238E27FC236}">
                  <a16:creationId xmlns:a16="http://schemas.microsoft.com/office/drawing/2014/main" id="{B9D1D34F-7160-4C77-802A-DBAEE60A1488}"/>
                </a:ext>
              </a:extLst>
            </p:cNvPr>
            <p:cNvSpPr/>
            <p:nvPr/>
          </p:nvSpPr>
          <p:spPr bwMode="auto">
            <a:xfrm>
              <a:off x="590759" y="1151421"/>
              <a:ext cx="1019824" cy="982814"/>
            </a:xfrm>
            <a:prstGeom prst="ellipse">
              <a:avLst/>
            </a:prstGeom>
            <a:solidFill>
              <a:schemeClr val="accent1"/>
            </a:solidFill>
            <a:ln>
              <a:headEnd type="none" w="med" len="med"/>
              <a:tailEnd type="none" w="med" len="med"/>
            </a:ln>
            <a:effectLst/>
            <a:scene3d>
              <a:camera prst="orthographicFront">
                <a:rot lat="0" lon="0" rev="0"/>
              </a:camera>
              <a:lightRig rig="threePt" dir="t">
                <a:rot lat="0" lon="0" rev="1200000"/>
              </a:lightRig>
            </a:scene3d>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8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pic>
          <p:nvPicPr>
            <p:cNvPr id="14" name="Graphic 13" descr="Cycle with people with solid fill">
              <a:extLst>
                <a:ext uri="{FF2B5EF4-FFF2-40B4-BE49-F238E27FC236}">
                  <a16:creationId xmlns:a16="http://schemas.microsoft.com/office/drawing/2014/main" id="{DD0246D0-C9AD-45EB-A104-F2C79CB8C556}"/>
                </a:ext>
              </a:extLst>
            </p:cNvPr>
            <p:cNvPicPr>
              <a:picLocks noChangeAspect="1"/>
            </p:cNvPicPr>
            <p:nvPr/>
          </p:nvPicPr>
          <p:blipFill>
            <a:blip r:embed="rId2" cstate="hqprint">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669308" y="1174357"/>
              <a:ext cx="866628" cy="866628"/>
            </a:xfrm>
            <a:prstGeom prst="rect">
              <a:avLst/>
            </a:prstGeom>
          </p:spPr>
        </p:pic>
      </p:grpSp>
      <p:grpSp>
        <p:nvGrpSpPr>
          <p:cNvPr id="15" name="Group 14">
            <a:extLst>
              <a:ext uri="{FF2B5EF4-FFF2-40B4-BE49-F238E27FC236}">
                <a16:creationId xmlns:a16="http://schemas.microsoft.com/office/drawing/2014/main" id="{04604905-644B-4914-9E21-224C9BF4C931}"/>
              </a:ext>
            </a:extLst>
          </p:cNvPr>
          <p:cNvGrpSpPr/>
          <p:nvPr/>
        </p:nvGrpSpPr>
        <p:grpSpPr>
          <a:xfrm>
            <a:off x="590759" y="2560568"/>
            <a:ext cx="11165812" cy="982814"/>
            <a:chOff x="590760" y="4489808"/>
            <a:chExt cx="10209741" cy="982814"/>
          </a:xfrm>
        </p:grpSpPr>
        <p:sp>
          <p:nvSpPr>
            <p:cNvPr id="16" name="Rectangle: Rounded Corners 15">
              <a:extLst>
                <a:ext uri="{FF2B5EF4-FFF2-40B4-BE49-F238E27FC236}">
                  <a16:creationId xmlns:a16="http://schemas.microsoft.com/office/drawing/2014/main" id="{DC228191-6BA1-4700-9A29-B8383512DDAC}"/>
                </a:ext>
              </a:extLst>
            </p:cNvPr>
            <p:cNvSpPr/>
            <p:nvPr/>
          </p:nvSpPr>
          <p:spPr bwMode="auto">
            <a:xfrm>
              <a:off x="1158152" y="4551118"/>
              <a:ext cx="9642349" cy="860195"/>
            </a:xfrm>
            <a:prstGeom prst="roundRect">
              <a:avLst/>
            </a:prstGeom>
            <a:ln>
              <a:headEnd type="none" w="med" len="med"/>
              <a:tailEnd type="none" w="med" len="med"/>
            </a:ln>
          </p:spPr>
          <p:style>
            <a:lnRef idx="2">
              <a:schemeClr val="accent2"/>
            </a:lnRef>
            <a:fillRef idx="1">
              <a:schemeClr val="lt1"/>
            </a:fillRef>
            <a:effectRef idx="0">
              <a:schemeClr val="accent2"/>
            </a:effectRef>
            <a:fontRef idx="minor">
              <a:schemeClr val="dk1"/>
            </a:fontRef>
          </p:style>
          <p:txBody>
            <a:bodyPr vert="horz" wrap="square" lIns="648000" tIns="45720" rIns="91440" bIns="45720" numCol="1" rtlCol="0" anchor="ctr" anchorCtr="0" compatLnSpc="1">
              <a:prstTxWarp prst="textNoShape">
                <a:avLst/>
              </a:prstTxWarp>
            </a:bodyPr>
            <a:lstStyle/>
            <a:p>
              <a:pPr marL="0" marR="0" lvl="0" indent="0" algn="l" defTabSz="914400" rtl="0" eaLnBrk="1" fontAlgn="auto" latinLnBrk="0" hangingPunct="1">
                <a:lnSpc>
                  <a:spcPct val="115000"/>
                </a:lnSpc>
                <a:spcBef>
                  <a:spcPts val="600"/>
                </a:spcBef>
                <a:spcAft>
                  <a:spcPts val="0"/>
                </a:spcAft>
                <a:buClrTx/>
                <a:buSzTx/>
                <a:buFontTx/>
                <a:buNone/>
                <a:tabLst/>
                <a:defRPr/>
              </a:pPr>
              <a:r>
                <a:rPr kumimoji="0" lang="en-GB" sz="1600" b="1" i="0" u="none" strike="noStrike" kern="1200" cap="none" spc="0" normalizeH="0" baseline="0" noProof="0" dirty="0">
                  <a:ln>
                    <a:noFill/>
                  </a:ln>
                  <a:solidFill>
                    <a:srgbClr val="212121"/>
                  </a:solidFill>
                  <a:effectLst/>
                  <a:uLnTx/>
                  <a:uFillTx/>
                  <a:latin typeface="Verdana" panose="020B0604030504040204" pitchFamily="34" charset="0"/>
                  <a:ea typeface="Verdana" panose="020B0604030504040204" pitchFamily="34" charset="0"/>
                  <a:cs typeface="Calibri" panose="020F0502020204030204" pitchFamily="34" charset="0"/>
                </a:rPr>
                <a:t>Research in recent years has identified a large number of novel PAH treatment targets, such as BMPR-II/</a:t>
              </a:r>
              <a:r>
                <a:rPr kumimoji="0" lang="en-GB" sz="1600" b="1" i="0" u="none" strike="noStrike" kern="1200" cap="none" spc="0" normalizeH="0" baseline="0" noProof="0" dirty="0" err="1">
                  <a:ln>
                    <a:noFill/>
                  </a:ln>
                  <a:solidFill>
                    <a:srgbClr val="212121"/>
                  </a:solidFill>
                  <a:effectLst/>
                  <a:uLnTx/>
                  <a:uFillTx/>
                  <a:latin typeface="Verdana" panose="020B0604030504040204" pitchFamily="34" charset="0"/>
                  <a:ea typeface="Verdana" panose="020B0604030504040204" pitchFamily="34" charset="0"/>
                  <a:cs typeface="Calibri" panose="020F0502020204030204" pitchFamily="34" charset="0"/>
                </a:rPr>
                <a:t>ActRII</a:t>
              </a:r>
              <a:r>
                <a:rPr kumimoji="0" lang="en-GB" sz="1600" b="1" i="0" u="none" strike="noStrike" kern="1200" cap="none" spc="0" normalizeH="0" baseline="0" noProof="0" dirty="0">
                  <a:ln>
                    <a:noFill/>
                  </a:ln>
                  <a:solidFill>
                    <a:srgbClr val="212121"/>
                  </a:solidFill>
                  <a:effectLst/>
                  <a:uLnTx/>
                  <a:uFillTx/>
                  <a:latin typeface="Verdana" panose="020B0604030504040204" pitchFamily="34" charset="0"/>
                  <a:ea typeface="Verdana" panose="020B0604030504040204" pitchFamily="34" charset="0"/>
                  <a:cs typeface="Calibri" panose="020F0502020204030204" pitchFamily="34" charset="0"/>
                </a:rPr>
                <a:t> and PDGFR</a:t>
              </a:r>
            </a:p>
          </p:txBody>
        </p:sp>
        <p:sp>
          <p:nvSpPr>
            <p:cNvPr id="17" name="Oval 16">
              <a:extLst>
                <a:ext uri="{FF2B5EF4-FFF2-40B4-BE49-F238E27FC236}">
                  <a16:creationId xmlns:a16="http://schemas.microsoft.com/office/drawing/2014/main" id="{07353848-61F5-4393-8B98-5D28739437BA}"/>
                </a:ext>
              </a:extLst>
            </p:cNvPr>
            <p:cNvSpPr/>
            <p:nvPr/>
          </p:nvSpPr>
          <p:spPr bwMode="auto">
            <a:xfrm>
              <a:off x="590760" y="4489808"/>
              <a:ext cx="932502" cy="982814"/>
            </a:xfrm>
            <a:prstGeom prst="ellipse">
              <a:avLst/>
            </a:prstGeom>
            <a:solidFill>
              <a:schemeClr val="accent2"/>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8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pic>
          <p:nvPicPr>
            <p:cNvPr id="18" name="Graphic 17" descr="Medicine with solid fill">
              <a:extLst>
                <a:ext uri="{FF2B5EF4-FFF2-40B4-BE49-F238E27FC236}">
                  <a16:creationId xmlns:a16="http://schemas.microsoft.com/office/drawing/2014/main" id="{BF84DC0F-D977-4E43-9EDF-1693B6303861}"/>
                </a:ext>
              </a:extLst>
            </p:cNvPr>
            <p:cNvPicPr>
              <a:picLocks noChangeAspect="1"/>
            </p:cNvPicPr>
            <p:nvPr/>
          </p:nvPicPr>
          <p:blipFill>
            <a:blip r:embed="rId4" cstate="hqprint">
              <a:extLst>
                <a:ext uri="{28A0092B-C50C-407E-A947-70E740481C1C}">
                  <a14:useLocalDpi xmlns:a14="http://schemas.microsoft.com/office/drawing/2010/main"/>
                </a:ext>
                <a:ext uri="{96DAC541-7B7A-43D3-8B79-37D633B846F1}">
                  <asvg:svgBlip xmlns:asvg="http://schemas.microsoft.com/office/drawing/2016/SVG/main" r:embed="rId5"/>
                </a:ext>
              </a:extLst>
            </a:blip>
            <a:srcRect/>
            <a:stretch/>
          </p:blipFill>
          <p:spPr>
            <a:xfrm>
              <a:off x="722861" y="4629711"/>
              <a:ext cx="642813" cy="703008"/>
            </a:xfrm>
            <a:prstGeom prst="rect">
              <a:avLst/>
            </a:prstGeom>
          </p:spPr>
        </p:pic>
      </p:grpSp>
      <p:grpSp>
        <p:nvGrpSpPr>
          <p:cNvPr id="20" name="Group 19">
            <a:extLst>
              <a:ext uri="{FF2B5EF4-FFF2-40B4-BE49-F238E27FC236}">
                <a16:creationId xmlns:a16="http://schemas.microsoft.com/office/drawing/2014/main" id="{95F71BBD-2319-4376-B269-2E6380B61453}"/>
              </a:ext>
            </a:extLst>
          </p:cNvPr>
          <p:cNvGrpSpPr/>
          <p:nvPr/>
        </p:nvGrpSpPr>
        <p:grpSpPr>
          <a:xfrm>
            <a:off x="590759" y="3791331"/>
            <a:ext cx="11165811" cy="982814"/>
            <a:chOff x="590759" y="2264217"/>
            <a:chExt cx="11165811" cy="982814"/>
          </a:xfrm>
        </p:grpSpPr>
        <p:sp>
          <p:nvSpPr>
            <p:cNvPr id="22" name="Rectangle: Rounded Corners 21">
              <a:extLst>
                <a:ext uri="{FF2B5EF4-FFF2-40B4-BE49-F238E27FC236}">
                  <a16:creationId xmlns:a16="http://schemas.microsoft.com/office/drawing/2014/main" id="{E926B9ED-3C49-4B7E-9C15-0C73EE81F3E4}"/>
                </a:ext>
              </a:extLst>
            </p:cNvPr>
            <p:cNvSpPr/>
            <p:nvPr/>
          </p:nvSpPr>
          <p:spPr bwMode="auto">
            <a:xfrm>
              <a:off x="1211283" y="2325527"/>
              <a:ext cx="10545287" cy="860195"/>
            </a:xfrm>
            <a:prstGeom prst="roundRect">
              <a:avLst/>
            </a:prstGeom>
            <a:ln>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648000" tIns="45720" rIns="91440" bIns="45720" numCol="1" rtlCol="0" anchor="ctr"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212121"/>
                  </a:solidFill>
                  <a:effectLst/>
                  <a:uLnTx/>
                  <a:uFillTx/>
                  <a:latin typeface="Verdana" panose="020B0604030504040204" pitchFamily="34" charset="0"/>
                  <a:ea typeface="Verdana" panose="020B0604030504040204" pitchFamily="34" charset="0"/>
                  <a:cs typeface="+mn-cs"/>
                </a:rPr>
                <a:t>Several Phase II and Phase III trials are currently investigating the efficacy and safety of novel treatment options in PAH such as sotatercept, imatinib, and GB002</a:t>
              </a:r>
            </a:p>
          </p:txBody>
        </p:sp>
        <p:sp>
          <p:nvSpPr>
            <p:cNvPr id="23" name="Oval 22">
              <a:extLst>
                <a:ext uri="{FF2B5EF4-FFF2-40B4-BE49-F238E27FC236}">
                  <a16:creationId xmlns:a16="http://schemas.microsoft.com/office/drawing/2014/main" id="{5EEBEE42-A827-415C-98C5-85D9C37EDD18}"/>
                </a:ext>
              </a:extLst>
            </p:cNvPr>
            <p:cNvSpPr/>
            <p:nvPr/>
          </p:nvSpPr>
          <p:spPr bwMode="auto">
            <a:xfrm>
              <a:off x="590759" y="2264217"/>
              <a:ext cx="1019824" cy="982814"/>
            </a:xfrm>
            <a:prstGeom prst="ellipse">
              <a:avLst/>
            </a:prstGeom>
            <a:solidFill>
              <a:schemeClr val="accent4"/>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8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grpSp>
      <p:grpSp>
        <p:nvGrpSpPr>
          <p:cNvPr id="25" name="Group 24">
            <a:extLst>
              <a:ext uri="{FF2B5EF4-FFF2-40B4-BE49-F238E27FC236}">
                <a16:creationId xmlns:a16="http://schemas.microsoft.com/office/drawing/2014/main" id="{7C8DF952-C8EC-4299-8F7A-31698FD37911}"/>
              </a:ext>
            </a:extLst>
          </p:cNvPr>
          <p:cNvGrpSpPr/>
          <p:nvPr/>
        </p:nvGrpSpPr>
        <p:grpSpPr>
          <a:xfrm>
            <a:off x="590759" y="5022095"/>
            <a:ext cx="11165811" cy="982814"/>
            <a:chOff x="590759" y="3091531"/>
            <a:chExt cx="11010481" cy="982814"/>
          </a:xfrm>
        </p:grpSpPr>
        <p:grpSp>
          <p:nvGrpSpPr>
            <p:cNvPr id="26" name="Group 25">
              <a:extLst>
                <a:ext uri="{FF2B5EF4-FFF2-40B4-BE49-F238E27FC236}">
                  <a16:creationId xmlns:a16="http://schemas.microsoft.com/office/drawing/2014/main" id="{445CA1ED-77FE-40C3-944C-E507E0C2B726}"/>
                </a:ext>
              </a:extLst>
            </p:cNvPr>
            <p:cNvGrpSpPr/>
            <p:nvPr/>
          </p:nvGrpSpPr>
          <p:grpSpPr>
            <a:xfrm>
              <a:off x="590759" y="3091531"/>
              <a:ext cx="11010481" cy="982814"/>
              <a:chOff x="590759" y="2264217"/>
              <a:chExt cx="11010481" cy="982814"/>
            </a:xfrm>
          </p:grpSpPr>
          <p:sp>
            <p:nvSpPr>
              <p:cNvPr id="28" name="Rectangle: Rounded Corners 27">
                <a:extLst>
                  <a:ext uri="{FF2B5EF4-FFF2-40B4-BE49-F238E27FC236}">
                    <a16:creationId xmlns:a16="http://schemas.microsoft.com/office/drawing/2014/main" id="{2BAFF371-14CB-419C-B9B9-CA5929BEC6E3}"/>
                  </a:ext>
                </a:extLst>
              </p:cNvPr>
              <p:cNvSpPr/>
              <p:nvPr/>
            </p:nvSpPr>
            <p:spPr bwMode="auto">
              <a:xfrm>
                <a:off x="1211284" y="2325527"/>
                <a:ext cx="10389956" cy="860195"/>
              </a:xfrm>
              <a:prstGeom prst="roundRect">
                <a:avLst/>
              </a:prstGeom>
              <a:ln>
                <a:solidFill>
                  <a:schemeClr val="accent6"/>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square" lIns="648000" tIns="45720" rIns="91440" bIns="45720" numCol="1" rtlCol="0" anchor="ctr" anchorCtr="0" compatLnSpc="1">
                <a:prstTxWarp prst="textNoShape">
                  <a:avLst/>
                </a:prstTxWarp>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0" lang="en-GB" sz="1600" b="1" i="0" u="none" strike="noStrike" kern="0" cap="none" spc="0" normalizeH="0" baseline="0" noProof="0" dirty="0">
                    <a:ln>
                      <a:noFill/>
                    </a:ln>
                    <a:solidFill>
                      <a:srgbClr val="212121"/>
                    </a:solidFill>
                    <a:effectLst/>
                    <a:uLnTx/>
                    <a:uFillTx/>
                    <a:latin typeface="Verdana" panose="020B0604030504040204" pitchFamily="34" charset="0"/>
                    <a:ea typeface="Verdana" panose="020B0604030504040204" pitchFamily="34" charset="0"/>
                    <a:cs typeface="+mn-cs"/>
                  </a:rPr>
                  <a:t>Prioritising drug discovery and development in PAH remains an important goal for the future</a:t>
                </a:r>
                <a:endParaRPr kumimoji="0" lang="en-CH" sz="2400" b="1" i="0" u="none" strike="noStrike" kern="1200" cap="none" spc="0" normalizeH="0" baseline="0" noProof="0" dirty="0">
                  <a:ln>
                    <a:noFill/>
                  </a:ln>
                  <a:solidFill>
                    <a:srgbClr val="3F3F3F"/>
                  </a:solidFill>
                  <a:effectLst/>
                  <a:uLnTx/>
                  <a:uFillTx/>
                  <a:latin typeface="Arial" panose="020B0604020202020204" pitchFamily="34" charset="0"/>
                  <a:ea typeface="+mn-ea"/>
                  <a:cs typeface="+mn-cs"/>
                </a:endParaRPr>
              </a:p>
            </p:txBody>
          </p:sp>
          <p:sp>
            <p:nvSpPr>
              <p:cNvPr id="29" name="Oval 28">
                <a:extLst>
                  <a:ext uri="{FF2B5EF4-FFF2-40B4-BE49-F238E27FC236}">
                    <a16:creationId xmlns:a16="http://schemas.microsoft.com/office/drawing/2014/main" id="{F1D71EB9-4416-432C-8535-65266155E5E8}"/>
                  </a:ext>
                </a:extLst>
              </p:cNvPr>
              <p:cNvSpPr/>
              <p:nvPr/>
            </p:nvSpPr>
            <p:spPr bwMode="auto">
              <a:xfrm>
                <a:off x="590759" y="2264217"/>
                <a:ext cx="1019824" cy="982814"/>
              </a:xfrm>
              <a:prstGeom prst="ellipse">
                <a:avLst/>
              </a:prstGeom>
              <a:solidFill>
                <a:schemeClr val="accent6"/>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8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grpSp>
        <p:pic>
          <p:nvPicPr>
            <p:cNvPr id="27" name="Graphic 26" descr="Lungs with solid fill">
              <a:extLst>
                <a:ext uri="{FF2B5EF4-FFF2-40B4-BE49-F238E27FC236}">
                  <a16:creationId xmlns:a16="http://schemas.microsoft.com/office/drawing/2014/main" id="{0C0939A5-B9FA-426D-B0EC-AE2C3F0D292A}"/>
                </a:ext>
              </a:extLst>
            </p:cNvPr>
            <p:cNvPicPr>
              <a:picLocks noChangeAspect="1"/>
            </p:cNvPicPr>
            <p:nvPr/>
          </p:nvPicPr>
          <p:blipFill>
            <a:blip r:embed="rId6" cstate="hqprint">
              <a:extLst>
                <a:ext uri="{28A0092B-C50C-407E-A947-70E740481C1C}">
                  <a14:useLocalDpi xmlns:a14="http://schemas.microsoft.com/office/drawing/2010/main"/>
                </a:ext>
                <a:ext uri="{96DAC541-7B7A-43D3-8B79-37D633B846F1}">
                  <asvg:svgBlip xmlns:asvg="http://schemas.microsoft.com/office/drawing/2016/SVG/main" r:embed="rId7"/>
                </a:ext>
              </a:extLst>
            </a:blip>
            <a:srcRect/>
            <a:stretch/>
          </p:blipFill>
          <p:spPr>
            <a:xfrm>
              <a:off x="763418" y="3255371"/>
              <a:ext cx="646631" cy="655753"/>
            </a:xfrm>
            <a:prstGeom prst="rect">
              <a:avLst/>
            </a:prstGeom>
          </p:spPr>
        </p:pic>
      </p:grpSp>
      <p:pic>
        <p:nvPicPr>
          <p:cNvPr id="24" name="Graphic 23" descr="Upstairs with solid fill">
            <a:extLst>
              <a:ext uri="{FF2B5EF4-FFF2-40B4-BE49-F238E27FC236}">
                <a16:creationId xmlns:a16="http://schemas.microsoft.com/office/drawing/2014/main" id="{6AD33422-1DF8-4A24-AFD1-232617DD0F13}"/>
              </a:ext>
            </a:extLst>
          </p:cNvPr>
          <p:cNvPicPr>
            <a:picLocks noChangeAspect="1"/>
          </p:cNvPicPr>
          <p:nvPr/>
        </p:nvPicPr>
        <p:blipFill>
          <a:blip r:embed="rId8" cstate="hqprint">
            <a:extLst>
              <a:ext uri="{28A0092B-C50C-407E-A947-70E740481C1C}">
                <a14:useLocalDpi xmlns:a14="http://schemas.microsoft.com/office/drawing/2010/main"/>
              </a:ext>
              <a:ext uri="{96DAC541-7B7A-43D3-8B79-37D633B846F1}">
                <asvg:svgBlip xmlns:asvg="http://schemas.microsoft.com/office/drawing/2016/SVG/main" r:embed="rId9"/>
              </a:ext>
            </a:extLst>
          </a:blip>
          <a:srcRect/>
          <a:stretch/>
        </p:blipFill>
        <p:spPr>
          <a:xfrm>
            <a:off x="735230" y="3956546"/>
            <a:ext cx="655753" cy="655753"/>
          </a:xfrm>
          <a:prstGeom prst="rect">
            <a:avLst/>
          </a:prstGeom>
        </p:spPr>
      </p:pic>
    </p:spTree>
    <p:extLst>
      <p:ext uri="{BB962C8B-B14F-4D97-AF65-F5344CB8AC3E}">
        <p14:creationId xmlns:p14="http://schemas.microsoft.com/office/powerpoint/2010/main" val="14403552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a:solidFill>
                  <a:schemeClr val="tx1"/>
                </a:solidFill>
              </a:rPr>
              <a:t>Special Thanks</a:t>
            </a:r>
          </a:p>
        </p:txBody>
      </p:sp>
      <p:sp>
        <p:nvSpPr>
          <p:cNvPr id="4" name="Slide Number Placeholder 3"/>
          <p:cNvSpPr>
            <a:spLocks noGrp="1"/>
          </p:cNvSpPr>
          <p:nvPr>
            <p:ph type="sldNum" sz="quarter" idx="10"/>
          </p:nvPr>
        </p:nvSpPr>
        <p:spPr bwMode="auto">
          <a:xfrm>
            <a:off x="10566400" y="6607175"/>
            <a:ext cx="28448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defPPr>
              <a:defRPr lang="en-US"/>
            </a:defPPr>
            <a:lvl1pPr algn="ctr" rtl="0" fontAlgn="base">
              <a:spcBef>
                <a:spcPct val="0"/>
              </a:spcBef>
              <a:spcAft>
                <a:spcPct val="0"/>
              </a:spcAft>
              <a:defRPr sz="1400" kern="1200">
                <a:solidFill>
                  <a:schemeClr val="bg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a:lstStyle>
          <a:p>
            <a:pPr marL="0" marR="0" lvl="0" indent="0" algn="ctr" defTabSz="914400" rtl="0" eaLnBrk="1" fontAlgn="base" latinLnBrk="0" hangingPunct="1">
              <a:lnSpc>
                <a:spcPct val="100000"/>
              </a:lnSpc>
              <a:spcBef>
                <a:spcPct val="0"/>
              </a:spcBef>
              <a:spcAft>
                <a:spcPct val="0"/>
              </a:spcAft>
              <a:buClrTx/>
              <a:buSzTx/>
              <a:buFontTx/>
              <a:buNone/>
              <a:tabLst/>
              <a:defRPr/>
            </a:pPr>
            <a:fld id="{7CAC5D9A-137A-D44F-A0F9-7E7ECEBCA66F}" type="slidenum">
              <a:rPr kumimoji="0" lang="en-US" sz="1400" b="0" i="0" u="none" strike="noStrike" kern="1200" cap="none" spc="0" normalizeH="0" baseline="0" noProof="0" smtClean="0">
                <a:ln>
                  <a:noFill/>
                </a:ln>
                <a:solidFill>
                  <a:srgbClr val="FFFFFF"/>
                </a:solidFill>
                <a:effectLst/>
                <a:uLnTx/>
                <a:uFillTx/>
                <a:latin typeface="Arial" charset="0"/>
                <a:ea typeface="+mn-ea"/>
                <a:cs typeface="+mn-cs"/>
              </a:rPr>
              <a:pPr marL="0" marR="0" lvl="0" indent="0" algn="ctr" defTabSz="914400" rtl="0" eaLnBrk="1" fontAlgn="base" latinLnBrk="0" hangingPunct="1">
                <a:lnSpc>
                  <a:spcPct val="100000"/>
                </a:lnSpc>
                <a:spcBef>
                  <a:spcPct val="0"/>
                </a:spcBef>
                <a:spcAft>
                  <a:spcPct val="0"/>
                </a:spcAft>
                <a:buClrTx/>
                <a:buSzTx/>
                <a:buFontTx/>
                <a:buNone/>
                <a:tabLst/>
                <a:defRPr/>
              </a:pPr>
              <a:t>32</a:t>
            </a:fld>
            <a:endParaRPr kumimoji="0" lang="en-US" sz="1400" b="0" i="0" u="none" strike="noStrike" kern="1200" cap="none" spc="0" normalizeH="0" baseline="0" noProof="0">
              <a:ln>
                <a:noFill/>
              </a:ln>
              <a:solidFill>
                <a:srgbClr val="FFFFFF"/>
              </a:solidFill>
              <a:effectLst/>
              <a:uLnTx/>
              <a:uFillTx/>
              <a:latin typeface="Arial" charset="0"/>
              <a:ea typeface="+mn-ea"/>
              <a:cs typeface="+mn-cs"/>
            </a:endParaRPr>
          </a:p>
        </p:txBody>
      </p:sp>
      <p:sp>
        <p:nvSpPr>
          <p:cNvPr id="5" name="TextBox 4"/>
          <p:cNvSpPr txBox="1"/>
          <p:nvPr/>
        </p:nvSpPr>
        <p:spPr>
          <a:xfrm>
            <a:off x="974436" y="1292883"/>
            <a:ext cx="3505200" cy="403187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dirty="0">
                <a:ln>
                  <a:noFill/>
                </a:ln>
                <a:solidFill>
                  <a:srgbClr val="3F3F3F"/>
                </a:solidFill>
                <a:effectLst/>
                <a:uLnTx/>
                <a:uFillTx/>
                <a:latin typeface="Arial" panose="020B0604020202020204"/>
                <a:ea typeface="+mn-ea"/>
                <a:cs typeface="+mn-cs"/>
              </a:rPr>
              <a:t>UCLA Pulmonary &amp; Critical Car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Richard Channick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John </a:t>
            </a:r>
            <a:r>
              <a:rPr kumimoji="0" lang="en-US" sz="1600" b="0" i="0" u="none" strike="noStrike" kern="1200" cap="none" spc="0" normalizeH="0" baseline="0" noProof="0" dirty="0" err="1">
                <a:ln>
                  <a:noFill/>
                </a:ln>
                <a:solidFill>
                  <a:srgbClr val="3F3F3F"/>
                </a:solidFill>
                <a:effectLst/>
                <a:uLnTx/>
                <a:uFillTx/>
                <a:latin typeface="Arial" panose="020B0604020202020204"/>
                <a:ea typeface="+mn-ea"/>
                <a:cs typeface="+mn-cs"/>
              </a:rPr>
              <a:t>Belperio</a:t>
            </a: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David Ross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Joseph Lynch III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3F3F3F"/>
                </a:solidFill>
                <a:effectLst/>
                <a:uLnTx/>
                <a:uFillTx/>
                <a:latin typeface="Arial" panose="020B0604020202020204"/>
                <a:ea typeface="+mn-ea"/>
                <a:cs typeface="+mn-cs"/>
              </a:rPr>
              <a:t>Ariss</a:t>
            </a: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 </a:t>
            </a:r>
            <a:r>
              <a:rPr kumimoji="0" lang="en-US" sz="1600" b="0" i="0" u="none" strike="noStrike" kern="1200" cap="none" spc="0" normalizeH="0" baseline="0" noProof="0" dirty="0" err="1">
                <a:ln>
                  <a:noFill/>
                </a:ln>
                <a:solidFill>
                  <a:srgbClr val="3F3F3F"/>
                </a:solidFill>
                <a:effectLst/>
                <a:uLnTx/>
                <a:uFillTx/>
                <a:latin typeface="Arial" panose="020B0604020202020204"/>
                <a:ea typeface="+mn-ea"/>
                <a:cs typeface="+mn-cs"/>
              </a:rPr>
              <a:t>Derhovanessian</a:t>
            </a: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Michael Shino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Sam </a:t>
            </a:r>
            <a:r>
              <a:rPr kumimoji="0" lang="en-US" sz="1600" b="0" i="0" u="none" strike="noStrike" kern="1200" cap="none" spc="0" normalizeH="0" baseline="0" noProof="0" dirty="0" err="1">
                <a:ln>
                  <a:noFill/>
                </a:ln>
                <a:solidFill>
                  <a:srgbClr val="3F3F3F"/>
                </a:solidFill>
                <a:effectLst/>
                <a:uLnTx/>
                <a:uFillTx/>
                <a:latin typeface="Arial" panose="020B0604020202020204"/>
                <a:ea typeface="+mn-ea"/>
                <a:cs typeface="+mn-cs"/>
              </a:rPr>
              <a:t>Weigt</a:t>
            </a: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David </a:t>
            </a:r>
            <a:r>
              <a:rPr kumimoji="0" lang="en-US" sz="1600" b="0" i="0" u="none" strike="noStrike" kern="1200" cap="none" spc="0" normalizeH="0" baseline="0" noProof="0" dirty="0" err="1">
                <a:ln>
                  <a:noFill/>
                </a:ln>
                <a:solidFill>
                  <a:srgbClr val="3F3F3F"/>
                </a:solidFill>
                <a:effectLst/>
                <a:uLnTx/>
                <a:uFillTx/>
                <a:latin typeface="Arial" panose="020B0604020202020204"/>
                <a:ea typeface="+mn-ea"/>
                <a:cs typeface="+mn-cs"/>
              </a:rPr>
              <a:t>Sayah</a:t>
            </a: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Shelley Shapiro MD, Ph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Allison Ramsey,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Grant Turner,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Olawale </a:t>
            </a:r>
            <a:r>
              <a:rPr kumimoji="0" lang="en-US" sz="1600" b="0" i="0" u="none" strike="noStrike" kern="1200" cap="none" spc="0" normalizeH="0" baseline="0" noProof="0" dirty="0" err="1">
                <a:ln>
                  <a:noFill/>
                </a:ln>
                <a:solidFill>
                  <a:srgbClr val="3F3F3F"/>
                </a:solidFill>
                <a:effectLst/>
                <a:uLnTx/>
                <a:uFillTx/>
                <a:latin typeface="Arial" panose="020B0604020202020204"/>
                <a:ea typeface="+mn-ea"/>
                <a:cs typeface="+mn-cs"/>
              </a:rPr>
              <a:t>Amubieya</a:t>
            </a: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 MD, Ph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Alex Sherman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Sonia Jasuja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Brandon </a:t>
            </a:r>
            <a:r>
              <a:rPr kumimoji="0" lang="en-US" sz="1600" b="0" i="0" u="none" strike="noStrike" kern="1200" cap="none" spc="0" normalizeH="0" baseline="0" noProof="0" dirty="0" err="1">
                <a:ln>
                  <a:noFill/>
                </a:ln>
                <a:solidFill>
                  <a:srgbClr val="3F3F3F"/>
                </a:solidFill>
                <a:effectLst/>
                <a:uLnTx/>
                <a:uFillTx/>
                <a:latin typeface="Arial" panose="020B0604020202020204"/>
                <a:ea typeface="+mn-ea"/>
                <a:cs typeface="+mn-cs"/>
              </a:rPr>
              <a:t>Jacubowski</a:t>
            </a: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 </a:t>
            </a:r>
          </a:p>
        </p:txBody>
      </p:sp>
      <p:sp>
        <p:nvSpPr>
          <p:cNvPr id="6" name="TextBox 5"/>
          <p:cNvSpPr txBox="1"/>
          <p:nvPr/>
        </p:nvSpPr>
        <p:spPr>
          <a:xfrm>
            <a:off x="974436" y="5459778"/>
            <a:ext cx="3505200"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dirty="0">
                <a:ln>
                  <a:noFill/>
                </a:ln>
                <a:solidFill>
                  <a:srgbClr val="3F3F3F"/>
                </a:solidFill>
                <a:effectLst/>
                <a:uLnTx/>
                <a:uFillTx/>
                <a:latin typeface="Arial" panose="020B0604020202020204"/>
                <a:ea typeface="+mn-ea"/>
                <a:cs typeface="+mn-cs"/>
              </a:rPr>
              <a:t>UCLA Rheumatolog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Dan </a:t>
            </a:r>
            <a:r>
              <a:rPr kumimoji="0" lang="en-US" sz="1600" b="0" i="0" u="none" strike="noStrike" kern="1200" cap="none" spc="0" normalizeH="0" baseline="0" noProof="0" dirty="0" err="1">
                <a:ln>
                  <a:noFill/>
                </a:ln>
                <a:solidFill>
                  <a:srgbClr val="3F3F3F"/>
                </a:solidFill>
                <a:effectLst/>
                <a:uLnTx/>
                <a:uFillTx/>
                <a:latin typeface="Arial" panose="020B0604020202020204"/>
                <a:ea typeface="+mn-ea"/>
                <a:cs typeface="+mn-cs"/>
              </a:rPr>
              <a:t>Furst</a:t>
            </a: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Philip Clements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Elizabeth Volkmann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Suzanne </a:t>
            </a:r>
            <a:r>
              <a:rPr kumimoji="0" lang="en-US" sz="1600" b="0" i="0" u="none" strike="noStrike" kern="1200" cap="none" spc="0" normalizeH="0" baseline="0" noProof="0" dirty="0" err="1">
                <a:ln>
                  <a:noFill/>
                </a:ln>
                <a:solidFill>
                  <a:srgbClr val="3F3F3F"/>
                </a:solidFill>
                <a:effectLst/>
                <a:uLnTx/>
                <a:uFillTx/>
                <a:latin typeface="Arial" panose="020B0604020202020204"/>
                <a:ea typeface="+mn-ea"/>
                <a:cs typeface="+mn-cs"/>
              </a:rPr>
              <a:t>Kafaja</a:t>
            </a: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 MD</a:t>
            </a:r>
          </a:p>
        </p:txBody>
      </p:sp>
      <p:sp>
        <p:nvSpPr>
          <p:cNvPr id="7" name="TextBox 6"/>
          <p:cNvSpPr txBox="1"/>
          <p:nvPr/>
        </p:nvSpPr>
        <p:spPr>
          <a:xfrm>
            <a:off x="5650230" y="1315823"/>
            <a:ext cx="4267200"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dirty="0">
                <a:ln>
                  <a:noFill/>
                </a:ln>
                <a:solidFill>
                  <a:srgbClr val="3F3F3F"/>
                </a:solidFill>
                <a:effectLst/>
                <a:uLnTx/>
                <a:uFillTx/>
                <a:latin typeface="Arial" panose="020B0604020202020204"/>
                <a:ea typeface="+mn-ea"/>
                <a:cs typeface="+mn-cs"/>
              </a:rPr>
              <a:t>University of Michigan Rheumatolog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Dinesh Khanna MD</a:t>
            </a:r>
          </a:p>
        </p:txBody>
      </p:sp>
      <p:sp>
        <p:nvSpPr>
          <p:cNvPr id="8" name="TextBox 7"/>
          <p:cNvSpPr txBox="1"/>
          <p:nvPr/>
        </p:nvSpPr>
        <p:spPr>
          <a:xfrm>
            <a:off x="5650230" y="2015469"/>
            <a:ext cx="2762250"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dirty="0">
                <a:ln>
                  <a:noFill/>
                </a:ln>
                <a:solidFill>
                  <a:srgbClr val="3F3F3F"/>
                </a:solidFill>
                <a:effectLst/>
                <a:uLnTx/>
                <a:uFillTx/>
                <a:latin typeface="Arial" panose="020B0604020202020204"/>
                <a:ea typeface="+mn-ea"/>
                <a:cs typeface="+mn-cs"/>
              </a:rPr>
              <a:t>Temple University Cardiolog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Paul </a:t>
            </a:r>
            <a:r>
              <a:rPr kumimoji="0" lang="en-US" sz="1600" b="0" i="0" u="none" strike="noStrike" kern="1200" cap="none" spc="0" normalizeH="0" baseline="0" noProof="0" dirty="0" err="1">
                <a:ln>
                  <a:noFill/>
                </a:ln>
                <a:solidFill>
                  <a:srgbClr val="3F3F3F"/>
                </a:solidFill>
                <a:effectLst/>
                <a:uLnTx/>
                <a:uFillTx/>
                <a:latin typeface="Arial" panose="020B0604020202020204"/>
                <a:ea typeface="+mn-ea"/>
                <a:cs typeface="+mn-cs"/>
              </a:rPr>
              <a:t>Forfia</a:t>
            </a: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Anjali Vaidya M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endParaRPr>
          </a:p>
        </p:txBody>
      </p:sp>
      <p:sp>
        <p:nvSpPr>
          <p:cNvPr id="10" name="TextBox 9"/>
          <p:cNvSpPr txBox="1"/>
          <p:nvPr/>
        </p:nvSpPr>
        <p:spPr>
          <a:xfrm>
            <a:off x="5665470" y="2976122"/>
            <a:ext cx="4267200"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dirty="0">
                <a:ln>
                  <a:noFill/>
                </a:ln>
                <a:solidFill>
                  <a:srgbClr val="3F3F3F"/>
                </a:solidFill>
                <a:effectLst/>
                <a:uLnTx/>
                <a:uFillTx/>
                <a:latin typeface="Arial" panose="020B0604020202020204"/>
                <a:ea typeface="+mn-ea"/>
                <a:cs typeface="+mn-cs"/>
              </a:rPr>
              <a:t>UCLA Cardiothoracic Surger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Abbas </a:t>
            </a:r>
            <a:r>
              <a:rPr kumimoji="0" lang="en-US" sz="1600" b="0" i="0" u="none" strike="noStrike" kern="1200" cap="none" spc="0" normalizeH="0" baseline="0" noProof="0" dirty="0" err="1">
                <a:ln>
                  <a:noFill/>
                </a:ln>
                <a:solidFill>
                  <a:srgbClr val="3F3F3F"/>
                </a:solidFill>
                <a:effectLst/>
                <a:uLnTx/>
                <a:uFillTx/>
                <a:latin typeface="Arial" panose="020B0604020202020204"/>
                <a:ea typeface="+mn-ea"/>
                <a:cs typeface="+mn-cs"/>
              </a:rPr>
              <a:t>Ardehali</a:t>
            </a: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Curtis Hunter MD</a:t>
            </a:r>
            <a:b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b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Murray Kwon MD</a:t>
            </a:r>
            <a:b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br>
            <a:r>
              <a:rPr kumimoji="0" lang="en-US" sz="1600" b="0" i="0" u="none" strike="noStrike" kern="1200" cap="none" spc="0" normalizeH="0" baseline="0" noProof="0" dirty="0" err="1">
                <a:ln>
                  <a:noFill/>
                </a:ln>
                <a:solidFill>
                  <a:srgbClr val="3F3F3F"/>
                </a:solidFill>
                <a:effectLst/>
                <a:uLnTx/>
                <a:uFillTx/>
                <a:latin typeface="Arial" panose="020B0604020202020204"/>
                <a:ea typeface="+mn-ea"/>
                <a:cs typeface="+mn-cs"/>
              </a:rPr>
              <a:t>Reshma</a:t>
            </a: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 </a:t>
            </a:r>
            <a:r>
              <a:rPr kumimoji="0" lang="en-US" sz="1600" b="0" i="0" u="none" strike="noStrike" kern="1200" cap="none" spc="0" normalizeH="0" baseline="0" noProof="0" dirty="0" err="1">
                <a:ln>
                  <a:noFill/>
                </a:ln>
                <a:solidFill>
                  <a:srgbClr val="3F3F3F"/>
                </a:solidFill>
                <a:effectLst/>
                <a:uLnTx/>
                <a:uFillTx/>
                <a:latin typeface="Arial" panose="020B0604020202020204"/>
                <a:ea typeface="+mn-ea"/>
                <a:cs typeface="+mn-cs"/>
              </a:rPr>
              <a:t>Binwale</a:t>
            </a: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 MD</a:t>
            </a:r>
          </a:p>
        </p:txBody>
      </p:sp>
      <p:sp>
        <p:nvSpPr>
          <p:cNvPr id="11" name="TextBox 10"/>
          <p:cNvSpPr txBox="1"/>
          <p:nvPr/>
        </p:nvSpPr>
        <p:spPr>
          <a:xfrm>
            <a:off x="5665470" y="4551838"/>
            <a:ext cx="3070860" cy="206210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dirty="0">
                <a:ln>
                  <a:noFill/>
                </a:ln>
                <a:solidFill>
                  <a:srgbClr val="3F3F3F"/>
                </a:solidFill>
                <a:effectLst/>
                <a:uLnTx/>
                <a:uFillTx/>
                <a:latin typeface="Arial" panose="020B0604020202020204"/>
                <a:ea typeface="+mn-ea"/>
                <a:cs typeface="+mn-cs"/>
              </a:rPr>
              <a:t>PH Nurs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Lynne Yoder R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Kathy McCloy N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Shannon Salveson N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err="1">
                <a:ln>
                  <a:noFill/>
                </a:ln>
                <a:solidFill>
                  <a:srgbClr val="3F3F3F"/>
                </a:solidFill>
                <a:effectLst/>
                <a:uLnTx/>
                <a:uFillTx/>
                <a:latin typeface="Arial" panose="020B0604020202020204"/>
                <a:ea typeface="+mn-ea"/>
                <a:cs typeface="+mn-cs"/>
              </a:rPr>
              <a:t>Aijin</a:t>
            </a: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 Lee CSN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Charlotte Lipsky NP</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Valentina Alvadzhyan Phar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Lloyd Liang </a:t>
            </a:r>
          </a:p>
        </p:txBody>
      </p:sp>
      <p:sp>
        <p:nvSpPr>
          <p:cNvPr id="12" name="TextBox 11"/>
          <p:cNvSpPr txBox="1"/>
          <p:nvPr/>
        </p:nvSpPr>
        <p:spPr>
          <a:xfrm>
            <a:off x="8412480" y="2976121"/>
            <a:ext cx="3070860"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dirty="0">
                <a:ln>
                  <a:noFill/>
                </a:ln>
                <a:solidFill>
                  <a:srgbClr val="3F3F3F"/>
                </a:solidFill>
                <a:effectLst/>
                <a:uLnTx/>
                <a:uFillTx/>
                <a:latin typeface="Arial" panose="020B0604020202020204"/>
                <a:ea typeface="+mn-ea"/>
                <a:cs typeface="+mn-cs"/>
              </a:rPr>
              <a:t>UCLA Patholog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Michael </a:t>
            </a:r>
            <a:r>
              <a:rPr kumimoji="0" lang="en-US" sz="1600" b="0" i="0" u="none" strike="noStrike" kern="1200" cap="none" spc="0" normalizeH="0" baseline="0" noProof="0" dirty="0" err="1">
                <a:ln>
                  <a:noFill/>
                </a:ln>
                <a:solidFill>
                  <a:srgbClr val="3F3F3F"/>
                </a:solidFill>
                <a:effectLst/>
                <a:uLnTx/>
                <a:uFillTx/>
                <a:latin typeface="Arial" panose="020B0604020202020204"/>
                <a:ea typeface="+mn-ea"/>
                <a:cs typeface="+mn-cs"/>
              </a:rPr>
              <a:t>Fishbein</a:t>
            </a: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Greg </a:t>
            </a:r>
            <a:r>
              <a:rPr kumimoji="0" lang="en-US" sz="1600" b="0" i="0" u="none" strike="noStrike" kern="1200" cap="none" spc="0" normalizeH="0" baseline="0" noProof="0" dirty="0" err="1">
                <a:ln>
                  <a:noFill/>
                </a:ln>
                <a:solidFill>
                  <a:srgbClr val="3F3F3F"/>
                </a:solidFill>
                <a:effectLst/>
                <a:uLnTx/>
                <a:uFillTx/>
                <a:latin typeface="Arial" panose="020B0604020202020204"/>
                <a:ea typeface="+mn-ea"/>
                <a:cs typeface="+mn-cs"/>
              </a:rPr>
              <a:t>Fishbein</a:t>
            </a: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Dean Wallace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Atsuko Seki MD</a:t>
            </a:r>
          </a:p>
        </p:txBody>
      </p:sp>
      <p:sp>
        <p:nvSpPr>
          <p:cNvPr id="13" name="TextBox 12">
            <a:extLst>
              <a:ext uri="{FF2B5EF4-FFF2-40B4-BE49-F238E27FC236}">
                <a16:creationId xmlns:a16="http://schemas.microsoft.com/office/drawing/2014/main" id="{3F51DDD1-D2F2-4F2F-82C6-DE625854BE2D}"/>
              </a:ext>
            </a:extLst>
          </p:cNvPr>
          <p:cNvSpPr txBox="1"/>
          <p:nvPr/>
        </p:nvSpPr>
        <p:spPr>
          <a:xfrm>
            <a:off x="8356254" y="2015469"/>
            <a:ext cx="2762250"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sng" strike="noStrike" kern="1200" cap="none" spc="0" normalizeH="0" baseline="0" noProof="0" dirty="0">
                <a:ln>
                  <a:noFill/>
                </a:ln>
                <a:solidFill>
                  <a:srgbClr val="3F3F3F"/>
                </a:solidFill>
                <a:effectLst/>
                <a:uLnTx/>
                <a:uFillTx/>
                <a:latin typeface="Arial" panose="020B0604020202020204"/>
                <a:ea typeface="+mn-ea"/>
                <a:cs typeface="+mn-cs"/>
              </a:rPr>
              <a:t>University of Pittsburgh</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rPr>
              <a:t>Stephen Y. Chan MD PhD</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3F3F3F"/>
              </a:solidFill>
              <a:effectLst/>
              <a:uLnTx/>
              <a:uFillTx/>
              <a:latin typeface="Arial" panose="020B0604020202020204"/>
              <a:ea typeface="+mn-ea"/>
              <a:cs typeface="+mn-cs"/>
            </a:endParaRPr>
          </a:p>
        </p:txBody>
      </p:sp>
    </p:spTree>
    <p:extLst>
      <p:ext uri="{BB962C8B-B14F-4D97-AF65-F5344CB8AC3E}">
        <p14:creationId xmlns:p14="http://schemas.microsoft.com/office/powerpoint/2010/main" val="29419064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74205131-CE4D-1DA8-54CF-D81DEA35CDE6}"/>
              </a:ext>
            </a:extLst>
          </p:cNvPr>
          <p:cNvSpPr>
            <a:spLocks noGrp="1"/>
          </p:cNvSpPr>
          <p:nvPr>
            <p:ph type="title"/>
          </p:nvPr>
        </p:nvSpPr>
        <p:spPr/>
        <p:txBody>
          <a:bodyPr/>
          <a:lstStyle/>
          <a:p>
            <a:r>
              <a:rPr lang="en-US" sz="3200" dirty="0">
                <a:solidFill>
                  <a:schemeClr val="tx1"/>
                </a:solidFill>
              </a:rPr>
              <a:t>Thank you!</a:t>
            </a:r>
            <a:endParaRPr lang="en-US" dirty="0"/>
          </a:p>
        </p:txBody>
      </p:sp>
      <p:sp>
        <p:nvSpPr>
          <p:cNvPr id="2" name="Text Placeholder 1">
            <a:extLst>
              <a:ext uri="{FF2B5EF4-FFF2-40B4-BE49-F238E27FC236}">
                <a16:creationId xmlns:a16="http://schemas.microsoft.com/office/drawing/2014/main" id="{A07CD89A-9438-40F1-8210-87F0743A830C}"/>
              </a:ext>
            </a:extLst>
          </p:cNvPr>
          <p:cNvSpPr>
            <a:spLocks noGrp="1"/>
          </p:cNvSpPr>
          <p:nvPr>
            <p:ph idx="1"/>
          </p:nvPr>
        </p:nvSpPr>
        <p:spPr/>
        <p:txBody>
          <a:bodyPr>
            <a:normAutofit/>
          </a:body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err="1">
                <a:ln>
                  <a:noFill/>
                </a:ln>
                <a:solidFill>
                  <a:srgbClr val="3F3F3F"/>
                </a:solidFill>
                <a:effectLst/>
                <a:uLnTx/>
                <a:uFillTx/>
                <a:latin typeface="Arial" panose="020B0604020202020204"/>
                <a:ea typeface="+mn-ea"/>
                <a:cs typeface="+mn-cs"/>
              </a:rPr>
              <a:t>Rajan</a:t>
            </a:r>
            <a:r>
              <a:rPr kumimoji="0" lang="en-US" sz="1800" b="0" i="0" u="none" strike="noStrike" kern="1200" cap="none" spc="0" normalizeH="0" baseline="0" noProof="0" dirty="0">
                <a:ln>
                  <a:noFill/>
                </a:ln>
                <a:solidFill>
                  <a:srgbClr val="3F3F3F"/>
                </a:solidFill>
                <a:effectLst/>
                <a:uLnTx/>
                <a:uFillTx/>
                <a:latin typeface="Arial" panose="020B0604020202020204"/>
                <a:ea typeface="+mn-ea"/>
                <a:cs typeface="+mn-cs"/>
              </a:rPr>
              <a:t> Saggar MD</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F3F3F"/>
                </a:solidFill>
                <a:effectLst/>
                <a:uLnTx/>
                <a:uFillTx/>
                <a:latin typeface="Arial" panose="020B0604020202020204"/>
                <a:ea typeface="+mn-ea"/>
                <a:cs typeface="+mn-cs"/>
              </a:rPr>
              <a:t>Professor of Medicine</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F3F3F"/>
                </a:solidFill>
                <a:effectLst/>
                <a:uLnTx/>
                <a:uFillTx/>
                <a:latin typeface="Arial" panose="020B0604020202020204"/>
                <a:ea typeface="+mn-ea"/>
                <a:cs typeface="+mn-cs"/>
              </a:rPr>
              <a:t>Director Pulmonary Hypertension Program</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F3F3F"/>
                </a:solidFill>
                <a:effectLst/>
                <a:uLnTx/>
                <a:uFillTx/>
                <a:latin typeface="Arial" panose="020B0604020202020204"/>
                <a:ea typeface="+mn-ea"/>
                <a:cs typeface="+mn-cs"/>
              </a:rPr>
              <a:t>Co-Director Pulmonary Vascular Disease Program</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F3F3F"/>
                </a:solidFill>
                <a:effectLst/>
                <a:uLnTx/>
                <a:uFillTx/>
                <a:latin typeface="Arial" panose="020B0604020202020204"/>
                <a:ea typeface="+mn-ea"/>
                <a:cs typeface="+mn-cs"/>
              </a:rPr>
              <a:t>Lung &amp; Heart-Lung Transplant and Pulmonary Hypertension Programs</a:t>
            </a:r>
          </a:p>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3F3F3F"/>
                </a:solidFill>
                <a:effectLst/>
                <a:uLnTx/>
                <a:uFillTx/>
                <a:latin typeface="Arial" panose="020B0604020202020204"/>
                <a:ea typeface="+mn-ea"/>
                <a:cs typeface="+mn-cs"/>
              </a:rPr>
              <a:t>David Geffen School of Medicine, UCLA</a:t>
            </a:r>
          </a:p>
        </p:txBody>
      </p:sp>
    </p:spTree>
    <p:extLst>
      <p:ext uri="{BB962C8B-B14F-4D97-AF65-F5344CB8AC3E}">
        <p14:creationId xmlns:p14="http://schemas.microsoft.com/office/powerpoint/2010/main" val="4229323256"/>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C52CB23-A893-F3BC-7EE2-D977C82AA838}"/>
              </a:ext>
            </a:extLst>
          </p:cNvPr>
          <p:cNvSpPr/>
          <p:nvPr/>
        </p:nvSpPr>
        <p:spPr>
          <a:xfrm>
            <a:off x="-1" y="0"/>
            <a:ext cx="12192000" cy="6858000"/>
          </a:xfrm>
          <a:prstGeom prst="rect">
            <a:avLst/>
          </a:prstGeom>
          <a:solidFill>
            <a:srgbClr val="0098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7" name="Graphic 16" descr="User with solid fill">
            <a:extLst>
              <a:ext uri="{FF2B5EF4-FFF2-40B4-BE49-F238E27FC236}">
                <a16:creationId xmlns:a16="http://schemas.microsoft.com/office/drawing/2014/main" id="{74847793-B893-A93A-FFCC-6C95F2C9FE22}"/>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28418" t="35016" r="44861" b="50079"/>
          <a:stretch/>
        </p:blipFill>
        <p:spPr>
          <a:xfrm>
            <a:off x="6250613" y="0"/>
            <a:ext cx="5941387" cy="3314044"/>
          </a:xfrm>
          <a:prstGeom prst="rect">
            <a:avLst/>
          </a:prstGeom>
        </p:spPr>
      </p:pic>
      <p:sp>
        <p:nvSpPr>
          <p:cNvPr id="7" name="TextBox 6">
            <a:extLst>
              <a:ext uri="{FF2B5EF4-FFF2-40B4-BE49-F238E27FC236}">
                <a16:creationId xmlns:a16="http://schemas.microsoft.com/office/drawing/2014/main" id="{FD65D34E-012D-57F2-01D9-E33429ED2AC6}"/>
              </a:ext>
            </a:extLst>
          </p:cNvPr>
          <p:cNvSpPr txBox="1"/>
          <p:nvPr/>
        </p:nvSpPr>
        <p:spPr>
          <a:xfrm>
            <a:off x="870978" y="550718"/>
            <a:ext cx="7793520"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ooking for more resources </a:t>
            </a:r>
            <a:br>
              <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n this topic?</a:t>
            </a:r>
          </a:p>
        </p:txBody>
      </p:sp>
      <p:pic>
        <p:nvPicPr>
          <p:cNvPr id="18" name="Graphic 17" descr="User with solid fill">
            <a:extLst>
              <a:ext uri="{FF2B5EF4-FFF2-40B4-BE49-F238E27FC236}">
                <a16:creationId xmlns:a16="http://schemas.microsoft.com/office/drawing/2014/main" id="{5C24E54E-14AB-F843-0853-616E04BAE910}"/>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28418" t="41261" r="53427" b="50079"/>
          <a:stretch/>
        </p:blipFill>
        <p:spPr>
          <a:xfrm flipH="1" flipV="1">
            <a:off x="-1" y="3543956"/>
            <a:ext cx="6948177" cy="3314044"/>
          </a:xfrm>
          <a:prstGeom prst="rect">
            <a:avLst/>
          </a:prstGeom>
        </p:spPr>
      </p:pic>
      <p:sp>
        <p:nvSpPr>
          <p:cNvPr id="2" name="TextBox 1">
            <a:hlinkClick r:id="rId7" tooltip="MedEd On The Go"/>
            <a:extLst>
              <a:ext uri="{FF2B5EF4-FFF2-40B4-BE49-F238E27FC236}">
                <a16:creationId xmlns:a16="http://schemas.microsoft.com/office/drawing/2014/main" id="{624C7CEC-6FAA-E8C2-47BA-84734D0A035F}"/>
              </a:ext>
            </a:extLst>
          </p:cNvPr>
          <p:cNvSpPr txBox="1"/>
          <p:nvPr/>
        </p:nvSpPr>
        <p:spPr>
          <a:xfrm>
            <a:off x="870978" y="5018509"/>
            <a:ext cx="6077198" cy="1152465"/>
          </a:xfrm>
          <a:prstGeom prst="roundRect">
            <a:avLst>
              <a:gd name="adj" fmla="val 48137"/>
            </a:avLst>
          </a:prstGeom>
          <a:solidFill>
            <a:schemeClr val="bg1"/>
          </a:solidFill>
          <a:ln>
            <a:noFill/>
          </a:ln>
          <a:effectLst/>
        </p:spPr>
        <p:txBody>
          <a:bodyPr wrap="square" tIns="182880" bIns="9144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98EA"/>
                </a:solidFill>
                <a:effectLst/>
                <a:uLnTx/>
                <a:uFillTx/>
                <a:latin typeface="Century Gothic" panose="020B0502020202020204" pitchFamily="34" charset="0"/>
                <a:ea typeface="+mn-ea"/>
                <a:cs typeface="Calibri" panose="020F0502020204030204" pitchFamily="34" charset="0"/>
                <a:hlinkClick r:id="rId8" tooltip="Visit us now!"/>
              </a:rPr>
              <a:t>www.MedEdOTG.com</a:t>
            </a:r>
            <a:endParaRPr kumimoji="0" lang="en-US" sz="3600" b="0" i="0" u="none" strike="noStrike" kern="1200" cap="none" spc="0" normalizeH="0" baseline="0" noProof="0" dirty="0">
              <a:ln>
                <a:noFill/>
              </a:ln>
              <a:solidFill>
                <a:srgbClr val="0098EA"/>
              </a:solidFill>
              <a:effectLst/>
              <a:uLnTx/>
              <a:uFillTx/>
              <a:latin typeface="Century Gothic" panose="020B050202020202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C54A7D02-C060-E473-59D6-ABDD4DCC19A6}"/>
              </a:ext>
            </a:extLst>
          </p:cNvPr>
          <p:cNvSpPr txBox="1"/>
          <p:nvPr/>
        </p:nvSpPr>
        <p:spPr>
          <a:xfrm>
            <a:off x="870979" y="2424875"/>
            <a:ext cx="4310622" cy="2031325"/>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ME/CE in minute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ngress highlight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ate-breaking data</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Quizzes</a:t>
            </a:r>
          </a:p>
        </p:txBody>
      </p:sp>
      <p:sp>
        <p:nvSpPr>
          <p:cNvPr id="8" name="TextBox 7">
            <a:extLst>
              <a:ext uri="{FF2B5EF4-FFF2-40B4-BE49-F238E27FC236}">
                <a16:creationId xmlns:a16="http://schemas.microsoft.com/office/drawing/2014/main" id="{531AC232-9957-4A51-B937-C4AB6A46FA92}"/>
              </a:ext>
            </a:extLst>
          </p:cNvPr>
          <p:cNvSpPr txBox="1"/>
          <p:nvPr/>
        </p:nvSpPr>
        <p:spPr>
          <a:xfrm>
            <a:off x="5058796" y="2424875"/>
            <a:ext cx="5225023" cy="1508105"/>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inar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person event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lides &amp; resources</a:t>
            </a:r>
          </a:p>
        </p:txBody>
      </p:sp>
      <p:pic>
        <p:nvPicPr>
          <p:cNvPr id="10" name="Graphic 9">
            <a:extLst>
              <a:ext uri="{FF2B5EF4-FFF2-40B4-BE49-F238E27FC236}">
                <a16:creationId xmlns:a16="http://schemas.microsoft.com/office/drawing/2014/main" id="{93E4D248-876E-0145-581A-20C841F43DE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036699" y="446062"/>
            <a:ext cx="2494241" cy="1255751"/>
          </a:xfrm>
          <a:prstGeom prst="rect">
            <a:avLst/>
          </a:prstGeom>
        </p:spPr>
      </p:pic>
    </p:spTree>
    <p:extLst>
      <p:ext uri="{BB962C8B-B14F-4D97-AF65-F5344CB8AC3E}">
        <p14:creationId xmlns:p14="http://schemas.microsoft.com/office/powerpoint/2010/main" val="24058161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001C1260-64D9-8E03-9F7C-03DB71C1E2FF}"/>
              </a:ext>
            </a:extLst>
          </p:cNvPr>
          <p:cNvGrpSpPr/>
          <p:nvPr/>
        </p:nvGrpSpPr>
        <p:grpSpPr>
          <a:xfrm>
            <a:off x="0" y="0"/>
            <a:ext cx="12192000" cy="6858000"/>
            <a:chOff x="0" y="0"/>
            <a:chExt cx="12192000" cy="6858000"/>
          </a:xfrm>
        </p:grpSpPr>
        <p:pic>
          <p:nvPicPr>
            <p:cNvPr id="7" name="Picture 6" descr="A blue and white blurry background&#10;&#10;Description automatically generated">
              <a:extLst>
                <a:ext uri="{FF2B5EF4-FFF2-40B4-BE49-F238E27FC236}">
                  <a16:creationId xmlns:a16="http://schemas.microsoft.com/office/drawing/2014/main" id="{E0A1E528-6EF1-7CEF-337C-71EB5EFA7827}"/>
                </a:ext>
              </a:extLst>
            </p:cNvPr>
            <p:cNvPicPr>
              <a:picLocks noChangeAspect="1"/>
            </p:cNvPicPr>
            <p:nvPr/>
          </p:nvPicPr>
          <p:blipFill>
            <a:blip r:embed="rId2"/>
            <a:stretch>
              <a:fillRect/>
            </a:stretch>
          </p:blipFill>
          <p:spPr>
            <a:xfrm>
              <a:off x="0" y="0"/>
              <a:ext cx="12192000" cy="6858000"/>
            </a:xfrm>
            <a:prstGeom prst="rect">
              <a:avLst/>
            </a:prstGeom>
          </p:spPr>
        </p:pic>
        <p:sp>
          <p:nvSpPr>
            <p:cNvPr id="8" name="Rounded Rectangle 7">
              <a:extLst>
                <a:ext uri="{FF2B5EF4-FFF2-40B4-BE49-F238E27FC236}">
                  <a16:creationId xmlns:a16="http://schemas.microsoft.com/office/drawing/2014/main" id="{48A1FB33-FFD5-5777-2A8F-A95179416F28}"/>
                </a:ext>
              </a:extLst>
            </p:cNvPr>
            <p:cNvSpPr/>
            <p:nvPr/>
          </p:nvSpPr>
          <p:spPr>
            <a:xfrm>
              <a:off x="371153" y="358028"/>
              <a:ext cx="11483788" cy="6141944"/>
            </a:xfrm>
            <a:prstGeom prst="roundRect">
              <a:avLst>
                <a:gd name="adj" fmla="val 5617"/>
              </a:avLst>
            </a:prstGeom>
            <a:gradFill flip="none" rotWithShape="1">
              <a:gsLst>
                <a:gs pos="99000">
                  <a:srgbClr val="173057"/>
                </a:gs>
                <a:gs pos="0">
                  <a:srgbClr val="0258A6">
                    <a:lumMod val="100000"/>
                  </a:srgbClr>
                </a:gs>
              </a:gsLst>
              <a:path path="circle">
                <a:fillToRect l="50000" t="50000" r="50000" b="50000"/>
              </a:path>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pSp>
      <p:sp>
        <p:nvSpPr>
          <p:cNvPr id="4" name="Title 3">
            <a:extLst>
              <a:ext uri="{FF2B5EF4-FFF2-40B4-BE49-F238E27FC236}">
                <a16:creationId xmlns:a16="http://schemas.microsoft.com/office/drawing/2014/main" id="{0082A5D6-26E3-8ED7-EEAE-3D22F5563067}"/>
              </a:ext>
            </a:extLst>
          </p:cNvPr>
          <p:cNvSpPr>
            <a:spLocks noGrp="1"/>
          </p:cNvSpPr>
          <p:nvPr>
            <p:ph type="title" idx="4294967295"/>
          </p:nvPr>
        </p:nvSpPr>
        <p:spPr>
          <a:xfrm>
            <a:off x="1973244" y="1658516"/>
            <a:ext cx="9726064" cy="1966550"/>
          </a:xfrm>
        </p:spPr>
        <p:txBody>
          <a:bodyPr>
            <a:normAutofit/>
          </a:bodyPr>
          <a:lstStyle/>
          <a:p>
            <a:r>
              <a:rPr lang="en-US" sz="4400" dirty="0">
                <a:solidFill>
                  <a:schemeClr val="bg1"/>
                </a:solidFill>
                <a:latin typeface="Century Gothic" panose="020B0502020202020204" pitchFamily="34" charset="0"/>
              </a:rPr>
              <a:t>Management of PAH: Update on the Therapeutic Landscape </a:t>
            </a:r>
            <a:endParaRPr lang="en-US" sz="6000" dirty="0">
              <a:solidFill>
                <a:schemeClr val="bg1"/>
              </a:solidFill>
              <a:latin typeface="Century Gothic" panose="020B0502020202020204" pitchFamily="34" charset="0"/>
            </a:endParaRPr>
          </a:p>
        </p:txBody>
      </p:sp>
      <p:sp>
        <p:nvSpPr>
          <p:cNvPr id="2" name="TextBox 1">
            <a:extLst>
              <a:ext uri="{FF2B5EF4-FFF2-40B4-BE49-F238E27FC236}">
                <a16:creationId xmlns:a16="http://schemas.microsoft.com/office/drawing/2014/main" id="{09B0D5C5-A089-E63F-2103-B416A75C8D00}"/>
              </a:ext>
            </a:extLst>
          </p:cNvPr>
          <p:cNvSpPr txBox="1"/>
          <p:nvPr/>
        </p:nvSpPr>
        <p:spPr>
          <a:xfrm>
            <a:off x="1979663" y="3660601"/>
            <a:ext cx="5963059" cy="1600438"/>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400" b="1" i="0" u="none" strike="noStrike" kern="1200" cap="none" spc="0" normalizeH="0" baseline="0" noProof="0" dirty="0" err="1">
                <a:ln>
                  <a:noFill/>
                </a:ln>
                <a:solidFill>
                  <a:srgbClr val="FFFFFF"/>
                </a:solidFill>
                <a:effectLst/>
                <a:uLnTx/>
                <a:uFillTx/>
                <a:latin typeface="Century Gothic" panose="020B0502020202020204" pitchFamily="34" charset="0"/>
                <a:ea typeface="+mn-ea"/>
                <a:cs typeface="+mn-cs"/>
              </a:rPr>
              <a:t>Rajan</a:t>
            </a:r>
            <a:r>
              <a:rPr kumimoji="0" lang="en-US" sz="2400" b="1"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 Saggar, MD </a:t>
            </a: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David Geffen School of Medicine at UCLA</a:t>
            </a:r>
            <a:br>
              <a:rPr kumimoji="0" lang="en-US" sz="20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br>
            <a:r>
              <a:rPr kumimoji="0" lang="en-US" sz="20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rPr>
              <a:t>Los Angeles, CA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Century Gothic" panose="020B0502020202020204" pitchFamily="34" charset="0"/>
              <a:ea typeface="+mn-ea"/>
              <a:cs typeface="+mn-cs"/>
            </a:endParaRPr>
          </a:p>
        </p:txBody>
      </p:sp>
      <p:cxnSp>
        <p:nvCxnSpPr>
          <p:cNvPr id="3" name="Straight Connector 2">
            <a:extLst>
              <a:ext uri="{FF2B5EF4-FFF2-40B4-BE49-F238E27FC236}">
                <a16:creationId xmlns:a16="http://schemas.microsoft.com/office/drawing/2014/main" id="{54573BDF-59AE-E8D6-B998-5C6E0020D25C}"/>
              </a:ext>
            </a:extLst>
          </p:cNvPr>
          <p:cNvCxnSpPr>
            <a:cxnSpLocks/>
          </p:cNvCxnSpPr>
          <p:nvPr/>
        </p:nvCxnSpPr>
        <p:spPr>
          <a:xfrm>
            <a:off x="1483743" y="2040059"/>
            <a:ext cx="0" cy="2773481"/>
          </a:xfrm>
          <a:prstGeom prst="line">
            <a:avLst/>
          </a:prstGeom>
          <a:ln>
            <a:solidFill>
              <a:schemeClr val="bg1"/>
            </a:solidFill>
          </a:ln>
        </p:spPr>
        <p:style>
          <a:lnRef idx="1">
            <a:schemeClr val="accent1"/>
          </a:lnRef>
          <a:fillRef idx="0">
            <a:schemeClr val="accent1"/>
          </a:fillRef>
          <a:effectRef idx="0">
            <a:schemeClr val="accent1"/>
          </a:effectRef>
          <a:fontRef idx="minor">
            <a:schemeClr val="tx1"/>
          </a:fontRef>
        </p:style>
      </p:cxnSp>
      <p:pic>
        <p:nvPicPr>
          <p:cNvPr id="5" name="Graphic 4">
            <a:extLst>
              <a:ext uri="{FF2B5EF4-FFF2-40B4-BE49-F238E27FC236}">
                <a16:creationId xmlns:a16="http://schemas.microsoft.com/office/drawing/2014/main" id="{F92AB504-A1D5-FE6E-1737-8D1B05E4D9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195768" y="4977313"/>
            <a:ext cx="2196181" cy="1102297"/>
          </a:xfrm>
          <a:prstGeom prst="rect">
            <a:avLst/>
          </a:prstGeom>
        </p:spPr>
      </p:pic>
      <p:pic>
        <p:nvPicPr>
          <p:cNvPr id="9" name="Picture 8" descr="A blue lines on a black background&#10;&#10;Description automatically generated">
            <a:extLst>
              <a:ext uri="{FF2B5EF4-FFF2-40B4-BE49-F238E27FC236}">
                <a16:creationId xmlns:a16="http://schemas.microsoft.com/office/drawing/2014/main" id="{3D772169-6947-781D-D698-B6165D62999B}"/>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rot="10800000">
            <a:off x="0" y="0"/>
            <a:ext cx="4927834" cy="1383323"/>
          </a:xfrm>
          <a:prstGeom prst="rect">
            <a:avLst/>
          </a:prstGeom>
        </p:spPr>
      </p:pic>
    </p:spTree>
    <p:extLst>
      <p:ext uri="{BB962C8B-B14F-4D97-AF65-F5344CB8AC3E}">
        <p14:creationId xmlns:p14="http://schemas.microsoft.com/office/powerpoint/2010/main" val="208892999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A graph showing the number of patients with the number of patients with the number of patients with the number of patients with the number of patients with the number of patients with the number of patients with the&#10;&#10;Description automatically generated">
            <a:extLst>
              <a:ext uri="{FF2B5EF4-FFF2-40B4-BE49-F238E27FC236}">
                <a16:creationId xmlns:a16="http://schemas.microsoft.com/office/drawing/2014/main" id="{11785895-74E2-9D2E-52FE-BAC01C853187}"/>
              </a:ext>
            </a:extLst>
          </p:cNvPr>
          <p:cNvPicPr>
            <a:picLocks noChangeAspect="1"/>
          </p:cNvPicPr>
          <p:nvPr/>
        </p:nvPicPr>
        <p:blipFill>
          <a:blip r:embed="rId3"/>
          <a:stretch>
            <a:fillRect/>
          </a:stretch>
        </p:blipFill>
        <p:spPr>
          <a:xfrm>
            <a:off x="6539929" y="2682117"/>
            <a:ext cx="5372100" cy="3517900"/>
          </a:xfrm>
          <a:prstGeom prst="rect">
            <a:avLst/>
          </a:prstGeom>
        </p:spPr>
      </p:pic>
      <p:sp>
        <p:nvSpPr>
          <p:cNvPr id="3" name="TextBox 2"/>
          <p:cNvSpPr txBox="1"/>
          <p:nvPr/>
        </p:nvSpPr>
        <p:spPr>
          <a:xfrm>
            <a:off x="2830013" y="1435981"/>
            <a:ext cx="6466367"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
                <a:srgbClr val="F8971D"/>
              </a:buClr>
              <a:buSzTx/>
              <a:buFontTx/>
              <a:buNone/>
              <a:tabLst/>
              <a:defRPr/>
            </a:pPr>
            <a:r>
              <a:rPr kumimoji="0" lang="en-US" altLang="fr-FR" sz="2400" b="1" i="1" u="none" strike="noStrike" kern="1200" cap="none" spc="0" normalizeH="0" baseline="0" noProof="0" dirty="0">
                <a:ln>
                  <a:noFill/>
                </a:ln>
                <a:solidFill>
                  <a:srgbClr val="000000"/>
                </a:solidFill>
                <a:effectLst/>
                <a:uLnTx/>
                <a:uFillTx/>
                <a:latin typeface="Arial" charset="0"/>
                <a:ea typeface="Arial" charset="0"/>
                <a:cs typeface="Arial" charset="0"/>
              </a:rPr>
              <a:t>Despite Drug Discovery and Development, PAH Remains a Devastating Condition</a:t>
            </a:r>
            <a:endParaRPr kumimoji="0" lang="en-US" sz="2400" b="1" i="1" u="none" strike="noStrike" kern="1200" cap="none" spc="0" normalizeH="0" baseline="0" noProof="0" dirty="0">
              <a:ln>
                <a:noFill/>
              </a:ln>
              <a:solidFill>
                <a:srgbClr val="000000"/>
              </a:solidFill>
              <a:effectLst/>
              <a:uLnTx/>
              <a:uFillTx/>
              <a:latin typeface="Arial" charset="0"/>
              <a:ea typeface="Arial" charset="0"/>
              <a:cs typeface="Arial" charset="0"/>
            </a:endParaRPr>
          </a:p>
        </p:txBody>
      </p:sp>
      <p:grpSp>
        <p:nvGrpSpPr>
          <p:cNvPr id="76805" name="Group 4"/>
          <p:cNvGrpSpPr>
            <a:grpSpLocks noChangeAspect="1"/>
          </p:cNvGrpSpPr>
          <p:nvPr/>
        </p:nvGrpSpPr>
        <p:grpSpPr bwMode="auto">
          <a:xfrm>
            <a:off x="272021" y="2882895"/>
            <a:ext cx="6070469" cy="2225419"/>
            <a:chOff x="2205038" y="2338715"/>
            <a:chExt cx="4733925" cy="1562326"/>
          </a:xfrm>
        </p:grpSpPr>
        <p:pic>
          <p:nvPicPr>
            <p:cNvPr id="76806" name="Picture 2"/>
            <p:cNvPicPr>
              <a:picLocks noChangeAspect="1" noChangeArrowheads="1"/>
            </p:cNvPicPr>
            <p:nvPr/>
          </p:nvPicPr>
          <p:blipFill>
            <a:blip r:embed="rId4">
              <a:extLst>
                <a:ext uri="{28A0092B-C50C-407E-A947-70E740481C1C}">
                  <a14:useLocalDpi xmlns:a14="http://schemas.microsoft.com/office/drawing/2010/main"/>
                </a:ext>
              </a:extLst>
            </a:blip>
            <a:srcRect/>
            <a:stretch>
              <a:fillRect/>
            </a:stretch>
          </p:blipFill>
          <p:spPr bwMode="auto">
            <a:xfrm>
              <a:off x="2362262" y="2395865"/>
              <a:ext cx="4419476" cy="1462084"/>
            </a:xfrm>
            <a:prstGeom prst="rect">
              <a:avLst/>
            </a:prstGeom>
            <a:noFill/>
            <a:ln>
              <a:noFill/>
            </a:ln>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Lst>
          </p:spPr>
        </p:pic>
        <p:sp>
          <p:nvSpPr>
            <p:cNvPr id="4" name="Rounded Rectangle 3"/>
            <p:cNvSpPr/>
            <p:nvPr/>
          </p:nvSpPr>
          <p:spPr>
            <a:xfrm>
              <a:off x="2205038" y="2338715"/>
              <a:ext cx="4733925" cy="1562326"/>
            </a:xfrm>
            <a:prstGeom prst="roundRect">
              <a:avLst/>
            </a:prstGeom>
            <a:no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40500" rIns="4050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900" b="0" i="0" u="none" strike="noStrike" kern="1200" cap="none" spc="0" normalizeH="0" baseline="0" noProof="0">
                <a:ln>
                  <a:noFill/>
                </a:ln>
                <a:solidFill>
                  <a:prstClr val="white"/>
                </a:solidFill>
                <a:effectLst/>
                <a:uLnTx/>
                <a:uFillTx/>
                <a:latin typeface="Arial" panose="020B0604020202020204"/>
                <a:ea typeface="+mn-ea"/>
                <a:cs typeface="+mn-cs"/>
              </a:endParaRPr>
            </a:p>
          </p:txBody>
        </p:sp>
      </p:grpSp>
      <p:sp>
        <p:nvSpPr>
          <p:cNvPr id="9" name="Rectangle 8"/>
          <p:cNvSpPr/>
          <p:nvPr/>
        </p:nvSpPr>
        <p:spPr>
          <a:xfrm>
            <a:off x="272021" y="6557309"/>
            <a:ext cx="3163110" cy="223134"/>
          </a:xfrm>
          <a:prstGeom prst="rect">
            <a:avLst/>
          </a:prstGeom>
        </p:spPr>
        <p:txBody>
          <a:bodyPr wrap="square" lIns="68576" tIns="34288" rIns="68576" bIns="34288">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F3F3F"/>
                </a:solidFill>
                <a:effectLst/>
                <a:uLnTx/>
                <a:uFillTx/>
                <a:latin typeface="Arial" charset="0"/>
                <a:ea typeface="Arial" charset="0"/>
                <a:cs typeface="Arial" charset="0"/>
              </a:rPr>
              <a:t>Humbert M, et al. </a:t>
            </a:r>
            <a:r>
              <a:rPr kumimoji="0" lang="en-US" sz="1000" b="0" i="1" u="none" strike="noStrike" kern="1200" cap="none" spc="0" normalizeH="0" baseline="0" noProof="0" dirty="0">
                <a:ln>
                  <a:noFill/>
                </a:ln>
                <a:solidFill>
                  <a:srgbClr val="3F3F3F"/>
                </a:solidFill>
                <a:effectLst/>
                <a:uLnTx/>
                <a:uFillTx/>
                <a:latin typeface="Arial" charset="0"/>
                <a:ea typeface="Arial" charset="0"/>
                <a:cs typeface="Arial" charset="0"/>
              </a:rPr>
              <a:t>Circulation.</a:t>
            </a:r>
            <a:r>
              <a:rPr kumimoji="0" lang="en-US" sz="1000" b="0" i="0" u="none" strike="noStrike" kern="1200" cap="none" spc="0" normalizeH="0" baseline="0" noProof="0" dirty="0">
                <a:ln>
                  <a:noFill/>
                </a:ln>
                <a:solidFill>
                  <a:srgbClr val="3F3F3F"/>
                </a:solidFill>
                <a:effectLst/>
                <a:uLnTx/>
                <a:uFillTx/>
                <a:latin typeface="Arial" charset="0"/>
                <a:ea typeface="Arial" charset="0"/>
                <a:cs typeface="Arial" charset="0"/>
              </a:rPr>
              <a:t> 2010;122:156-63.</a:t>
            </a:r>
            <a:endParaRPr kumimoji="0" lang="en-GB" sz="1000" b="0" i="0" u="none" strike="noStrike" kern="1200" cap="none" spc="0" normalizeH="0" baseline="0" noProof="0" dirty="0">
              <a:ln>
                <a:noFill/>
              </a:ln>
              <a:solidFill>
                <a:srgbClr val="3F3F3F"/>
              </a:solidFill>
              <a:effectLst/>
              <a:uLnTx/>
              <a:uFillTx/>
              <a:latin typeface="Arial" charset="0"/>
              <a:ea typeface="Arial" charset="0"/>
              <a:cs typeface="Arial" charset="0"/>
            </a:endParaRPr>
          </a:p>
        </p:txBody>
      </p:sp>
      <p:sp>
        <p:nvSpPr>
          <p:cNvPr id="10" name="Title 4"/>
          <p:cNvSpPr>
            <a:spLocks noGrp="1"/>
          </p:cNvSpPr>
          <p:nvPr>
            <p:ph type="title"/>
          </p:nvPr>
        </p:nvSpPr>
        <p:spPr>
          <a:xfrm>
            <a:off x="609600" y="199505"/>
            <a:ext cx="10744200" cy="1185577"/>
          </a:xfrm>
          <a:solidFill>
            <a:srgbClr val="FFFFFF"/>
          </a:solidFill>
        </p:spPr>
        <p:txBody>
          <a:bodyPr>
            <a:noAutofit/>
          </a:bodyPr>
          <a:lstStyle/>
          <a:p>
            <a:r>
              <a:rPr lang="en-US" dirty="0"/>
              <a:t>Unmet Need in the Modern Management Era</a:t>
            </a:r>
            <a:endParaRPr lang="en-GB" dirty="0"/>
          </a:p>
        </p:txBody>
      </p:sp>
      <p:sp>
        <p:nvSpPr>
          <p:cNvPr id="12" name="TextBox 11">
            <a:extLst>
              <a:ext uri="{FF2B5EF4-FFF2-40B4-BE49-F238E27FC236}">
                <a16:creationId xmlns:a16="http://schemas.microsoft.com/office/drawing/2014/main" id="{DDD1A611-CFF0-49E8-A54F-347816E2EBB3}"/>
              </a:ext>
            </a:extLst>
          </p:cNvPr>
          <p:cNvSpPr txBox="1"/>
          <p:nvPr/>
        </p:nvSpPr>
        <p:spPr>
          <a:xfrm>
            <a:off x="6608442" y="5853768"/>
            <a:ext cx="2687938" cy="461665"/>
          </a:xfrm>
          <a:prstGeom prst="rect">
            <a:avLst/>
          </a:prstGeom>
          <a:noFill/>
          <a:ln w="12700">
            <a:solidFill>
              <a:schemeClr val="tx1"/>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F3F3F"/>
                </a:solidFill>
                <a:effectLst/>
                <a:uLnTx/>
                <a:uFillTx/>
                <a:latin typeface="Arial" panose="020B0604020202020204"/>
                <a:ea typeface="+mn-ea"/>
                <a:cs typeface="+mn-cs"/>
              </a:rPr>
              <a:t>Median Survival (NIH): 2.8 year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3F3F3F"/>
                </a:solidFill>
                <a:effectLst/>
                <a:uLnTx/>
                <a:uFillTx/>
                <a:latin typeface="Arial" panose="020B0604020202020204"/>
                <a:ea typeface="+mn-ea"/>
                <a:cs typeface="+mn-cs"/>
              </a:rPr>
              <a:t>Median Survival (REVEAL): ~9 years</a:t>
            </a:r>
          </a:p>
        </p:txBody>
      </p:sp>
    </p:spTree>
    <p:extLst>
      <p:ext uri="{BB962C8B-B14F-4D97-AF65-F5344CB8AC3E}">
        <p14:creationId xmlns:p14="http://schemas.microsoft.com/office/powerpoint/2010/main" val="244718252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C28EA7-048F-49BC-863A-0D10B1ED2DA5}"/>
              </a:ext>
            </a:extLst>
          </p:cNvPr>
          <p:cNvSpPr>
            <a:spLocks noGrp="1"/>
          </p:cNvSpPr>
          <p:nvPr>
            <p:ph type="title"/>
          </p:nvPr>
        </p:nvSpPr>
        <p:spPr>
          <a:xfrm>
            <a:off x="605367" y="378458"/>
            <a:ext cx="10145760" cy="387798"/>
          </a:xfrm>
        </p:spPr>
        <p:txBody>
          <a:bodyPr>
            <a:noAutofit/>
          </a:bodyPr>
          <a:lstStyle/>
          <a:p>
            <a:r>
              <a:rPr lang="en-US" dirty="0"/>
              <a:t>Treatment</a:t>
            </a:r>
            <a:r>
              <a:rPr lang="en-GB" noProof="0" dirty="0"/>
              <a:t> Targets in PAH</a:t>
            </a:r>
          </a:p>
        </p:txBody>
      </p:sp>
      <p:grpSp>
        <p:nvGrpSpPr>
          <p:cNvPr id="6" name="Group 5">
            <a:extLst>
              <a:ext uri="{FF2B5EF4-FFF2-40B4-BE49-F238E27FC236}">
                <a16:creationId xmlns:a16="http://schemas.microsoft.com/office/drawing/2014/main" id="{82F8827B-8628-4EE0-85D4-D0F50FD045FE}"/>
              </a:ext>
            </a:extLst>
          </p:cNvPr>
          <p:cNvGrpSpPr/>
          <p:nvPr/>
        </p:nvGrpSpPr>
        <p:grpSpPr>
          <a:xfrm>
            <a:off x="2550782" y="4951111"/>
            <a:ext cx="290606" cy="250186"/>
            <a:chOff x="2504633" y="4498758"/>
            <a:chExt cx="540336" cy="465181"/>
          </a:xfrm>
        </p:grpSpPr>
        <p:sp>
          <p:nvSpPr>
            <p:cNvPr id="7" name="Freeform: Shape 6">
              <a:extLst>
                <a:ext uri="{FF2B5EF4-FFF2-40B4-BE49-F238E27FC236}">
                  <a16:creationId xmlns:a16="http://schemas.microsoft.com/office/drawing/2014/main" id="{EB0F6BFC-19A1-4135-BD14-05997BB66C73}"/>
                </a:ext>
              </a:extLst>
            </p:cNvPr>
            <p:cNvSpPr>
              <a:spLocks/>
            </p:cNvSpPr>
            <p:nvPr/>
          </p:nvSpPr>
          <p:spPr bwMode="auto">
            <a:xfrm rot="1279283">
              <a:off x="2504633" y="4498758"/>
              <a:ext cx="540336" cy="465181"/>
            </a:xfrm>
            <a:custGeom>
              <a:avLst/>
              <a:gdLst>
                <a:gd name="connsiteX0" fmla="*/ 0 w 540336"/>
                <a:gd name="connsiteY0" fmla="*/ 0 h 465181"/>
                <a:gd name="connsiteX1" fmla="*/ 76192 w 540336"/>
                <a:gd name="connsiteY1" fmla="*/ 28409 h 465181"/>
                <a:gd name="connsiteX2" fmla="*/ 229828 w 540336"/>
                <a:gd name="connsiteY2" fmla="*/ 101152 h 465181"/>
                <a:gd name="connsiteX3" fmla="*/ 540336 w 540336"/>
                <a:gd name="connsiteY3" fmla="*/ 273457 h 465181"/>
                <a:gd name="connsiteX4" fmla="*/ 255704 w 540336"/>
                <a:gd name="connsiteY4" fmla="*/ 432757 h 465181"/>
                <a:gd name="connsiteX5" fmla="*/ 181567 w 540336"/>
                <a:gd name="connsiteY5" fmla="*/ 465181 h 465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336" h="465181">
                  <a:moveTo>
                    <a:pt x="0" y="0"/>
                  </a:moveTo>
                  <a:lnTo>
                    <a:pt x="76192" y="28409"/>
                  </a:lnTo>
                  <a:cubicBezTo>
                    <a:pt x="130369" y="51573"/>
                    <a:pt x="186163" y="80020"/>
                    <a:pt x="229828" y="101152"/>
                  </a:cubicBezTo>
                  <a:cubicBezTo>
                    <a:pt x="317159" y="143415"/>
                    <a:pt x="540336" y="237695"/>
                    <a:pt x="540336" y="273457"/>
                  </a:cubicBezTo>
                  <a:cubicBezTo>
                    <a:pt x="540336" y="312469"/>
                    <a:pt x="349503" y="390494"/>
                    <a:pt x="255704" y="432757"/>
                  </a:cubicBezTo>
                  <a:lnTo>
                    <a:pt x="181567" y="465181"/>
                  </a:ln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8" name="Freeform: Shape 7">
              <a:extLst>
                <a:ext uri="{FF2B5EF4-FFF2-40B4-BE49-F238E27FC236}">
                  <a16:creationId xmlns:a16="http://schemas.microsoft.com/office/drawing/2014/main" id="{CA620A7C-207A-4BF5-899E-28654B05CD0D}"/>
                </a:ext>
              </a:extLst>
            </p:cNvPr>
            <p:cNvSpPr>
              <a:spLocks/>
            </p:cNvSpPr>
            <p:nvPr/>
          </p:nvSpPr>
          <p:spPr bwMode="auto">
            <a:xfrm rot="1279283">
              <a:off x="2505953" y="4499522"/>
              <a:ext cx="538955" cy="464225"/>
            </a:xfrm>
            <a:custGeom>
              <a:avLst/>
              <a:gdLst>
                <a:gd name="connsiteX0" fmla="*/ 0 w 538955"/>
                <a:gd name="connsiteY0" fmla="*/ 0 h 464225"/>
                <a:gd name="connsiteX1" fmla="*/ 74811 w 538955"/>
                <a:gd name="connsiteY1" fmla="*/ 27894 h 464225"/>
                <a:gd name="connsiteX2" fmla="*/ 228447 w 538955"/>
                <a:gd name="connsiteY2" fmla="*/ 100637 h 464225"/>
                <a:gd name="connsiteX3" fmla="*/ 538955 w 538955"/>
                <a:gd name="connsiteY3" fmla="*/ 272942 h 464225"/>
                <a:gd name="connsiteX4" fmla="*/ 254323 w 538955"/>
                <a:gd name="connsiteY4" fmla="*/ 432242 h 464225"/>
                <a:gd name="connsiteX5" fmla="*/ 181193 w 538955"/>
                <a:gd name="connsiteY5" fmla="*/ 464225 h 46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8955" h="464225">
                  <a:moveTo>
                    <a:pt x="0" y="0"/>
                  </a:moveTo>
                  <a:lnTo>
                    <a:pt x="74811" y="27894"/>
                  </a:lnTo>
                  <a:cubicBezTo>
                    <a:pt x="128988" y="51058"/>
                    <a:pt x="184782" y="79505"/>
                    <a:pt x="228447" y="100637"/>
                  </a:cubicBezTo>
                  <a:cubicBezTo>
                    <a:pt x="315778" y="142900"/>
                    <a:pt x="538955" y="237180"/>
                    <a:pt x="538955" y="272942"/>
                  </a:cubicBezTo>
                  <a:cubicBezTo>
                    <a:pt x="538955" y="311954"/>
                    <a:pt x="348122" y="389979"/>
                    <a:pt x="254323" y="432242"/>
                  </a:cubicBezTo>
                  <a:lnTo>
                    <a:pt x="181193" y="464225"/>
                  </a:ln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grpSp>
      <p:sp>
        <p:nvSpPr>
          <p:cNvPr id="9" name="Freeform: Shape 8">
            <a:extLst>
              <a:ext uri="{FF2B5EF4-FFF2-40B4-BE49-F238E27FC236}">
                <a16:creationId xmlns:a16="http://schemas.microsoft.com/office/drawing/2014/main" id="{CFC3C7FD-B571-44C3-BF98-9F0DA019FB4F}"/>
              </a:ext>
            </a:extLst>
          </p:cNvPr>
          <p:cNvSpPr/>
          <p:nvPr/>
        </p:nvSpPr>
        <p:spPr bwMode="auto">
          <a:xfrm>
            <a:off x="2597150" y="1588216"/>
            <a:ext cx="9245600" cy="1352550"/>
          </a:xfrm>
          <a:custGeom>
            <a:avLst/>
            <a:gdLst>
              <a:gd name="connsiteX0" fmla="*/ 9245600 w 9245600"/>
              <a:gd name="connsiteY0" fmla="*/ 0 h 1352550"/>
              <a:gd name="connsiteX1" fmla="*/ 9245600 w 9245600"/>
              <a:gd name="connsiteY1" fmla="*/ 1339850 h 1352550"/>
              <a:gd name="connsiteX2" fmla="*/ 7410450 w 9245600"/>
              <a:gd name="connsiteY2" fmla="*/ 1352550 h 1352550"/>
              <a:gd name="connsiteX3" fmla="*/ 5365750 w 9245600"/>
              <a:gd name="connsiteY3" fmla="*/ 1308100 h 1352550"/>
              <a:gd name="connsiteX4" fmla="*/ 4146550 w 9245600"/>
              <a:gd name="connsiteY4" fmla="*/ 1212850 h 1352550"/>
              <a:gd name="connsiteX5" fmla="*/ 2501900 w 9245600"/>
              <a:gd name="connsiteY5" fmla="*/ 927100 h 1352550"/>
              <a:gd name="connsiteX6" fmla="*/ 1428750 w 9245600"/>
              <a:gd name="connsiteY6" fmla="*/ 609600 h 1352550"/>
              <a:gd name="connsiteX7" fmla="*/ 158750 w 9245600"/>
              <a:gd name="connsiteY7" fmla="*/ 146050 h 1352550"/>
              <a:gd name="connsiteX8" fmla="*/ 0 w 9245600"/>
              <a:gd name="connsiteY8" fmla="*/ 6350 h 1352550"/>
              <a:gd name="connsiteX9" fmla="*/ 9245600 w 9245600"/>
              <a:gd name="connsiteY9" fmla="*/ 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45600" h="1352550">
                <a:moveTo>
                  <a:pt x="9245600" y="0"/>
                </a:moveTo>
                <a:lnTo>
                  <a:pt x="9245600" y="1339850"/>
                </a:lnTo>
                <a:lnTo>
                  <a:pt x="7410450" y="1352550"/>
                </a:lnTo>
                <a:lnTo>
                  <a:pt x="5365750" y="1308100"/>
                </a:lnTo>
                <a:lnTo>
                  <a:pt x="4146550" y="1212850"/>
                </a:lnTo>
                <a:lnTo>
                  <a:pt x="2501900" y="927100"/>
                </a:lnTo>
                <a:lnTo>
                  <a:pt x="1428750" y="609600"/>
                </a:lnTo>
                <a:lnTo>
                  <a:pt x="158750" y="146050"/>
                </a:lnTo>
                <a:lnTo>
                  <a:pt x="0" y="6350"/>
                </a:lnTo>
                <a:lnTo>
                  <a:pt x="9245600" y="0"/>
                </a:lnTo>
                <a:close/>
              </a:path>
            </a:pathLst>
          </a:custGeom>
          <a:solidFill>
            <a:srgbClr val="CC33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grpSp>
        <p:nvGrpSpPr>
          <p:cNvPr id="10" name="Group 9">
            <a:extLst>
              <a:ext uri="{FF2B5EF4-FFF2-40B4-BE49-F238E27FC236}">
                <a16:creationId xmlns:a16="http://schemas.microsoft.com/office/drawing/2014/main" id="{71E30789-0D23-4232-9111-073A94FE1347}"/>
              </a:ext>
            </a:extLst>
          </p:cNvPr>
          <p:cNvGrpSpPr/>
          <p:nvPr/>
        </p:nvGrpSpPr>
        <p:grpSpPr>
          <a:xfrm>
            <a:off x="209543" y="2780675"/>
            <a:ext cx="2211453" cy="2215655"/>
            <a:chOff x="4246448" y="2171701"/>
            <a:chExt cx="3366256" cy="3349598"/>
          </a:xfrm>
        </p:grpSpPr>
        <p:sp>
          <p:nvSpPr>
            <p:cNvPr id="11" name="Flowchart: Connector 10">
              <a:extLst>
                <a:ext uri="{FF2B5EF4-FFF2-40B4-BE49-F238E27FC236}">
                  <a16:creationId xmlns:a16="http://schemas.microsoft.com/office/drawing/2014/main" id="{117024CA-0746-459E-8A47-A1F152A405EA}"/>
                </a:ext>
              </a:extLst>
            </p:cNvPr>
            <p:cNvSpPr/>
            <p:nvPr/>
          </p:nvSpPr>
          <p:spPr bwMode="auto">
            <a:xfrm>
              <a:off x="4246448" y="2171701"/>
              <a:ext cx="3366256" cy="3349598"/>
            </a:xfrm>
            <a:prstGeom prst="flowChartConnector">
              <a:avLst/>
            </a:prstGeom>
            <a:solidFill>
              <a:srgbClr val="FFFFFF"/>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2" name="Flowchart: Connector 11">
              <a:extLst>
                <a:ext uri="{FF2B5EF4-FFF2-40B4-BE49-F238E27FC236}">
                  <a16:creationId xmlns:a16="http://schemas.microsoft.com/office/drawing/2014/main" id="{9D707B02-4499-4409-95A5-A4EF591C6A06}"/>
                </a:ext>
              </a:extLst>
            </p:cNvPr>
            <p:cNvSpPr/>
            <p:nvPr/>
          </p:nvSpPr>
          <p:spPr bwMode="auto">
            <a:xfrm>
              <a:off x="4798799" y="2725747"/>
              <a:ext cx="2248878" cy="2235200"/>
            </a:xfrm>
            <a:prstGeom prst="flowChartConnector">
              <a:avLst/>
            </a:prstGeom>
            <a:solidFill>
              <a:srgbClr val="EED1E0"/>
            </a:solidFill>
            <a:ln w="28575" cap="flat" cmpd="sng" algn="ctr">
              <a:solidFill>
                <a:srgbClr val="996633"/>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3" name="Flowchart: Connector 12">
              <a:extLst>
                <a:ext uri="{FF2B5EF4-FFF2-40B4-BE49-F238E27FC236}">
                  <a16:creationId xmlns:a16="http://schemas.microsoft.com/office/drawing/2014/main" id="{885F95F4-71EB-4DD4-896B-0C68D1FC4F18}"/>
                </a:ext>
              </a:extLst>
            </p:cNvPr>
            <p:cNvSpPr/>
            <p:nvPr/>
          </p:nvSpPr>
          <p:spPr bwMode="auto">
            <a:xfrm>
              <a:off x="5274733" y="3169915"/>
              <a:ext cx="1299634" cy="1313185"/>
            </a:xfrm>
            <a:prstGeom prst="flowChartConnector">
              <a:avLst/>
            </a:prstGeom>
            <a:noFill/>
            <a:ln w="57150" cap="flat" cmpd="sng" algn="ctr">
              <a:solidFill>
                <a:srgbClr val="CC66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4" name="Flowchart: Connector 13">
              <a:extLst>
                <a:ext uri="{FF2B5EF4-FFF2-40B4-BE49-F238E27FC236}">
                  <a16:creationId xmlns:a16="http://schemas.microsoft.com/office/drawing/2014/main" id="{93C4EFDF-28BB-403D-9FA4-248641DE4FBD}"/>
                </a:ext>
              </a:extLst>
            </p:cNvPr>
            <p:cNvSpPr/>
            <p:nvPr/>
          </p:nvSpPr>
          <p:spPr bwMode="auto">
            <a:xfrm>
              <a:off x="5291665" y="3211377"/>
              <a:ext cx="1257300" cy="1252072"/>
            </a:xfrm>
            <a:prstGeom prst="flowChartConnector">
              <a:avLst/>
            </a:prstGeom>
            <a:solidFill>
              <a:srgbClr val="C000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grpSp>
          <p:nvGrpSpPr>
            <p:cNvPr id="15" name="Group 14">
              <a:extLst>
                <a:ext uri="{FF2B5EF4-FFF2-40B4-BE49-F238E27FC236}">
                  <a16:creationId xmlns:a16="http://schemas.microsoft.com/office/drawing/2014/main" id="{FF7315A5-9283-44B3-BAA1-0A8246AA5C7D}"/>
                </a:ext>
              </a:extLst>
            </p:cNvPr>
            <p:cNvGrpSpPr/>
            <p:nvPr/>
          </p:nvGrpSpPr>
          <p:grpSpPr>
            <a:xfrm rot="11753699">
              <a:off x="6297633" y="2436232"/>
              <a:ext cx="614395" cy="302314"/>
              <a:chOff x="7815272" y="2280892"/>
              <a:chExt cx="817760" cy="302314"/>
            </a:xfrm>
          </p:grpSpPr>
          <p:sp>
            <p:nvSpPr>
              <p:cNvPr id="247" name="Freeform 283">
                <a:extLst>
                  <a:ext uri="{FF2B5EF4-FFF2-40B4-BE49-F238E27FC236}">
                    <a16:creationId xmlns:a16="http://schemas.microsoft.com/office/drawing/2014/main" id="{AE33776D-A90D-4BA7-9375-7CF1F5196057}"/>
                  </a:ext>
                </a:extLst>
              </p:cNvPr>
              <p:cNvSpPr>
                <a:spLocks/>
              </p:cNvSpPr>
              <p:nvPr/>
            </p:nvSpPr>
            <p:spPr bwMode="auto">
              <a:xfrm rot="21172157">
                <a:off x="7815272" y="2280892"/>
                <a:ext cx="817760" cy="302314"/>
              </a:xfrm>
              <a:custGeom>
                <a:avLst/>
                <a:gdLst>
                  <a:gd name="T0" fmla="*/ 26 w 52"/>
                  <a:gd name="T1" fmla="*/ 4 h 51"/>
                  <a:gd name="T2" fmla="*/ 18 w 52"/>
                  <a:gd name="T3" fmla="*/ 10 h 51"/>
                  <a:gd name="T4" fmla="*/ 10 w 52"/>
                  <a:gd name="T5" fmla="*/ 12 h 51"/>
                  <a:gd name="T6" fmla="*/ 3 w 52"/>
                  <a:gd name="T7" fmla="*/ 25 h 51"/>
                  <a:gd name="T8" fmla="*/ 16 w 52"/>
                  <a:gd name="T9" fmla="*/ 37 h 51"/>
                  <a:gd name="T10" fmla="*/ 34 w 52"/>
                  <a:gd name="T11" fmla="*/ 45 h 51"/>
                  <a:gd name="T12" fmla="*/ 46 w 52"/>
                  <a:gd name="T13" fmla="*/ 36 h 51"/>
                  <a:gd name="T14" fmla="*/ 46 w 52"/>
                  <a:gd name="T15" fmla="*/ 17 h 51"/>
                  <a:gd name="T16" fmla="*/ 34 w 52"/>
                  <a:gd name="T17" fmla="*/ 5 h 51"/>
                  <a:gd name="T18" fmla="*/ 26 w 52"/>
                  <a:gd name="T19" fmla="*/ 4 h 51"/>
                  <a:gd name="connsiteX0" fmla="*/ 4531 w 11136"/>
                  <a:gd name="connsiteY0" fmla="*/ 500 h 9017"/>
                  <a:gd name="connsiteX1" fmla="*/ 2993 w 11136"/>
                  <a:gd name="connsiteY1" fmla="*/ 1677 h 9017"/>
                  <a:gd name="connsiteX2" fmla="*/ 1454 w 11136"/>
                  <a:gd name="connsiteY2" fmla="*/ 2069 h 9017"/>
                  <a:gd name="connsiteX3" fmla="*/ 108 w 11136"/>
                  <a:gd name="connsiteY3" fmla="*/ 4618 h 9017"/>
                  <a:gd name="connsiteX4" fmla="*/ 2608 w 11136"/>
                  <a:gd name="connsiteY4" fmla="*/ 6971 h 9017"/>
                  <a:gd name="connsiteX5" fmla="*/ 6069 w 11136"/>
                  <a:gd name="connsiteY5" fmla="*/ 8540 h 9017"/>
                  <a:gd name="connsiteX6" fmla="*/ 8377 w 11136"/>
                  <a:gd name="connsiteY6" fmla="*/ 6775 h 9017"/>
                  <a:gd name="connsiteX7" fmla="*/ 10903 w 11136"/>
                  <a:gd name="connsiteY7" fmla="*/ 2255 h 9017"/>
                  <a:gd name="connsiteX8" fmla="*/ 6069 w 11136"/>
                  <a:gd name="connsiteY8" fmla="*/ 696 h 9017"/>
                  <a:gd name="connsiteX9" fmla="*/ 4531 w 11136"/>
                  <a:gd name="connsiteY9" fmla="*/ 500 h 9017"/>
                  <a:gd name="connsiteX0" fmla="*/ 4069 w 10292"/>
                  <a:gd name="connsiteY0" fmla="*/ 555 h 10000"/>
                  <a:gd name="connsiteX1" fmla="*/ 2688 w 10292"/>
                  <a:gd name="connsiteY1" fmla="*/ 1860 h 10000"/>
                  <a:gd name="connsiteX2" fmla="*/ 1306 w 10292"/>
                  <a:gd name="connsiteY2" fmla="*/ 2295 h 10000"/>
                  <a:gd name="connsiteX3" fmla="*/ 97 w 10292"/>
                  <a:gd name="connsiteY3" fmla="*/ 5121 h 10000"/>
                  <a:gd name="connsiteX4" fmla="*/ 2342 w 10292"/>
                  <a:gd name="connsiteY4" fmla="*/ 7731 h 10000"/>
                  <a:gd name="connsiteX5" fmla="*/ 5450 w 10292"/>
                  <a:gd name="connsiteY5" fmla="*/ 9471 h 10000"/>
                  <a:gd name="connsiteX6" fmla="*/ 9790 w 10292"/>
                  <a:gd name="connsiteY6" fmla="*/ 7375 h 10000"/>
                  <a:gd name="connsiteX7" fmla="*/ 9791 w 10292"/>
                  <a:gd name="connsiteY7" fmla="*/ 2501 h 10000"/>
                  <a:gd name="connsiteX8" fmla="*/ 5450 w 10292"/>
                  <a:gd name="connsiteY8" fmla="*/ 772 h 10000"/>
                  <a:gd name="connsiteX9" fmla="*/ 4069 w 10292"/>
                  <a:gd name="connsiteY9" fmla="*/ 555 h 10000"/>
                  <a:gd name="connsiteX0" fmla="*/ 4069 w 10292"/>
                  <a:gd name="connsiteY0" fmla="*/ 555 h 9288"/>
                  <a:gd name="connsiteX1" fmla="*/ 2688 w 10292"/>
                  <a:gd name="connsiteY1" fmla="*/ 1860 h 9288"/>
                  <a:gd name="connsiteX2" fmla="*/ 1306 w 10292"/>
                  <a:gd name="connsiteY2" fmla="*/ 2295 h 9288"/>
                  <a:gd name="connsiteX3" fmla="*/ 97 w 10292"/>
                  <a:gd name="connsiteY3" fmla="*/ 5121 h 9288"/>
                  <a:gd name="connsiteX4" fmla="*/ 2342 w 10292"/>
                  <a:gd name="connsiteY4" fmla="*/ 7731 h 9288"/>
                  <a:gd name="connsiteX5" fmla="*/ 7309 w 10292"/>
                  <a:gd name="connsiteY5" fmla="*/ 8822 h 9288"/>
                  <a:gd name="connsiteX6" fmla="*/ 9790 w 10292"/>
                  <a:gd name="connsiteY6" fmla="*/ 7375 h 9288"/>
                  <a:gd name="connsiteX7" fmla="*/ 9791 w 10292"/>
                  <a:gd name="connsiteY7" fmla="*/ 2501 h 9288"/>
                  <a:gd name="connsiteX8" fmla="*/ 5450 w 10292"/>
                  <a:gd name="connsiteY8" fmla="*/ 772 h 9288"/>
                  <a:gd name="connsiteX9" fmla="*/ 4069 w 10292"/>
                  <a:gd name="connsiteY9" fmla="*/ 555 h 9288"/>
                  <a:gd name="connsiteX0" fmla="*/ 3974 w 10019"/>
                  <a:gd name="connsiteY0" fmla="*/ 598 h 9866"/>
                  <a:gd name="connsiteX1" fmla="*/ 2632 w 10019"/>
                  <a:gd name="connsiteY1" fmla="*/ 2003 h 9866"/>
                  <a:gd name="connsiteX2" fmla="*/ 1289 w 10019"/>
                  <a:gd name="connsiteY2" fmla="*/ 2471 h 9866"/>
                  <a:gd name="connsiteX3" fmla="*/ 114 w 10019"/>
                  <a:gd name="connsiteY3" fmla="*/ 5514 h 9866"/>
                  <a:gd name="connsiteX4" fmla="*/ 4716 w 10019"/>
                  <a:gd name="connsiteY4" fmla="*/ 7226 h 9866"/>
                  <a:gd name="connsiteX5" fmla="*/ 7122 w 10019"/>
                  <a:gd name="connsiteY5" fmla="*/ 9498 h 9866"/>
                  <a:gd name="connsiteX6" fmla="*/ 9532 w 10019"/>
                  <a:gd name="connsiteY6" fmla="*/ 7940 h 9866"/>
                  <a:gd name="connsiteX7" fmla="*/ 9533 w 10019"/>
                  <a:gd name="connsiteY7" fmla="*/ 2693 h 9866"/>
                  <a:gd name="connsiteX8" fmla="*/ 5315 w 10019"/>
                  <a:gd name="connsiteY8" fmla="*/ 831 h 9866"/>
                  <a:gd name="connsiteX9" fmla="*/ 3974 w 10019"/>
                  <a:gd name="connsiteY9" fmla="*/ 598 h 9866"/>
                  <a:gd name="connsiteX0" fmla="*/ 3432 w 9467"/>
                  <a:gd name="connsiteY0" fmla="*/ 606 h 12399"/>
                  <a:gd name="connsiteX1" fmla="*/ 2093 w 9467"/>
                  <a:gd name="connsiteY1" fmla="*/ 2030 h 12399"/>
                  <a:gd name="connsiteX2" fmla="*/ 753 w 9467"/>
                  <a:gd name="connsiteY2" fmla="*/ 2505 h 12399"/>
                  <a:gd name="connsiteX3" fmla="*/ 157 w 9467"/>
                  <a:gd name="connsiteY3" fmla="*/ 12318 h 12399"/>
                  <a:gd name="connsiteX4" fmla="*/ 4173 w 9467"/>
                  <a:gd name="connsiteY4" fmla="*/ 7324 h 12399"/>
                  <a:gd name="connsiteX5" fmla="*/ 6574 w 9467"/>
                  <a:gd name="connsiteY5" fmla="*/ 9627 h 12399"/>
                  <a:gd name="connsiteX6" fmla="*/ 8980 w 9467"/>
                  <a:gd name="connsiteY6" fmla="*/ 8048 h 12399"/>
                  <a:gd name="connsiteX7" fmla="*/ 8981 w 9467"/>
                  <a:gd name="connsiteY7" fmla="*/ 2730 h 12399"/>
                  <a:gd name="connsiteX8" fmla="*/ 4771 w 9467"/>
                  <a:gd name="connsiteY8" fmla="*/ 842 h 12399"/>
                  <a:gd name="connsiteX9" fmla="*/ 3432 w 9467"/>
                  <a:gd name="connsiteY9" fmla="*/ 606 h 12399"/>
                  <a:gd name="connsiteX0" fmla="*/ 5344 w 11719"/>
                  <a:gd name="connsiteY0" fmla="*/ 488 h 9962"/>
                  <a:gd name="connsiteX1" fmla="*/ 3930 w 11719"/>
                  <a:gd name="connsiteY1" fmla="*/ 1636 h 9962"/>
                  <a:gd name="connsiteX2" fmla="*/ 0 w 11719"/>
                  <a:gd name="connsiteY2" fmla="*/ 3447 h 9962"/>
                  <a:gd name="connsiteX3" fmla="*/ 1885 w 11719"/>
                  <a:gd name="connsiteY3" fmla="*/ 9934 h 9962"/>
                  <a:gd name="connsiteX4" fmla="*/ 6127 w 11719"/>
                  <a:gd name="connsiteY4" fmla="*/ 5906 h 9962"/>
                  <a:gd name="connsiteX5" fmla="*/ 8663 w 11719"/>
                  <a:gd name="connsiteY5" fmla="*/ 7763 h 9962"/>
                  <a:gd name="connsiteX6" fmla="*/ 11205 w 11719"/>
                  <a:gd name="connsiteY6" fmla="*/ 6490 h 9962"/>
                  <a:gd name="connsiteX7" fmla="*/ 11206 w 11719"/>
                  <a:gd name="connsiteY7" fmla="*/ 2201 h 9962"/>
                  <a:gd name="connsiteX8" fmla="*/ 6759 w 11719"/>
                  <a:gd name="connsiteY8" fmla="*/ 678 h 9962"/>
                  <a:gd name="connsiteX9" fmla="*/ 5344 w 11719"/>
                  <a:gd name="connsiteY9" fmla="*/ 488 h 9962"/>
                  <a:gd name="connsiteX0" fmla="*/ 4560 w 10000"/>
                  <a:gd name="connsiteY0" fmla="*/ 490 h 10000"/>
                  <a:gd name="connsiteX1" fmla="*/ 3354 w 10000"/>
                  <a:gd name="connsiteY1" fmla="*/ 1642 h 10000"/>
                  <a:gd name="connsiteX2" fmla="*/ 0 w 10000"/>
                  <a:gd name="connsiteY2" fmla="*/ 3460 h 10000"/>
                  <a:gd name="connsiteX3" fmla="*/ 1608 w 10000"/>
                  <a:gd name="connsiteY3" fmla="*/ 9972 h 10000"/>
                  <a:gd name="connsiteX4" fmla="*/ 5228 w 10000"/>
                  <a:gd name="connsiteY4" fmla="*/ 5929 h 10000"/>
                  <a:gd name="connsiteX5" fmla="*/ 7392 w 10000"/>
                  <a:gd name="connsiteY5" fmla="*/ 7793 h 10000"/>
                  <a:gd name="connsiteX6" fmla="*/ 9561 w 10000"/>
                  <a:gd name="connsiteY6" fmla="*/ 6515 h 10000"/>
                  <a:gd name="connsiteX7" fmla="*/ 9562 w 10000"/>
                  <a:gd name="connsiteY7" fmla="*/ 2209 h 10000"/>
                  <a:gd name="connsiteX8" fmla="*/ 5768 w 10000"/>
                  <a:gd name="connsiteY8" fmla="*/ 681 h 10000"/>
                  <a:gd name="connsiteX9" fmla="*/ 4560 w 10000"/>
                  <a:gd name="connsiteY9" fmla="*/ 490 h 10000"/>
                  <a:gd name="connsiteX0" fmla="*/ 4982 w 10422"/>
                  <a:gd name="connsiteY0" fmla="*/ 490 h 9973"/>
                  <a:gd name="connsiteX1" fmla="*/ 3776 w 10422"/>
                  <a:gd name="connsiteY1" fmla="*/ 1642 h 9973"/>
                  <a:gd name="connsiteX2" fmla="*/ 0 w 10422"/>
                  <a:gd name="connsiteY2" fmla="*/ 5385 h 9973"/>
                  <a:gd name="connsiteX3" fmla="*/ 2030 w 10422"/>
                  <a:gd name="connsiteY3" fmla="*/ 9972 h 9973"/>
                  <a:gd name="connsiteX4" fmla="*/ 5650 w 10422"/>
                  <a:gd name="connsiteY4" fmla="*/ 5929 h 9973"/>
                  <a:gd name="connsiteX5" fmla="*/ 7814 w 10422"/>
                  <a:gd name="connsiteY5" fmla="*/ 7793 h 9973"/>
                  <a:gd name="connsiteX6" fmla="*/ 9983 w 10422"/>
                  <a:gd name="connsiteY6" fmla="*/ 6515 h 9973"/>
                  <a:gd name="connsiteX7" fmla="*/ 9984 w 10422"/>
                  <a:gd name="connsiteY7" fmla="*/ 2209 h 9973"/>
                  <a:gd name="connsiteX8" fmla="*/ 6190 w 10422"/>
                  <a:gd name="connsiteY8" fmla="*/ 681 h 9973"/>
                  <a:gd name="connsiteX9" fmla="*/ 4982 w 10422"/>
                  <a:gd name="connsiteY9" fmla="*/ 490 h 9973"/>
                  <a:gd name="connsiteX0" fmla="*/ 4780 w 10000"/>
                  <a:gd name="connsiteY0" fmla="*/ 491 h 10000"/>
                  <a:gd name="connsiteX1" fmla="*/ 1159 w 10000"/>
                  <a:gd name="connsiteY1" fmla="*/ 1276 h 10000"/>
                  <a:gd name="connsiteX2" fmla="*/ 0 w 10000"/>
                  <a:gd name="connsiteY2" fmla="*/ 5400 h 10000"/>
                  <a:gd name="connsiteX3" fmla="*/ 1948 w 10000"/>
                  <a:gd name="connsiteY3" fmla="*/ 9999 h 10000"/>
                  <a:gd name="connsiteX4" fmla="*/ 5421 w 10000"/>
                  <a:gd name="connsiteY4" fmla="*/ 5945 h 10000"/>
                  <a:gd name="connsiteX5" fmla="*/ 7498 w 10000"/>
                  <a:gd name="connsiteY5" fmla="*/ 7814 h 10000"/>
                  <a:gd name="connsiteX6" fmla="*/ 9579 w 10000"/>
                  <a:gd name="connsiteY6" fmla="*/ 6533 h 10000"/>
                  <a:gd name="connsiteX7" fmla="*/ 9580 w 10000"/>
                  <a:gd name="connsiteY7" fmla="*/ 2215 h 10000"/>
                  <a:gd name="connsiteX8" fmla="*/ 5939 w 10000"/>
                  <a:gd name="connsiteY8" fmla="*/ 683 h 10000"/>
                  <a:gd name="connsiteX9" fmla="*/ 4780 w 10000"/>
                  <a:gd name="connsiteY9" fmla="*/ 491 h 10000"/>
                  <a:gd name="connsiteX0" fmla="*/ 4032 w 10000"/>
                  <a:gd name="connsiteY0" fmla="*/ 240 h 10817"/>
                  <a:gd name="connsiteX1" fmla="*/ 1159 w 10000"/>
                  <a:gd name="connsiteY1" fmla="*/ 2093 h 10817"/>
                  <a:gd name="connsiteX2" fmla="*/ 0 w 10000"/>
                  <a:gd name="connsiteY2" fmla="*/ 6217 h 10817"/>
                  <a:gd name="connsiteX3" fmla="*/ 1948 w 10000"/>
                  <a:gd name="connsiteY3" fmla="*/ 10816 h 10817"/>
                  <a:gd name="connsiteX4" fmla="*/ 5421 w 10000"/>
                  <a:gd name="connsiteY4" fmla="*/ 6762 h 10817"/>
                  <a:gd name="connsiteX5" fmla="*/ 7498 w 10000"/>
                  <a:gd name="connsiteY5" fmla="*/ 8631 h 10817"/>
                  <a:gd name="connsiteX6" fmla="*/ 9579 w 10000"/>
                  <a:gd name="connsiteY6" fmla="*/ 7350 h 10817"/>
                  <a:gd name="connsiteX7" fmla="*/ 9580 w 10000"/>
                  <a:gd name="connsiteY7" fmla="*/ 3032 h 10817"/>
                  <a:gd name="connsiteX8" fmla="*/ 5939 w 10000"/>
                  <a:gd name="connsiteY8" fmla="*/ 1500 h 10817"/>
                  <a:gd name="connsiteX9" fmla="*/ 4032 w 10000"/>
                  <a:gd name="connsiteY9" fmla="*/ 240 h 10817"/>
                  <a:gd name="connsiteX0" fmla="*/ 4032 w 10000"/>
                  <a:gd name="connsiteY0" fmla="*/ 507 h 11084"/>
                  <a:gd name="connsiteX1" fmla="*/ 1159 w 10000"/>
                  <a:gd name="connsiteY1" fmla="*/ 2360 h 11084"/>
                  <a:gd name="connsiteX2" fmla="*/ 0 w 10000"/>
                  <a:gd name="connsiteY2" fmla="*/ 6484 h 11084"/>
                  <a:gd name="connsiteX3" fmla="*/ 1948 w 10000"/>
                  <a:gd name="connsiteY3" fmla="*/ 11083 h 11084"/>
                  <a:gd name="connsiteX4" fmla="*/ 5421 w 10000"/>
                  <a:gd name="connsiteY4" fmla="*/ 7029 h 11084"/>
                  <a:gd name="connsiteX5" fmla="*/ 7498 w 10000"/>
                  <a:gd name="connsiteY5" fmla="*/ 8898 h 11084"/>
                  <a:gd name="connsiteX6" fmla="*/ 9579 w 10000"/>
                  <a:gd name="connsiteY6" fmla="*/ 7617 h 11084"/>
                  <a:gd name="connsiteX7" fmla="*/ 9580 w 10000"/>
                  <a:gd name="connsiteY7" fmla="*/ 3299 h 11084"/>
                  <a:gd name="connsiteX8" fmla="*/ 8340 w 10000"/>
                  <a:gd name="connsiteY8" fmla="*/ 658 h 11084"/>
                  <a:gd name="connsiteX9" fmla="*/ 4032 w 10000"/>
                  <a:gd name="connsiteY9" fmla="*/ 507 h 11084"/>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67"/>
                  <a:gd name="connsiteX1" fmla="*/ 1159 w 10000"/>
                  <a:gd name="connsiteY1" fmla="*/ 2309 h 11067"/>
                  <a:gd name="connsiteX2" fmla="*/ 0 w 10000"/>
                  <a:gd name="connsiteY2" fmla="*/ 6433 h 11067"/>
                  <a:gd name="connsiteX3" fmla="*/ 1948 w 10000"/>
                  <a:gd name="connsiteY3" fmla="*/ 11032 h 11067"/>
                  <a:gd name="connsiteX4" fmla="*/ 4641 w 10000"/>
                  <a:gd name="connsiteY4" fmla="*/ 8580 h 11067"/>
                  <a:gd name="connsiteX5" fmla="*/ 7498 w 10000"/>
                  <a:gd name="connsiteY5" fmla="*/ 8847 h 11067"/>
                  <a:gd name="connsiteX6" fmla="*/ 9579 w 10000"/>
                  <a:gd name="connsiteY6" fmla="*/ 7566 h 11067"/>
                  <a:gd name="connsiteX7" fmla="*/ 9580 w 10000"/>
                  <a:gd name="connsiteY7" fmla="*/ 3248 h 11067"/>
                  <a:gd name="connsiteX8" fmla="*/ 8340 w 10000"/>
                  <a:gd name="connsiteY8" fmla="*/ 607 h 11067"/>
                  <a:gd name="connsiteX9" fmla="*/ 4032 w 10000"/>
                  <a:gd name="connsiteY9" fmla="*/ 456 h 11067"/>
                  <a:gd name="connsiteX0" fmla="*/ 4032 w 10000"/>
                  <a:gd name="connsiteY0" fmla="*/ 456 h 11053"/>
                  <a:gd name="connsiteX1" fmla="*/ 1159 w 10000"/>
                  <a:gd name="connsiteY1" fmla="*/ 2309 h 11053"/>
                  <a:gd name="connsiteX2" fmla="*/ 0 w 10000"/>
                  <a:gd name="connsiteY2" fmla="*/ 6433 h 11053"/>
                  <a:gd name="connsiteX3" fmla="*/ 1948 w 10000"/>
                  <a:gd name="connsiteY3" fmla="*/ 11032 h 11053"/>
                  <a:gd name="connsiteX4" fmla="*/ 4641 w 10000"/>
                  <a:gd name="connsiteY4" fmla="*/ 8580 h 11053"/>
                  <a:gd name="connsiteX5" fmla="*/ 7498 w 10000"/>
                  <a:gd name="connsiteY5" fmla="*/ 8847 h 11053"/>
                  <a:gd name="connsiteX6" fmla="*/ 9579 w 10000"/>
                  <a:gd name="connsiteY6" fmla="*/ 7566 h 11053"/>
                  <a:gd name="connsiteX7" fmla="*/ 9580 w 10000"/>
                  <a:gd name="connsiteY7" fmla="*/ 3248 h 11053"/>
                  <a:gd name="connsiteX8" fmla="*/ 8340 w 10000"/>
                  <a:gd name="connsiteY8" fmla="*/ 607 h 11053"/>
                  <a:gd name="connsiteX9" fmla="*/ 4032 w 10000"/>
                  <a:gd name="connsiteY9" fmla="*/ 456 h 11053"/>
                  <a:gd name="connsiteX0" fmla="*/ 4032 w 10000"/>
                  <a:gd name="connsiteY0" fmla="*/ 456 h 11130"/>
                  <a:gd name="connsiteX1" fmla="*/ 1159 w 10000"/>
                  <a:gd name="connsiteY1" fmla="*/ 2309 h 11130"/>
                  <a:gd name="connsiteX2" fmla="*/ 0 w 10000"/>
                  <a:gd name="connsiteY2" fmla="*/ 6433 h 11130"/>
                  <a:gd name="connsiteX3" fmla="*/ 1948 w 10000"/>
                  <a:gd name="connsiteY3" fmla="*/ 11032 h 11130"/>
                  <a:gd name="connsiteX4" fmla="*/ 4641 w 10000"/>
                  <a:gd name="connsiteY4" fmla="*/ 8580 h 11130"/>
                  <a:gd name="connsiteX5" fmla="*/ 7498 w 10000"/>
                  <a:gd name="connsiteY5" fmla="*/ 8847 h 11130"/>
                  <a:gd name="connsiteX6" fmla="*/ 9579 w 10000"/>
                  <a:gd name="connsiteY6" fmla="*/ 7566 h 11130"/>
                  <a:gd name="connsiteX7" fmla="*/ 9580 w 10000"/>
                  <a:gd name="connsiteY7" fmla="*/ 3248 h 11130"/>
                  <a:gd name="connsiteX8" fmla="*/ 8340 w 10000"/>
                  <a:gd name="connsiteY8" fmla="*/ 607 h 11130"/>
                  <a:gd name="connsiteX9" fmla="*/ 4032 w 10000"/>
                  <a:gd name="connsiteY9" fmla="*/ 456 h 11130"/>
                  <a:gd name="connsiteX0" fmla="*/ 4662 w 10630"/>
                  <a:gd name="connsiteY0" fmla="*/ 456 h 11130"/>
                  <a:gd name="connsiteX1" fmla="*/ 1789 w 10630"/>
                  <a:gd name="connsiteY1" fmla="*/ 2309 h 11130"/>
                  <a:gd name="connsiteX2" fmla="*/ 630 w 10630"/>
                  <a:gd name="connsiteY2" fmla="*/ 6433 h 11130"/>
                  <a:gd name="connsiteX3" fmla="*/ 2578 w 10630"/>
                  <a:gd name="connsiteY3" fmla="*/ 11032 h 11130"/>
                  <a:gd name="connsiteX4" fmla="*/ 5271 w 10630"/>
                  <a:gd name="connsiteY4" fmla="*/ 8580 h 11130"/>
                  <a:gd name="connsiteX5" fmla="*/ 8128 w 10630"/>
                  <a:gd name="connsiteY5" fmla="*/ 8847 h 11130"/>
                  <a:gd name="connsiteX6" fmla="*/ 10209 w 10630"/>
                  <a:gd name="connsiteY6" fmla="*/ 7566 h 11130"/>
                  <a:gd name="connsiteX7" fmla="*/ 10210 w 10630"/>
                  <a:gd name="connsiteY7" fmla="*/ 3248 h 11130"/>
                  <a:gd name="connsiteX8" fmla="*/ 8970 w 10630"/>
                  <a:gd name="connsiteY8" fmla="*/ 607 h 11130"/>
                  <a:gd name="connsiteX9" fmla="*/ 4662 w 10630"/>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2836"/>
                  <a:gd name="connsiteX1" fmla="*/ 2266 w 11107"/>
                  <a:gd name="connsiteY1" fmla="*/ 2309 h 12836"/>
                  <a:gd name="connsiteX2" fmla="*/ 546 w 11107"/>
                  <a:gd name="connsiteY2" fmla="*/ 6228 h 12836"/>
                  <a:gd name="connsiteX3" fmla="*/ 3055 w 11107"/>
                  <a:gd name="connsiteY3" fmla="*/ 11032 h 12836"/>
                  <a:gd name="connsiteX4" fmla="*/ 5748 w 11107"/>
                  <a:gd name="connsiteY4" fmla="*/ 8580 h 12836"/>
                  <a:gd name="connsiteX5" fmla="*/ 8605 w 11107"/>
                  <a:gd name="connsiteY5" fmla="*/ 8847 h 12836"/>
                  <a:gd name="connsiteX6" fmla="*/ 10686 w 11107"/>
                  <a:gd name="connsiteY6" fmla="*/ 7566 h 12836"/>
                  <a:gd name="connsiteX7" fmla="*/ 10687 w 11107"/>
                  <a:gd name="connsiteY7" fmla="*/ 3248 h 12836"/>
                  <a:gd name="connsiteX8" fmla="*/ 9447 w 11107"/>
                  <a:gd name="connsiteY8" fmla="*/ 607 h 12836"/>
                  <a:gd name="connsiteX9" fmla="*/ 5139 w 11107"/>
                  <a:gd name="connsiteY9" fmla="*/ 456 h 12836"/>
                  <a:gd name="connsiteX0" fmla="*/ 5139 w 11107"/>
                  <a:gd name="connsiteY0" fmla="*/ 456 h 13188"/>
                  <a:gd name="connsiteX1" fmla="*/ 2266 w 11107"/>
                  <a:gd name="connsiteY1" fmla="*/ 2309 h 13188"/>
                  <a:gd name="connsiteX2" fmla="*/ 546 w 11107"/>
                  <a:gd name="connsiteY2" fmla="*/ 6228 h 13188"/>
                  <a:gd name="connsiteX3" fmla="*/ 3055 w 11107"/>
                  <a:gd name="connsiteY3" fmla="*/ 11032 h 13188"/>
                  <a:gd name="connsiteX4" fmla="*/ 5748 w 11107"/>
                  <a:gd name="connsiteY4" fmla="*/ 8580 h 13188"/>
                  <a:gd name="connsiteX5" fmla="*/ 8886 w 11107"/>
                  <a:gd name="connsiteY5" fmla="*/ 9792 h 13188"/>
                  <a:gd name="connsiteX6" fmla="*/ 10686 w 11107"/>
                  <a:gd name="connsiteY6" fmla="*/ 7566 h 13188"/>
                  <a:gd name="connsiteX7" fmla="*/ 10687 w 11107"/>
                  <a:gd name="connsiteY7" fmla="*/ 3248 h 13188"/>
                  <a:gd name="connsiteX8" fmla="*/ 9447 w 11107"/>
                  <a:gd name="connsiteY8" fmla="*/ 607 h 13188"/>
                  <a:gd name="connsiteX9" fmla="*/ 5139 w 11107"/>
                  <a:gd name="connsiteY9" fmla="*/ 456 h 13188"/>
                  <a:gd name="connsiteX0" fmla="*/ 5139 w 11107"/>
                  <a:gd name="connsiteY0" fmla="*/ 922 h 13654"/>
                  <a:gd name="connsiteX1" fmla="*/ 2266 w 11107"/>
                  <a:gd name="connsiteY1" fmla="*/ 2775 h 13654"/>
                  <a:gd name="connsiteX2" fmla="*/ 546 w 11107"/>
                  <a:gd name="connsiteY2" fmla="*/ 6694 h 13654"/>
                  <a:gd name="connsiteX3" fmla="*/ 3055 w 11107"/>
                  <a:gd name="connsiteY3" fmla="*/ 11498 h 13654"/>
                  <a:gd name="connsiteX4" fmla="*/ 5748 w 11107"/>
                  <a:gd name="connsiteY4" fmla="*/ 9046 h 13654"/>
                  <a:gd name="connsiteX5" fmla="*/ 8886 w 11107"/>
                  <a:gd name="connsiteY5" fmla="*/ 10258 h 13654"/>
                  <a:gd name="connsiteX6" fmla="*/ 10686 w 11107"/>
                  <a:gd name="connsiteY6" fmla="*/ 8032 h 13654"/>
                  <a:gd name="connsiteX7" fmla="*/ 10687 w 11107"/>
                  <a:gd name="connsiteY7" fmla="*/ 3714 h 13654"/>
                  <a:gd name="connsiteX8" fmla="*/ 9447 w 11107"/>
                  <a:gd name="connsiteY8" fmla="*/ 1073 h 13654"/>
                  <a:gd name="connsiteX9" fmla="*/ 5139 w 11107"/>
                  <a:gd name="connsiteY9" fmla="*/ 922 h 13654"/>
                  <a:gd name="connsiteX0" fmla="*/ 5139 w 11107"/>
                  <a:gd name="connsiteY0" fmla="*/ 1423 h 14155"/>
                  <a:gd name="connsiteX1" fmla="*/ 2266 w 11107"/>
                  <a:gd name="connsiteY1" fmla="*/ 3276 h 14155"/>
                  <a:gd name="connsiteX2" fmla="*/ 546 w 11107"/>
                  <a:gd name="connsiteY2" fmla="*/ 7195 h 14155"/>
                  <a:gd name="connsiteX3" fmla="*/ 3055 w 11107"/>
                  <a:gd name="connsiteY3" fmla="*/ 11999 h 14155"/>
                  <a:gd name="connsiteX4" fmla="*/ 5748 w 11107"/>
                  <a:gd name="connsiteY4" fmla="*/ 9547 h 14155"/>
                  <a:gd name="connsiteX5" fmla="*/ 8886 w 11107"/>
                  <a:gd name="connsiteY5" fmla="*/ 10759 h 14155"/>
                  <a:gd name="connsiteX6" fmla="*/ 10686 w 11107"/>
                  <a:gd name="connsiteY6" fmla="*/ 8533 h 14155"/>
                  <a:gd name="connsiteX7" fmla="*/ 10687 w 11107"/>
                  <a:gd name="connsiteY7" fmla="*/ 4215 h 14155"/>
                  <a:gd name="connsiteX8" fmla="*/ 9728 w 11107"/>
                  <a:gd name="connsiteY8" fmla="*/ 835 h 14155"/>
                  <a:gd name="connsiteX9" fmla="*/ 5139 w 11107"/>
                  <a:gd name="connsiteY9" fmla="*/ 1423 h 14155"/>
                  <a:gd name="connsiteX0" fmla="*/ 5139 w 12384"/>
                  <a:gd name="connsiteY0" fmla="*/ 1423 h 14155"/>
                  <a:gd name="connsiteX1" fmla="*/ 2266 w 12384"/>
                  <a:gd name="connsiteY1" fmla="*/ 3276 h 14155"/>
                  <a:gd name="connsiteX2" fmla="*/ 546 w 12384"/>
                  <a:gd name="connsiteY2" fmla="*/ 7195 h 14155"/>
                  <a:gd name="connsiteX3" fmla="*/ 3055 w 12384"/>
                  <a:gd name="connsiteY3" fmla="*/ 11999 h 14155"/>
                  <a:gd name="connsiteX4" fmla="*/ 5748 w 12384"/>
                  <a:gd name="connsiteY4" fmla="*/ 9547 h 14155"/>
                  <a:gd name="connsiteX5" fmla="*/ 8886 w 12384"/>
                  <a:gd name="connsiteY5" fmla="*/ 10759 h 14155"/>
                  <a:gd name="connsiteX6" fmla="*/ 10686 w 12384"/>
                  <a:gd name="connsiteY6" fmla="*/ 8533 h 14155"/>
                  <a:gd name="connsiteX7" fmla="*/ 12184 w 12384"/>
                  <a:gd name="connsiteY7" fmla="*/ 3927 h 14155"/>
                  <a:gd name="connsiteX8" fmla="*/ 9728 w 12384"/>
                  <a:gd name="connsiteY8" fmla="*/ 835 h 14155"/>
                  <a:gd name="connsiteX9" fmla="*/ 5139 w 12384"/>
                  <a:gd name="connsiteY9" fmla="*/ 1423 h 14155"/>
                  <a:gd name="connsiteX0" fmla="*/ 5139 w 12562"/>
                  <a:gd name="connsiteY0" fmla="*/ 1423 h 14155"/>
                  <a:gd name="connsiteX1" fmla="*/ 2266 w 12562"/>
                  <a:gd name="connsiteY1" fmla="*/ 3276 h 14155"/>
                  <a:gd name="connsiteX2" fmla="*/ 546 w 12562"/>
                  <a:gd name="connsiteY2" fmla="*/ 7195 h 14155"/>
                  <a:gd name="connsiteX3" fmla="*/ 3055 w 12562"/>
                  <a:gd name="connsiteY3" fmla="*/ 11999 h 14155"/>
                  <a:gd name="connsiteX4" fmla="*/ 5748 w 12562"/>
                  <a:gd name="connsiteY4" fmla="*/ 9547 h 14155"/>
                  <a:gd name="connsiteX5" fmla="*/ 8886 w 12562"/>
                  <a:gd name="connsiteY5" fmla="*/ 10759 h 14155"/>
                  <a:gd name="connsiteX6" fmla="*/ 12027 w 12562"/>
                  <a:gd name="connsiteY6" fmla="*/ 8163 h 14155"/>
                  <a:gd name="connsiteX7" fmla="*/ 12184 w 12562"/>
                  <a:gd name="connsiteY7" fmla="*/ 3927 h 14155"/>
                  <a:gd name="connsiteX8" fmla="*/ 9728 w 12562"/>
                  <a:gd name="connsiteY8" fmla="*/ 835 h 14155"/>
                  <a:gd name="connsiteX9" fmla="*/ 5139 w 12562"/>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53"/>
                  <a:gd name="connsiteY0" fmla="*/ 1423 h 14155"/>
                  <a:gd name="connsiteX1" fmla="*/ 2266 w 14753"/>
                  <a:gd name="connsiteY1" fmla="*/ 3276 h 14155"/>
                  <a:gd name="connsiteX2" fmla="*/ 546 w 14753"/>
                  <a:gd name="connsiteY2" fmla="*/ 7195 h 14155"/>
                  <a:gd name="connsiteX3" fmla="*/ 3055 w 14753"/>
                  <a:gd name="connsiteY3" fmla="*/ 11999 h 14155"/>
                  <a:gd name="connsiteX4" fmla="*/ 5748 w 14753"/>
                  <a:gd name="connsiteY4" fmla="*/ 9547 h 14155"/>
                  <a:gd name="connsiteX5" fmla="*/ 8886 w 14753"/>
                  <a:gd name="connsiteY5" fmla="*/ 10759 h 14155"/>
                  <a:gd name="connsiteX6" fmla="*/ 11965 w 14753"/>
                  <a:gd name="connsiteY6" fmla="*/ 8779 h 14155"/>
                  <a:gd name="connsiteX7" fmla="*/ 12184 w 14753"/>
                  <a:gd name="connsiteY7" fmla="*/ 3927 h 14155"/>
                  <a:gd name="connsiteX8" fmla="*/ 9728 w 14753"/>
                  <a:gd name="connsiteY8" fmla="*/ 835 h 14155"/>
                  <a:gd name="connsiteX9" fmla="*/ 5139 w 14753"/>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661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69"/>
                  <a:gd name="connsiteX1" fmla="*/ 2697 w 16991"/>
                  <a:gd name="connsiteY1" fmla="*/ 3276 h 14169"/>
                  <a:gd name="connsiteX2" fmla="*/ 1039 w 16991"/>
                  <a:gd name="connsiteY2" fmla="*/ 6661 h 14169"/>
                  <a:gd name="connsiteX3" fmla="*/ 2831 w 16991"/>
                  <a:gd name="connsiteY3" fmla="*/ 11547 h 14169"/>
                  <a:gd name="connsiteX4" fmla="*/ 6179 w 16991"/>
                  <a:gd name="connsiteY4" fmla="*/ 9547 h 14169"/>
                  <a:gd name="connsiteX5" fmla="*/ 9317 w 16991"/>
                  <a:gd name="connsiteY5" fmla="*/ 10759 h 14169"/>
                  <a:gd name="connsiteX6" fmla="*/ 12396 w 16991"/>
                  <a:gd name="connsiteY6" fmla="*/ 8779 h 14169"/>
                  <a:gd name="connsiteX7" fmla="*/ 12615 w 16991"/>
                  <a:gd name="connsiteY7" fmla="*/ 3927 h 14169"/>
                  <a:gd name="connsiteX8" fmla="*/ 10159 w 16991"/>
                  <a:gd name="connsiteY8" fmla="*/ 835 h 14169"/>
                  <a:gd name="connsiteX9" fmla="*/ 5570 w 16991"/>
                  <a:gd name="connsiteY9" fmla="*/ 1423 h 14169"/>
                  <a:gd name="connsiteX0" fmla="*/ 5570 w 16991"/>
                  <a:gd name="connsiteY0" fmla="*/ 1423 h 14319"/>
                  <a:gd name="connsiteX1" fmla="*/ 2697 w 16991"/>
                  <a:gd name="connsiteY1" fmla="*/ 3276 h 14319"/>
                  <a:gd name="connsiteX2" fmla="*/ 1039 w 16991"/>
                  <a:gd name="connsiteY2" fmla="*/ 6661 h 14319"/>
                  <a:gd name="connsiteX3" fmla="*/ 2831 w 16991"/>
                  <a:gd name="connsiteY3" fmla="*/ 11547 h 14319"/>
                  <a:gd name="connsiteX4" fmla="*/ 6241 w 16991"/>
                  <a:gd name="connsiteY4" fmla="*/ 10204 h 14319"/>
                  <a:gd name="connsiteX5" fmla="*/ 9317 w 16991"/>
                  <a:gd name="connsiteY5" fmla="*/ 10759 h 14319"/>
                  <a:gd name="connsiteX6" fmla="*/ 12396 w 16991"/>
                  <a:gd name="connsiteY6" fmla="*/ 8779 h 14319"/>
                  <a:gd name="connsiteX7" fmla="*/ 12615 w 16991"/>
                  <a:gd name="connsiteY7" fmla="*/ 3927 h 14319"/>
                  <a:gd name="connsiteX8" fmla="*/ 10159 w 16991"/>
                  <a:gd name="connsiteY8" fmla="*/ 835 h 14319"/>
                  <a:gd name="connsiteX9" fmla="*/ 5570 w 16991"/>
                  <a:gd name="connsiteY9" fmla="*/ 1423 h 14319"/>
                  <a:gd name="connsiteX0" fmla="*/ 5570 w 16991"/>
                  <a:gd name="connsiteY0" fmla="*/ 1423 h 14440"/>
                  <a:gd name="connsiteX1" fmla="*/ 2697 w 16991"/>
                  <a:gd name="connsiteY1" fmla="*/ 3276 h 14440"/>
                  <a:gd name="connsiteX2" fmla="*/ 1039 w 16991"/>
                  <a:gd name="connsiteY2" fmla="*/ 6661 h 14440"/>
                  <a:gd name="connsiteX3" fmla="*/ 2831 w 16991"/>
                  <a:gd name="connsiteY3" fmla="*/ 11547 h 14440"/>
                  <a:gd name="connsiteX4" fmla="*/ 6241 w 16991"/>
                  <a:gd name="connsiteY4" fmla="*/ 10204 h 14440"/>
                  <a:gd name="connsiteX5" fmla="*/ 9317 w 16991"/>
                  <a:gd name="connsiteY5" fmla="*/ 10759 h 14440"/>
                  <a:gd name="connsiteX6" fmla="*/ 12396 w 16991"/>
                  <a:gd name="connsiteY6" fmla="*/ 8779 h 14440"/>
                  <a:gd name="connsiteX7" fmla="*/ 12615 w 16991"/>
                  <a:gd name="connsiteY7" fmla="*/ 3927 h 14440"/>
                  <a:gd name="connsiteX8" fmla="*/ 10159 w 16991"/>
                  <a:gd name="connsiteY8" fmla="*/ 835 h 14440"/>
                  <a:gd name="connsiteX9" fmla="*/ 5570 w 16991"/>
                  <a:gd name="connsiteY9" fmla="*/ 1423 h 14440"/>
                  <a:gd name="connsiteX0" fmla="*/ 5570 w 16991"/>
                  <a:gd name="connsiteY0" fmla="*/ 1423 h 14549"/>
                  <a:gd name="connsiteX1" fmla="*/ 2697 w 16991"/>
                  <a:gd name="connsiteY1" fmla="*/ 3276 h 14549"/>
                  <a:gd name="connsiteX2" fmla="*/ 1039 w 16991"/>
                  <a:gd name="connsiteY2" fmla="*/ 6661 h 14549"/>
                  <a:gd name="connsiteX3" fmla="*/ 2831 w 16991"/>
                  <a:gd name="connsiteY3" fmla="*/ 11547 h 14549"/>
                  <a:gd name="connsiteX4" fmla="*/ 6241 w 16991"/>
                  <a:gd name="connsiteY4" fmla="*/ 10204 h 14549"/>
                  <a:gd name="connsiteX5" fmla="*/ 9317 w 16991"/>
                  <a:gd name="connsiteY5" fmla="*/ 10759 h 14549"/>
                  <a:gd name="connsiteX6" fmla="*/ 12396 w 16991"/>
                  <a:gd name="connsiteY6" fmla="*/ 8779 h 14549"/>
                  <a:gd name="connsiteX7" fmla="*/ 12615 w 16991"/>
                  <a:gd name="connsiteY7" fmla="*/ 3927 h 14549"/>
                  <a:gd name="connsiteX8" fmla="*/ 10159 w 16991"/>
                  <a:gd name="connsiteY8" fmla="*/ 835 h 14549"/>
                  <a:gd name="connsiteX9" fmla="*/ 5570 w 16991"/>
                  <a:gd name="connsiteY9" fmla="*/ 1423 h 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991" h="14549">
                    <a:moveTo>
                      <a:pt x="5570" y="1423"/>
                    </a:moveTo>
                    <a:cubicBezTo>
                      <a:pt x="5570" y="1423"/>
                      <a:pt x="3130" y="3084"/>
                      <a:pt x="2697" y="3276"/>
                    </a:cubicBezTo>
                    <a:cubicBezTo>
                      <a:pt x="2116" y="3276"/>
                      <a:pt x="-1842" y="6053"/>
                      <a:pt x="1039" y="6661"/>
                    </a:cubicBezTo>
                    <a:cubicBezTo>
                      <a:pt x="7088" y="4584"/>
                      <a:pt x="1964" y="10957"/>
                      <a:pt x="2831" y="11547"/>
                    </a:cubicBezTo>
                    <a:cubicBezTo>
                      <a:pt x="3698" y="12137"/>
                      <a:pt x="5378" y="9267"/>
                      <a:pt x="6241" y="10204"/>
                    </a:cubicBezTo>
                    <a:cubicBezTo>
                      <a:pt x="7104" y="11141"/>
                      <a:pt x="8518" y="19143"/>
                      <a:pt x="9317" y="10759"/>
                    </a:cubicBezTo>
                    <a:cubicBezTo>
                      <a:pt x="9836" y="7618"/>
                      <a:pt x="10455" y="8698"/>
                      <a:pt x="12396" y="8779"/>
                    </a:cubicBezTo>
                    <a:cubicBezTo>
                      <a:pt x="22146" y="14045"/>
                      <a:pt x="13484" y="5276"/>
                      <a:pt x="12615" y="3927"/>
                    </a:cubicBezTo>
                    <a:cubicBezTo>
                      <a:pt x="11601" y="2772"/>
                      <a:pt x="11853" y="1347"/>
                      <a:pt x="10159" y="835"/>
                    </a:cubicBezTo>
                    <a:cubicBezTo>
                      <a:pt x="8883" y="-1003"/>
                      <a:pt x="5715" y="652"/>
                      <a:pt x="5570" y="1423"/>
                    </a:cubicBezTo>
                    <a:close/>
                  </a:path>
                </a:pathLst>
              </a:custGeom>
              <a:solidFill>
                <a:srgbClr val="FFC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48" name="Oval 284">
                <a:extLst>
                  <a:ext uri="{FF2B5EF4-FFF2-40B4-BE49-F238E27FC236}">
                    <a16:creationId xmlns:a16="http://schemas.microsoft.com/office/drawing/2014/main" id="{EAF45746-11AE-43F3-A38E-9BB49B006780}"/>
                  </a:ext>
                </a:extLst>
              </p:cNvPr>
              <p:cNvSpPr>
                <a:spLocks noChangeArrowheads="1"/>
              </p:cNvSpPr>
              <p:nvPr/>
            </p:nvSpPr>
            <p:spPr bwMode="auto">
              <a:xfrm rot="15772157">
                <a:off x="8188752" y="2258212"/>
                <a:ext cx="63039" cy="160334"/>
              </a:xfrm>
              <a:prstGeom prst="ellipse">
                <a:avLst/>
              </a:prstGeom>
              <a:solidFill>
                <a:srgbClr val="E2A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6" name="Group 15">
              <a:extLst>
                <a:ext uri="{FF2B5EF4-FFF2-40B4-BE49-F238E27FC236}">
                  <a16:creationId xmlns:a16="http://schemas.microsoft.com/office/drawing/2014/main" id="{6C82AC68-0155-4455-91A4-3453C372918A}"/>
                </a:ext>
              </a:extLst>
            </p:cNvPr>
            <p:cNvGrpSpPr/>
            <p:nvPr/>
          </p:nvGrpSpPr>
          <p:grpSpPr>
            <a:xfrm rot="17704255">
              <a:off x="4688034" y="2543455"/>
              <a:ext cx="614395" cy="302314"/>
              <a:chOff x="7815272" y="2280892"/>
              <a:chExt cx="817760" cy="302314"/>
            </a:xfrm>
          </p:grpSpPr>
          <p:sp>
            <p:nvSpPr>
              <p:cNvPr id="245" name="Freeform 283">
                <a:extLst>
                  <a:ext uri="{FF2B5EF4-FFF2-40B4-BE49-F238E27FC236}">
                    <a16:creationId xmlns:a16="http://schemas.microsoft.com/office/drawing/2014/main" id="{6928D140-E3D3-4472-B50F-8FCA2933939C}"/>
                  </a:ext>
                </a:extLst>
              </p:cNvPr>
              <p:cNvSpPr>
                <a:spLocks/>
              </p:cNvSpPr>
              <p:nvPr/>
            </p:nvSpPr>
            <p:spPr bwMode="auto">
              <a:xfrm rot="21172157">
                <a:off x="7815272" y="2280892"/>
                <a:ext cx="817760" cy="302314"/>
              </a:xfrm>
              <a:custGeom>
                <a:avLst/>
                <a:gdLst>
                  <a:gd name="T0" fmla="*/ 26 w 52"/>
                  <a:gd name="T1" fmla="*/ 4 h 51"/>
                  <a:gd name="T2" fmla="*/ 18 w 52"/>
                  <a:gd name="T3" fmla="*/ 10 h 51"/>
                  <a:gd name="T4" fmla="*/ 10 w 52"/>
                  <a:gd name="T5" fmla="*/ 12 h 51"/>
                  <a:gd name="T6" fmla="*/ 3 w 52"/>
                  <a:gd name="T7" fmla="*/ 25 h 51"/>
                  <a:gd name="T8" fmla="*/ 16 w 52"/>
                  <a:gd name="T9" fmla="*/ 37 h 51"/>
                  <a:gd name="T10" fmla="*/ 34 w 52"/>
                  <a:gd name="T11" fmla="*/ 45 h 51"/>
                  <a:gd name="T12" fmla="*/ 46 w 52"/>
                  <a:gd name="T13" fmla="*/ 36 h 51"/>
                  <a:gd name="T14" fmla="*/ 46 w 52"/>
                  <a:gd name="T15" fmla="*/ 17 h 51"/>
                  <a:gd name="T16" fmla="*/ 34 w 52"/>
                  <a:gd name="T17" fmla="*/ 5 h 51"/>
                  <a:gd name="T18" fmla="*/ 26 w 52"/>
                  <a:gd name="T19" fmla="*/ 4 h 51"/>
                  <a:gd name="connsiteX0" fmla="*/ 4531 w 11136"/>
                  <a:gd name="connsiteY0" fmla="*/ 500 h 9017"/>
                  <a:gd name="connsiteX1" fmla="*/ 2993 w 11136"/>
                  <a:gd name="connsiteY1" fmla="*/ 1677 h 9017"/>
                  <a:gd name="connsiteX2" fmla="*/ 1454 w 11136"/>
                  <a:gd name="connsiteY2" fmla="*/ 2069 h 9017"/>
                  <a:gd name="connsiteX3" fmla="*/ 108 w 11136"/>
                  <a:gd name="connsiteY3" fmla="*/ 4618 h 9017"/>
                  <a:gd name="connsiteX4" fmla="*/ 2608 w 11136"/>
                  <a:gd name="connsiteY4" fmla="*/ 6971 h 9017"/>
                  <a:gd name="connsiteX5" fmla="*/ 6069 w 11136"/>
                  <a:gd name="connsiteY5" fmla="*/ 8540 h 9017"/>
                  <a:gd name="connsiteX6" fmla="*/ 8377 w 11136"/>
                  <a:gd name="connsiteY6" fmla="*/ 6775 h 9017"/>
                  <a:gd name="connsiteX7" fmla="*/ 10903 w 11136"/>
                  <a:gd name="connsiteY7" fmla="*/ 2255 h 9017"/>
                  <a:gd name="connsiteX8" fmla="*/ 6069 w 11136"/>
                  <a:gd name="connsiteY8" fmla="*/ 696 h 9017"/>
                  <a:gd name="connsiteX9" fmla="*/ 4531 w 11136"/>
                  <a:gd name="connsiteY9" fmla="*/ 500 h 9017"/>
                  <a:gd name="connsiteX0" fmla="*/ 4069 w 10292"/>
                  <a:gd name="connsiteY0" fmla="*/ 555 h 10000"/>
                  <a:gd name="connsiteX1" fmla="*/ 2688 w 10292"/>
                  <a:gd name="connsiteY1" fmla="*/ 1860 h 10000"/>
                  <a:gd name="connsiteX2" fmla="*/ 1306 w 10292"/>
                  <a:gd name="connsiteY2" fmla="*/ 2295 h 10000"/>
                  <a:gd name="connsiteX3" fmla="*/ 97 w 10292"/>
                  <a:gd name="connsiteY3" fmla="*/ 5121 h 10000"/>
                  <a:gd name="connsiteX4" fmla="*/ 2342 w 10292"/>
                  <a:gd name="connsiteY4" fmla="*/ 7731 h 10000"/>
                  <a:gd name="connsiteX5" fmla="*/ 5450 w 10292"/>
                  <a:gd name="connsiteY5" fmla="*/ 9471 h 10000"/>
                  <a:gd name="connsiteX6" fmla="*/ 9790 w 10292"/>
                  <a:gd name="connsiteY6" fmla="*/ 7375 h 10000"/>
                  <a:gd name="connsiteX7" fmla="*/ 9791 w 10292"/>
                  <a:gd name="connsiteY7" fmla="*/ 2501 h 10000"/>
                  <a:gd name="connsiteX8" fmla="*/ 5450 w 10292"/>
                  <a:gd name="connsiteY8" fmla="*/ 772 h 10000"/>
                  <a:gd name="connsiteX9" fmla="*/ 4069 w 10292"/>
                  <a:gd name="connsiteY9" fmla="*/ 555 h 10000"/>
                  <a:gd name="connsiteX0" fmla="*/ 4069 w 10292"/>
                  <a:gd name="connsiteY0" fmla="*/ 555 h 9288"/>
                  <a:gd name="connsiteX1" fmla="*/ 2688 w 10292"/>
                  <a:gd name="connsiteY1" fmla="*/ 1860 h 9288"/>
                  <a:gd name="connsiteX2" fmla="*/ 1306 w 10292"/>
                  <a:gd name="connsiteY2" fmla="*/ 2295 h 9288"/>
                  <a:gd name="connsiteX3" fmla="*/ 97 w 10292"/>
                  <a:gd name="connsiteY3" fmla="*/ 5121 h 9288"/>
                  <a:gd name="connsiteX4" fmla="*/ 2342 w 10292"/>
                  <a:gd name="connsiteY4" fmla="*/ 7731 h 9288"/>
                  <a:gd name="connsiteX5" fmla="*/ 7309 w 10292"/>
                  <a:gd name="connsiteY5" fmla="*/ 8822 h 9288"/>
                  <a:gd name="connsiteX6" fmla="*/ 9790 w 10292"/>
                  <a:gd name="connsiteY6" fmla="*/ 7375 h 9288"/>
                  <a:gd name="connsiteX7" fmla="*/ 9791 w 10292"/>
                  <a:gd name="connsiteY7" fmla="*/ 2501 h 9288"/>
                  <a:gd name="connsiteX8" fmla="*/ 5450 w 10292"/>
                  <a:gd name="connsiteY8" fmla="*/ 772 h 9288"/>
                  <a:gd name="connsiteX9" fmla="*/ 4069 w 10292"/>
                  <a:gd name="connsiteY9" fmla="*/ 555 h 9288"/>
                  <a:gd name="connsiteX0" fmla="*/ 3974 w 10019"/>
                  <a:gd name="connsiteY0" fmla="*/ 598 h 9866"/>
                  <a:gd name="connsiteX1" fmla="*/ 2632 w 10019"/>
                  <a:gd name="connsiteY1" fmla="*/ 2003 h 9866"/>
                  <a:gd name="connsiteX2" fmla="*/ 1289 w 10019"/>
                  <a:gd name="connsiteY2" fmla="*/ 2471 h 9866"/>
                  <a:gd name="connsiteX3" fmla="*/ 114 w 10019"/>
                  <a:gd name="connsiteY3" fmla="*/ 5514 h 9866"/>
                  <a:gd name="connsiteX4" fmla="*/ 4716 w 10019"/>
                  <a:gd name="connsiteY4" fmla="*/ 7226 h 9866"/>
                  <a:gd name="connsiteX5" fmla="*/ 7122 w 10019"/>
                  <a:gd name="connsiteY5" fmla="*/ 9498 h 9866"/>
                  <a:gd name="connsiteX6" fmla="*/ 9532 w 10019"/>
                  <a:gd name="connsiteY6" fmla="*/ 7940 h 9866"/>
                  <a:gd name="connsiteX7" fmla="*/ 9533 w 10019"/>
                  <a:gd name="connsiteY7" fmla="*/ 2693 h 9866"/>
                  <a:gd name="connsiteX8" fmla="*/ 5315 w 10019"/>
                  <a:gd name="connsiteY8" fmla="*/ 831 h 9866"/>
                  <a:gd name="connsiteX9" fmla="*/ 3974 w 10019"/>
                  <a:gd name="connsiteY9" fmla="*/ 598 h 9866"/>
                  <a:gd name="connsiteX0" fmla="*/ 3432 w 9467"/>
                  <a:gd name="connsiteY0" fmla="*/ 606 h 12399"/>
                  <a:gd name="connsiteX1" fmla="*/ 2093 w 9467"/>
                  <a:gd name="connsiteY1" fmla="*/ 2030 h 12399"/>
                  <a:gd name="connsiteX2" fmla="*/ 753 w 9467"/>
                  <a:gd name="connsiteY2" fmla="*/ 2505 h 12399"/>
                  <a:gd name="connsiteX3" fmla="*/ 157 w 9467"/>
                  <a:gd name="connsiteY3" fmla="*/ 12318 h 12399"/>
                  <a:gd name="connsiteX4" fmla="*/ 4173 w 9467"/>
                  <a:gd name="connsiteY4" fmla="*/ 7324 h 12399"/>
                  <a:gd name="connsiteX5" fmla="*/ 6574 w 9467"/>
                  <a:gd name="connsiteY5" fmla="*/ 9627 h 12399"/>
                  <a:gd name="connsiteX6" fmla="*/ 8980 w 9467"/>
                  <a:gd name="connsiteY6" fmla="*/ 8048 h 12399"/>
                  <a:gd name="connsiteX7" fmla="*/ 8981 w 9467"/>
                  <a:gd name="connsiteY7" fmla="*/ 2730 h 12399"/>
                  <a:gd name="connsiteX8" fmla="*/ 4771 w 9467"/>
                  <a:gd name="connsiteY8" fmla="*/ 842 h 12399"/>
                  <a:gd name="connsiteX9" fmla="*/ 3432 w 9467"/>
                  <a:gd name="connsiteY9" fmla="*/ 606 h 12399"/>
                  <a:gd name="connsiteX0" fmla="*/ 5344 w 11719"/>
                  <a:gd name="connsiteY0" fmla="*/ 488 h 9962"/>
                  <a:gd name="connsiteX1" fmla="*/ 3930 w 11719"/>
                  <a:gd name="connsiteY1" fmla="*/ 1636 h 9962"/>
                  <a:gd name="connsiteX2" fmla="*/ 0 w 11719"/>
                  <a:gd name="connsiteY2" fmla="*/ 3447 h 9962"/>
                  <a:gd name="connsiteX3" fmla="*/ 1885 w 11719"/>
                  <a:gd name="connsiteY3" fmla="*/ 9934 h 9962"/>
                  <a:gd name="connsiteX4" fmla="*/ 6127 w 11719"/>
                  <a:gd name="connsiteY4" fmla="*/ 5906 h 9962"/>
                  <a:gd name="connsiteX5" fmla="*/ 8663 w 11719"/>
                  <a:gd name="connsiteY5" fmla="*/ 7763 h 9962"/>
                  <a:gd name="connsiteX6" fmla="*/ 11205 w 11719"/>
                  <a:gd name="connsiteY6" fmla="*/ 6490 h 9962"/>
                  <a:gd name="connsiteX7" fmla="*/ 11206 w 11719"/>
                  <a:gd name="connsiteY7" fmla="*/ 2201 h 9962"/>
                  <a:gd name="connsiteX8" fmla="*/ 6759 w 11719"/>
                  <a:gd name="connsiteY8" fmla="*/ 678 h 9962"/>
                  <a:gd name="connsiteX9" fmla="*/ 5344 w 11719"/>
                  <a:gd name="connsiteY9" fmla="*/ 488 h 9962"/>
                  <a:gd name="connsiteX0" fmla="*/ 4560 w 10000"/>
                  <a:gd name="connsiteY0" fmla="*/ 490 h 10000"/>
                  <a:gd name="connsiteX1" fmla="*/ 3354 w 10000"/>
                  <a:gd name="connsiteY1" fmla="*/ 1642 h 10000"/>
                  <a:gd name="connsiteX2" fmla="*/ 0 w 10000"/>
                  <a:gd name="connsiteY2" fmla="*/ 3460 h 10000"/>
                  <a:gd name="connsiteX3" fmla="*/ 1608 w 10000"/>
                  <a:gd name="connsiteY3" fmla="*/ 9972 h 10000"/>
                  <a:gd name="connsiteX4" fmla="*/ 5228 w 10000"/>
                  <a:gd name="connsiteY4" fmla="*/ 5929 h 10000"/>
                  <a:gd name="connsiteX5" fmla="*/ 7392 w 10000"/>
                  <a:gd name="connsiteY5" fmla="*/ 7793 h 10000"/>
                  <a:gd name="connsiteX6" fmla="*/ 9561 w 10000"/>
                  <a:gd name="connsiteY6" fmla="*/ 6515 h 10000"/>
                  <a:gd name="connsiteX7" fmla="*/ 9562 w 10000"/>
                  <a:gd name="connsiteY7" fmla="*/ 2209 h 10000"/>
                  <a:gd name="connsiteX8" fmla="*/ 5768 w 10000"/>
                  <a:gd name="connsiteY8" fmla="*/ 681 h 10000"/>
                  <a:gd name="connsiteX9" fmla="*/ 4560 w 10000"/>
                  <a:gd name="connsiteY9" fmla="*/ 490 h 10000"/>
                  <a:gd name="connsiteX0" fmla="*/ 4982 w 10422"/>
                  <a:gd name="connsiteY0" fmla="*/ 490 h 9973"/>
                  <a:gd name="connsiteX1" fmla="*/ 3776 w 10422"/>
                  <a:gd name="connsiteY1" fmla="*/ 1642 h 9973"/>
                  <a:gd name="connsiteX2" fmla="*/ 0 w 10422"/>
                  <a:gd name="connsiteY2" fmla="*/ 5385 h 9973"/>
                  <a:gd name="connsiteX3" fmla="*/ 2030 w 10422"/>
                  <a:gd name="connsiteY3" fmla="*/ 9972 h 9973"/>
                  <a:gd name="connsiteX4" fmla="*/ 5650 w 10422"/>
                  <a:gd name="connsiteY4" fmla="*/ 5929 h 9973"/>
                  <a:gd name="connsiteX5" fmla="*/ 7814 w 10422"/>
                  <a:gd name="connsiteY5" fmla="*/ 7793 h 9973"/>
                  <a:gd name="connsiteX6" fmla="*/ 9983 w 10422"/>
                  <a:gd name="connsiteY6" fmla="*/ 6515 h 9973"/>
                  <a:gd name="connsiteX7" fmla="*/ 9984 w 10422"/>
                  <a:gd name="connsiteY7" fmla="*/ 2209 h 9973"/>
                  <a:gd name="connsiteX8" fmla="*/ 6190 w 10422"/>
                  <a:gd name="connsiteY8" fmla="*/ 681 h 9973"/>
                  <a:gd name="connsiteX9" fmla="*/ 4982 w 10422"/>
                  <a:gd name="connsiteY9" fmla="*/ 490 h 9973"/>
                  <a:gd name="connsiteX0" fmla="*/ 4780 w 10000"/>
                  <a:gd name="connsiteY0" fmla="*/ 491 h 10000"/>
                  <a:gd name="connsiteX1" fmla="*/ 1159 w 10000"/>
                  <a:gd name="connsiteY1" fmla="*/ 1276 h 10000"/>
                  <a:gd name="connsiteX2" fmla="*/ 0 w 10000"/>
                  <a:gd name="connsiteY2" fmla="*/ 5400 h 10000"/>
                  <a:gd name="connsiteX3" fmla="*/ 1948 w 10000"/>
                  <a:gd name="connsiteY3" fmla="*/ 9999 h 10000"/>
                  <a:gd name="connsiteX4" fmla="*/ 5421 w 10000"/>
                  <a:gd name="connsiteY4" fmla="*/ 5945 h 10000"/>
                  <a:gd name="connsiteX5" fmla="*/ 7498 w 10000"/>
                  <a:gd name="connsiteY5" fmla="*/ 7814 h 10000"/>
                  <a:gd name="connsiteX6" fmla="*/ 9579 w 10000"/>
                  <a:gd name="connsiteY6" fmla="*/ 6533 h 10000"/>
                  <a:gd name="connsiteX7" fmla="*/ 9580 w 10000"/>
                  <a:gd name="connsiteY7" fmla="*/ 2215 h 10000"/>
                  <a:gd name="connsiteX8" fmla="*/ 5939 w 10000"/>
                  <a:gd name="connsiteY8" fmla="*/ 683 h 10000"/>
                  <a:gd name="connsiteX9" fmla="*/ 4780 w 10000"/>
                  <a:gd name="connsiteY9" fmla="*/ 491 h 10000"/>
                  <a:gd name="connsiteX0" fmla="*/ 4032 w 10000"/>
                  <a:gd name="connsiteY0" fmla="*/ 240 h 10817"/>
                  <a:gd name="connsiteX1" fmla="*/ 1159 w 10000"/>
                  <a:gd name="connsiteY1" fmla="*/ 2093 h 10817"/>
                  <a:gd name="connsiteX2" fmla="*/ 0 w 10000"/>
                  <a:gd name="connsiteY2" fmla="*/ 6217 h 10817"/>
                  <a:gd name="connsiteX3" fmla="*/ 1948 w 10000"/>
                  <a:gd name="connsiteY3" fmla="*/ 10816 h 10817"/>
                  <a:gd name="connsiteX4" fmla="*/ 5421 w 10000"/>
                  <a:gd name="connsiteY4" fmla="*/ 6762 h 10817"/>
                  <a:gd name="connsiteX5" fmla="*/ 7498 w 10000"/>
                  <a:gd name="connsiteY5" fmla="*/ 8631 h 10817"/>
                  <a:gd name="connsiteX6" fmla="*/ 9579 w 10000"/>
                  <a:gd name="connsiteY6" fmla="*/ 7350 h 10817"/>
                  <a:gd name="connsiteX7" fmla="*/ 9580 w 10000"/>
                  <a:gd name="connsiteY7" fmla="*/ 3032 h 10817"/>
                  <a:gd name="connsiteX8" fmla="*/ 5939 w 10000"/>
                  <a:gd name="connsiteY8" fmla="*/ 1500 h 10817"/>
                  <a:gd name="connsiteX9" fmla="*/ 4032 w 10000"/>
                  <a:gd name="connsiteY9" fmla="*/ 240 h 10817"/>
                  <a:gd name="connsiteX0" fmla="*/ 4032 w 10000"/>
                  <a:gd name="connsiteY0" fmla="*/ 507 h 11084"/>
                  <a:gd name="connsiteX1" fmla="*/ 1159 w 10000"/>
                  <a:gd name="connsiteY1" fmla="*/ 2360 h 11084"/>
                  <a:gd name="connsiteX2" fmla="*/ 0 w 10000"/>
                  <a:gd name="connsiteY2" fmla="*/ 6484 h 11084"/>
                  <a:gd name="connsiteX3" fmla="*/ 1948 w 10000"/>
                  <a:gd name="connsiteY3" fmla="*/ 11083 h 11084"/>
                  <a:gd name="connsiteX4" fmla="*/ 5421 w 10000"/>
                  <a:gd name="connsiteY4" fmla="*/ 7029 h 11084"/>
                  <a:gd name="connsiteX5" fmla="*/ 7498 w 10000"/>
                  <a:gd name="connsiteY5" fmla="*/ 8898 h 11084"/>
                  <a:gd name="connsiteX6" fmla="*/ 9579 w 10000"/>
                  <a:gd name="connsiteY6" fmla="*/ 7617 h 11084"/>
                  <a:gd name="connsiteX7" fmla="*/ 9580 w 10000"/>
                  <a:gd name="connsiteY7" fmla="*/ 3299 h 11084"/>
                  <a:gd name="connsiteX8" fmla="*/ 8340 w 10000"/>
                  <a:gd name="connsiteY8" fmla="*/ 658 h 11084"/>
                  <a:gd name="connsiteX9" fmla="*/ 4032 w 10000"/>
                  <a:gd name="connsiteY9" fmla="*/ 507 h 11084"/>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67"/>
                  <a:gd name="connsiteX1" fmla="*/ 1159 w 10000"/>
                  <a:gd name="connsiteY1" fmla="*/ 2309 h 11067"/>
                  <a:gd name="connsiteX2" fmla="*/ 0 w 10000"/>
                  <a:gd name="connsiteY2" fmla="*/ 6433 h 11067"/>
                  <a:gd name="connsiteX3" fmla="*/ 1948 w 10000"/>
                  <a:gd name="connsiteY3" fmla="*/ 11032 h 11067"/>
                  <a:gd name="connsiteX4" fmla="*/ 4641 w 10000"/>
                  <a:gd name="connsiteY4" fmla="*/ 8580 h 11067"/>
                  <a:gd name="connsiteX5" fmla="*/ 7498 w 10000"/>
                  <a:gd name="connsiteY5" fmla="*/ 8847 h 11067"/>
                  <a:gd name="connsiteX6" fmla="*/ 9579 w 10000"/>
                  <a:gd name="connsiteY6" fmla="*/ 7566 h 11067"/>
                  <a:gd name="connsiteX7" fmla="*/ 9580 w 10000"/>
                  <a:gd name="connsiteY7" fmla="*/ 3248 h 11067"/>
                  <a:gd name="connsiteX8" fmla="*/ 8340 w 10000"/>
                  <a:gd name="connsiteY8" fmla="*/ 607 h 11067"/>
                  <a:gd name="connsiteX9" fmla="*/ 4032 w 10000"/>
                  <a:gd name="connsiteY9" fmla="*/ 456 h 11067"/>
                  <a:gd name="connsiteX0" fmla="*/ 4032 w 10000"/>
                  <a:gd name="connsiteY0" fmla="*/ 456 h 11053"/>
                  <a:gd name="connsiteX1" fmla="*/ 1159 w 10000"/>
                  <a:gd name="connsiteY1" fmla="*/ 2309 h 11053"/>
                  <a:gd name="connsiteX2" fmla="*/ 0 w 10000"/>
                  <a:gd name="connsiteY2" fmla="*/ 6433 h 11053"/>
                  <a:gd name="connsiteX3" fmla="*/ 1948 w 10000"/>
                  <a:gd name="connsiteY3" fmla="*/ 11032 h 11053"/>
                  <a:gd name="connsiteX4" fmla="*/ 4641 w 10000"/>
                  <a:gd name="connsiteY4" fmla="*/ 8580 h 11053"/>
                  <a:gd name="connsiteX5" fmla="*/ 7498 w 10000"/>
                  <a:gd name="connsiteY5" fmla="*/ 8847 h 11053"/>
                  <a:gd name="connsiteX6" fmla="*/ 9579 w 10000"/>
                  <a:gd name="connsiteY6" fmla="*/ 7566 h 11053"/>
                  <a:gd name="connsiteX7" fmla="*/ 9580 w 10000"/>
                  <a:gd name="connsiteY7" fmla="*/ 3248 h 11053"/>
                  <a:gd name="connsiteX8" fmla="*/ 8340 w 10000"/>
                  <a:gd name="connsiteY8" fmla="*/ 607 h 11053"/>
                  <a:gd name="connsiteX9" fmla="*/ 4032 w 10000"/>
                  <a:gd name="connsiteY9" fmla="*/ 456 h 11053"/>
                  <a:gd name="connsiteX0" fmla="*/ 4032 w 10000"/>
                  <a:gd name="connsiteY0" fmla="*/ 456 h 11130"/>
                  <a:gd name="connsiteX1" fmla="*/ 1159 w 10000"/>
                  <a:gd name="connsiteY1" fmla="*/ 2309 h 11130"/>
                  <a:gd name="connsiteX2" fmla="*/ 0 w 10000"/>
                  <a:gd name="connsiteY2" fmla="*/ 6433 h 11130"/>
                  <a:gd name="connsiteX3" fmla="*/ 1948 w 10000"/>
                  <a:gd name="connsiteY3" fmla="*/ 11032 h 11130"/>
                  <a:gd name="connsiteX4" fmla="*/ 4641 w 10000"/>
                  <a:gd name="connsiteY4" fmla="*/ 8580 h 11130"/>
                  <a:gd name="connsiteX5" fmla="*/ 7498 w 10000"/>
                  <a:gd name="connsiteY5" fmla="*/ 8847 h 11130"/>
                  <a:gd name="connsiteX6" fmla="*/ 9579 w 10000"/>
                  <a:gd name="connsiteY6" fmla="*/ 7566 h 11130"/>
                  <a:gd name="connsiteX7" fmla="*/ 9580 w 10000"/>
                  <a:gd name="connsiteY7" fmla="*/ 3248 h 11130"/>
                  <a:gd name="connsiteX8" fmla="*/ 8340 w 10000"/>
                  <a:gd name="connsiteY8" fmla="*/ 607 h 11130"/>
                  <a:gd name="connsiteX9" fmla="*/ 4032 w 10000"/>
                  <a:gd name="connsiteY9" fmla="*/ 456 h 11130"/>
                  <a:gd name="connsiteX0" fmla="*/ 4662 w 10630"/>
                  <a:gd name="connsiteY0" fmla="*/ 456 h 11130"/>
                  <a:gd name="connsiteX1" fmla="*/ 1789 w 10630"/>
                  <a:gd name="connsiteY1" fmla="*/ 2309 h 11130"/>
                  <a:gd name="connsiteX2" fmla="*/ 630 w 10630"/>
                  <a:gd name="connsiteY2" fmla="*/ 6433 h 11130"/>
                  <a:gd name="connsiteX3" fmla="*/ 2578 w 10630"/>
                  <a:gd name="connsiteY3" fmla="*/ 11032 h 11130"/>
                  <a:gd name="connsiteX4" fmla="*/ 5271 w 10630"/>
                  <a:gd name="connsiteY4" fmla="*/ 8580 h 11130"/>
                  <a:gd name="connsiteX5" fmla="*/ 8128 w 10630"/>
                  <a:gd name="connsiteY5" fmla="*/ 8847 h 11130"/>
                  <a:gd name="connsiteX6" fmla="*/ 10209 w 10630"/>
                  <a:gd name="connsiteY6" fmla="*/ 7566 h 11130"/>
                  <a:gd name="connsiteX7" fmla="*/ 10210 w 10630"/>
                  <a:gd name="connsiteY7" fmla="*/ 3248 h 11130"/>
                  <a:gd name="connsiteX8" fmla="*/ 8970 w 10630"/>
                  <a:gd name="connsiteY8" fmla="*/ 607 h 11130"/>
                  <a:gd name="connsiteX9" fmla="*/ 4662 w 10630"/>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2836"/>
                  <a:gd name="connsiteX1" fmla="*/ 2266 w 11107"/>
                  <a:gd name="connsiteY1" fmla="*/ 2309 h 12836"/>
                  <a:gd name="connsiteX2" fmla="*/ 546 w 11107"/>
                  <a:gd name="connsiteY2" fmla="*/ 6228 h 12836"/>
                  <a:gd name="connsiteX3" fmla="*/ 3055 w 11107"/>
                  <a:gd name="connsiteY3" fmla="*/ 11032 h 12836"/>
                  <a:gd name="connsiteX4" fmla="*/ 5748 w 11107"/>
                  <a:gd name="connsiteY4" fmla="*/ 8580 h 12836"/>
                  <a:gd name="connsiteX5" fmla="*/ 8605 w 11107"/>
                  <a:gd name="connsiteY5" fmla="*/ 8847 h 12836"/>
                  <a:gd name="connsiteX6" fmla="*/ 10686 w 11107"/>
                  <a:gd name="connsiteY6" fmla="*/ 7566 h 12836"/>
                  <a:gd name="connsiteX7" fmla="*/ 10687 w 11107"/>
                  <a:gd name="connsiteY7" fmla="*/ 3248 h 12836"/>
                  <a:gd name="connsiteX8" fmla="*/ 9447 w 11107"/>
                  <a:gd name="connsiteY8" fmla="*/ 607 h 12836"/>
                  <a:gd name="connsiteX9" fmla="*/ 5139 w 11107"/>
                  <a:gd name="connsiteY9" fmla="*/ 456 h 12836"/>
                  <a:gd name="connsiteX0" fmla="*/ 5139 w 11107"/>
                  <a:gd name="connsiteY0" fmla="*/ 456 h 13188"/>
                  <a:gd name="connsiteX1" fmla="*/ 2266 w 11107"/>
                  <a:gd name="connsiteY1" fmla="*/ 2309 h 13188"/>
                  <a:gd name="connsiteX2" fmla="*/ 546 w 11107"/>
                  <a:gd name="connsiteY2" fmla="*/ 6228 h 13188"/>
                  <a:gd name="connsiteX3" fmla="*/ 3055 w 11107"/>
                  <a:gd name="connsiteY3" fmla="*/ 11032 h 13188"/>
                  <a:gd name="connsiteX4" fmla="*/ 5748 w 11107"/>
                  <a:gd name="connsiteY4" fmla="*/ 8580 h 13188"/>
                  <a:gd name="connsiteX5" fmla="*/ 8886 w 11107"/>
                  <a:gd name="connsiteY5" fmla="*/ 9792 h 13188"/>
                  <a:gd name="connsiteX6" fmla="*/ 10686 w 11107"/>
                  <a:gd name="connsiteY6" fmla="*/ 7566 h 13188"/>
                  <a:gd name="connsiteX7" fmla="*/ 10687 w 11107"/>
                  <a:gd name="connsiteY7" fmla="*/ 3248 h 13188"/>
                  <a:gd name="connsiteX8" fmla="*/ 9447 w 11107"/>
                  <a:gd name="connsiteY8" fmla="*/ 607 h 13188"/>
                  <a:gd name="connsiteX9" fmla="*/ 5139 w 11107"/>
                  <a:gd name="connsiteY9" fmla="*/ 456 h 13188"/>
                  <a:gd name="connsiteX0" fmla="*/ 5139 w 11107"/>
                  <a:gd name="connsiteY0" fmla="*/ 922 h 13654"/>
                  <a:gd name="connsiteX1" fmla="*/ 2266 w 11107"/>
                  <a:gd name="connsiteY1" fmla="*/ 2775 h 13654"/>
                  <a:gd name="connsiteX2" fmla="*/ 546 w 11107"/>
                  <a:gd name="connsiteY2" fmla="*/ 6694 h 13654"/>
                  <a:gd name="connsiteX3" fmla="*/ 3055 w 11107"/>
                  <a:gd name="connsiteY3" fmla="*/ 11498 h 13654"/>
                  <a:gd name="connsiteX4" fmla="*/ 5748 w 11107"/>
                  <a:gd name="connsiteY4" fmla="*/ 9046 h 13654"/>
                  <a:gd name="connsiteX5" fmla="*/ 8886 w 11107"/>
                  <a:gd name="connsiteY5" fmla="*/ 10258 h 13654"/>
                  <a:gd name="connsiteX6" fmla="*/ 10686 w 11107"/>
                  <a:gd name="connsiteY6" fmla="*/ 8032 h 13654"/>
                  <a:gd name="connsiteX7" fmla="*/ 10687 w 11107"/>
                  <a:gd name="connsiteY7" fmla="*/ 3714 h 13654"/>
                  <a:gd name="connsiteX8" fmla="*/ 9447 w 11107"/>
                  <a:gd name="connsiteY8" fmla="*/ 1073 h 13654"/>
                  <a:gd name="connsiteX9" fmla="*/ 5139 w 11107"/>
                  <a:gd name="connsiteY9" fmla="*/ 922 h 13654"/>
                  <a:gd name="connsiteX0" fmla="*/ 5139 w 11107"/>
                  <a:gd name="connsiteY0" fmla="*/ 1423 h 14155"/>
                  <a:gd name="connsiteX1" fmla="*/ 2266 w 11107"/>
                  <a:gd name="connsiteY1" fmla="*/ 3276 h 14155"/>
                  <a:gd name="connsiteX2" fmla="*/ 546 w 11107"/>
                  <a:gd name="connsiteY2" fmla="*/ 7195 h 14155"/>
                  <a:gd name="connsiteX3" fmla="*/ 3055 w 11107"/>
                  <a:gd name="connsiteY3" fmla="*/ 11999 h 14155"/>
                  <a:gd name="connsiteX4" fmla="*/ 5748 w 11107"/>
                  <a:gd name="connsiteY4" fmla="*/ 9547 h 14155"/>
                  <a:gd name="connsiteX5" fmla="*/ 8886 w 11107"/>
                  <a:gd name="connsiteY5" fmla="*/ 10759 h 14155"/>
                  <a:gd name="connsiteX6" fmla="*/ 10686 w 11107"/>
                  <a:gd name="connsiteY6" fmla="*/ 8533 h 14155"/>
                  <a:gd name="connsiteX7" fmla="*/ 10687 w 11107"/>
                  <a:gd name="connsiteY7" fmla="*/ 4215 h 14155"/>
                  <a:gd name="connsiteX8" fmla="*/ 9728 w 11107"/>
                  <a:gd name="connsiteY8" fmla="*/ 835 h 14155"/>
                  <a:gd name="connsiteX9" fmla="*/ 5139 w 11107"/>
                  <a:gd name="connsiteY9" fmla="*/ 1423 h 14155"/>
                  <a:gd name="connsiteX0" fmla="*/ 5139 w 12384"/>
                  <a:gd name="connsiteY0" fmla="*/ 1423 h 14155"/>
                  <a:gd name="connsiteX1" fmla="*/ 2266 w 12384"/>
                  <a:gd name="connsiteY1" fmla="*/ 3276 h 14155"/>
                  <a:gd name="connsiteX2" fmla="*/ 546 w 12384"/>
                  <a:gd name="connsiteY2" fmla="*/ 7195 h 14155"/>
                  <a:gd name="connsiteX3" fmla="*/ 3055 w 12384"/>
                  <a:gd name="connsiteY3" fmla="*/ 11999 h 14155"/>
                  <a:gd name="connsiteX4" fmla="*/ 5748 w 12384"/>
                  <a:gd name="connsiteY4" fmla="*/ 9547 h 14155"/>
                  <a:gd name="connsiteX5" fmla="*/ 8886 w 12384"/>
                  <a:gd name="connsiteY5" fmla="*/ 10759 h 14155"/>
                  <a:gd name="connsiteX6" fmla="*/ 10686 w 12384"/>
                  <a:gd name="connsiteY6" fmla="*/ 8533 h 14155"/>
                  <a:gd name="connsiteX7" fmla="*/ 12184 w 12384"/>
                  <a:gd name="connsiteY7" fmla="*/ 3927 h 14155"/>
                  <a:gd name="connsiteX8" fmla="*/ 9728 w 12384"/>
                  <a:gd name="connsiteY8" fmla="*/ 835 h 14155"/>
                  <a:gd name="connsiteX9" fmla="*/ 5139 w 12384"/>
                  <a:gd name="connsiteY9" fmla="*/ 1423 h 14155"/>
                  <a:gd name="connsiteX0" fmla="*/ 5139 w 12562"/>
                  <a:gd name="connsiteY0" fmla="*/ 1423 h 14155"/>
                  <a:gd name="connsiteX1" fmla="*/ 2266 w 12562"/>
                  <a:gd name="connsiteY1" fmla="*/ 3276 h 14155"/>
                  <a:gd name="connsiteX2" fmla="*/ 546 w 12562"/>
                  <a:gd name="connsiteY2" fmla="*/ 7195 h 14155"/>
                  <a:gd name="connsiteX3" fmla="*/ 3055 w 12562"/>
                  <a:gd name="connsiteY3" fmla="*/ 11999 h 14155"/>
                  <a:gd name="connsiteX4" fmla="*/ 5748 w 12562"/>
                  <a:gd name="connsiteY4" fmla="*/ 9547 h 14155"/>
                  <a:gd name="connsiteX5" fmla="*/ 8886 w 12562"/>
                  <a:gd name="connsiteY5" fmla="*/ 10759 h 14155"/>
                  <a:gd name="connsiteX6" fmla="*/ 12027 w 12562"/>
                  <a:gd name="connsiteY6" fmla="*/ 8163 h 14155"/>
                  <a:gd name="connsiteX7" fmla="*/ 12184 w 12562"/>
                  <a:gd name="connsiteY7" fmla="*/ 3927 h 14155"/>
                  <a:gd name="connsiteX8" fmla="*/ 9728 w 12562"/>
                  <a:gd name="connsiteY8" fmla="*/ 835 h 14155"/>
                  <a:gd name="connsiteX9" fmla="*/ 5139 w 12562"/>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53"/>
                  <a:gd name="connsiteY0" fmla="*/ 1423 h 14155"/>
                  <a:gd name="connsiteX1" fmla="*/ 2266 w 14753"/>
                  <a:gd name="connsiteY1" fmla="*/ 3276 h 14155"/>
                  <a:gd name="connsiteX2" fmla="*/ 546 w 14753"/>
                  <a:gd name="connsiteY2" fmla="*/ 7195 h 14155"/>
                  <a:gd name="connsiteX3" fmla="*/ 3055 w 14753"/>
                  <a:gd name="connsiteY3" fmla="*/ 11999 h 14155"/>
                  <a:gd name="connsiteX4" fmla="*/ 5748 w 14753"/>
                  <a:gd name="connsiteY4" fmla="*/ 9547 h 14155"/>
                  <a:gd name="connsiteX5" fmla="*/ 8886 w 14753"/>
                  <a:gd name="connsiteY5" fmla="*/ 10759 h 14155"/>
                  <a:gd name="connsiteX6" fmla="*/ 11965 w 14753"/>
                  <a:gd name="connsiteY6" fmla="*/ 8779 h 14155"/>
                  <a:gd name="connsiteX7" fmla="*/ 12184 w 14753"/>
                  <a:gd name="connsiteY7" fmla="*/ 3927 h 14155"/>
                  <a:gd name="connsiteX8" fmla="*/ 9728 w 14753"/>
                  <a:gd name="connsiteY8" fmla="*/ 835 h 14155"/>
                  <a:gd name="connsiteX9" fmla="*/ 5139 w 14753"/>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661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69"/>
                  <a:gd name="connsiteX1" fmla="*/ 2697 w 16991"/>
                  <a:gd name="connsiteY1" fmla="*/ 3276 h 14169"/>
                  <a:gd name="connsiteX2" fmla="*/ 1039 w 16991"/>
                  <a:gd name="connsiteY2" fmla="*/ 6661 h 14169"/>
                  <a:gd name="connsiteX3" fmla="*/ 2831 w 16991"/>
                  <a:gd name="connsiteY3" fmla="*/ 11547 h 14169"/>
                  <a:gd name="connsiteX4" fmla="*/ 6179 w 16991"/>
                  <a:gd name="connsiteY4" fmla="*/ 9547 h 14169"/>
                  <a:gd name="connsiteX5" fmla="*/ 9317 w 16991"/>
                  <a:gd name="connsiteY5" fmla="*/ 10759 h 14169"/>
                  <a:gd name="connsiteX6" fmla="*/ 12396 w 16991"/>
                  <a:gd name="connsiteY6" fmla="*/ 8779 h 14169"/>
                  <a:gd name="connsiteX7" fmla="*/ 12615 w 16991"/>
                  <a:gd name="connsiteY7" fmla="*/ 3927 h 14169"/>
                  <a:gd name="connsiteX8" fmla="*/ 10159 w 16991"/>
                  <a:gd name="connsiteY8" fmla="*/ 835 h 14169"/>
                  <a:gd name="connsiteX9" fmla="*/ 5570 w 16991"/>
                  <a:gd name="connsiteY9" fmla="*/ 1423 h 14169"/>
                  <a:gd name="connsiteX0" fmla="*/ 5570 w 16991"/>
                  <a:gd name="connsiteY0" fmla="*/ 1423 h 14319"/>
                  <a:gd name="connsiteX1" fmla="*/ 2697 w 16991"/>
                  <a:gd name="connsiteY1" fmla="*/ 3276 h 14319"/>
                  <a:gd name="connsiteX2" fmla="*/ 1039 w 16991"/>
                  <a:gd name="connsiteY2" fmla="*/ 6661 h 14319"/>
                  <a:gd name="connsiteX3" fmla="*/ 2831 w 16991"/>
                  <a:gd name="connsiteY3" fmla="*/ 11547 h 14319"/>
                  <a:gd name="connsiteX4" fmla="*/ 6241 w 16991"/>
                  <a:gd name="connsiteY4" fmla="*/ 10204 h 14319"/>
                  <a:gd name="connsiteX5" fmla="*/ 9317 w 16991"/>
                  <a:gd name="connsiteY5" fmla="*/ 10759 h 14319"/>
                  <a:gd name="connsiteX6" fmla="*/ 12396 w 16991"/>
                  <a:gd name="connsiteY6" fmla="*/ 8779 h 14319"/>
                  <a:gd name="connsiteX7" fmla="*/ 12615 w 16991"/>
                  <a:gd name="connsiteY7" fmla="*/ 3927 h 14319"/>
                  <a:gd name="connsiteX8" fmla="*/ 10159 w 16991"/>
                  <a:gd name="connsiteY8" fmla="*/ 835 h 14319"/>
                  <a:gd name="connsiteX9" fmla="*/ 5570 w 16991"/>
                  <a:gd name="connsiteY9" fmla="*/ 1423 h 14319"/>
                  <a:gd name="connsiteX0" fmla="*/ 5570 w 16991"/>
                  <a:gd name="connsiteY0" fmla="*/ 1423 h 14440"/>
                  <a:gd name="connsiteX1" fmla="*/ 2697 w 16991"/>
                  <a:gd name="connsiteY1" fmla="*/ 3276 h 14440"/>
                  <a:gd name="connsiteX2" fmla="*/ 1039 w 16991"/>
                  <a:gd name="connsiteY2" fmla="*/ 6661 h 14440"/>
                  <a:gd name="connsiteX3" fmla="*/ 2831 w 16991"/>
                  <a:gd name="connsiteY3" fmla="*/ 11547 h 14440"/>
                  <a:gd name="connsiteX4" fmla="*/ 6241 w 16991"/>
                  <a:gd name="connsiteY4" fmla="*/ 10204 h 14440"/>
                  <a:gd name="connsiteX5" fmla="*/ 9317 w 16991"/>
                  <a:gd name="connsiteY5" fmla="*/ 10759 h 14440"/>
                  <a:gd name="connsiteX6" fmla="*/ 12396 w 16991"/>
                  <a:gd name="connsiteY6" fmla="*/ 8779 h 14440"/>
                  <a:gd name="connsiteX7" fmla="*/ 12615 w 16991"/>
                  <a:gd name="connsiteY7" fmla="*/ 3927 h 14440"/>
                  <a:gd name="connsiteX8" fmla="*/ 10159 w 16991"/>
                  <a:gd name="connsiteY8" fmla="*/ 835 h 14440"/>
                  <a:gd name="connsiteX9" fmla="*/ 5570 w 16991"/>
                  <a:gd name="connsiteY9" fmla="*/ 1423 h 14440"/>
                  <a:gd name="connsiteX0" fmla="*/ 5570 w 16991"/>
                  <a:gd name="connsiteY0" fmla="*/ 1423 h 14549"/>
                  <a:gd name="connsiteX1" fmla="*/ 2697 w 16991"/>
                  <a:gd name="connsiteY1" fmla="*/ 3276 h 14549"/>
                  <a:gd name="connsiteX2" fmla="*/ 1039 w 16991"/>
                  <a:gd name="connsiteY2" fmla="*/ 6661 h 14549"/>
                  <a:gd name="connsiteX3" fmla="*/ 2831 w 16991"/>
                  <a:gd name="connsiteY3" fmla="*/ 11547 h 14549"/>
                  <a:gd name="connsiteX4" fmla="*/ 6241 w 16991"/>
                  <a:gd name="connsiteY4" fmla="*/ 10204 h 14549"/>
                  <a:gd name="connsiteX5" fmla="*/ 9317 w 16991"/>
                  <a:gd name="connsiteY5" fmla="*/ 10759 h 14549"/>
                  <a:gd name="connsiteX6" fmla="*/ 12396 w 16991"/>
                  <a:gd name="connsiteY6" fmla="*/ 8779 h 14549"/>
                  <a:gd name="connsiteX7" fmla="*/ 12615 w 16991"/>
                  <a:gd name="connsiteY7" fmla="*/ 3927 h 14549"/>
                  <a:gd name="connsiteX8" fmla="*/ 10159 w 16991"/>
                  <a:gd name="connsiteY8" fmla="*/ 835 h 14549"/>
                  <a:gd name="connsiteX9" fmla="*/ 5570 w 16991"/>
                  <a:gd name="connsiteY9" fmla="*/ 1423 h 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991" h="14549">
                    <a:moveTo>
                      <a:pt x="5570" y="1423"/>
                    </a:moveTo>
                    <a:cubicBezTo>
                      <a:pt x="5570" y="1423"/>
                      <a:pt x="3130" y="3084"/>
                      <a:pt x="2697" y="3276"/>
                    </a:cubicBezTo>
                    <a:cubicBezTo>
                      <a:pt x="2116" y="3276"/>
                      <a:pt x="-1842" y="6053"/>
                      <a:pt x="1039" y="6661"/>
                    </a:cubicBezTo>
                    <a:cubicBezTo>
                      <a:pt x="7088" y="4584"/>
                      <a:pt x="1964" y="10957"/>
                      <a:pt x="2831" y="11547"/>
                    </a:cubicBezTo>
                    <a:cubicBezTo>
                      <a:pt x="3698" y="12137"/>
                      <a:pt x="5378" y="9267"/>
                      <a:pt x="6241" y="10204"/>
                    </a:cubicBezTo>
                    <a:cubicBezTo>
                      <a:pt x="7104" y="11141"/>
                      <a:pt x="8518" y="19143"/>
                      <a:pt x="9317" y="10759"/>
                    </a:cubicBezTo>
                    <a:cubicBezTo>
                      <a:pt x="9836" y="7618"/>
                      <a:pt x="10455" y="8698"/>
                      <a:pt x="12396" y="8779"/>
                    </a:cubicBezTo>
                    <a:cubicBezTo>
                      <a:pt x="22146" y="14045"/>
                      <a:pt x="13484" y="5276"/>
                      <a:pt x="12615" y="3927"/>
                    </a:cubicBezTo>
                    <a:cubicBezTo>
                      <a:pt x="11601" y="2772"/>
                      <a:pt x="11853" y="1347"/>
                      <a:pt x="10159" y="835"/>
                    </a:cubicBezTo>
                    <a:cubicBezTo>
                      <a:pt x="8883" y="-1003"/>
                      <a:pt x="5715" y="652"/>
                      <a:pt x="5570" y="1423"/>
                    </a:cubicBezTo>
                    <a:close/>
                  </a:path>
                </a:pathLst>
              </a:custGeom>
              <a:solidFill>
                <a:srgbClr val="FFC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46" name="Oval 284">
                <a:extLst>
                  <a:ext uri="{FF2B5EF4-FFF2-40B4-BE49-F238E27FC236}">
                    <a16:creationId xmlns:a16="http://schemas.microsoft.com/office/drawing/2014/main" id="{58B207C5-4B30-4672-9928-C7CFAD3756AA}"/>
                  </a:ext>
                </a:extLst>
              </p:cNvPr>
              <p:cNvSpPr>
                <a:spLocks noChangeArrowheads="1"/>
              </p:cNvSpPr>
              <p:nvPr/>
            </p:nvSpPr>
            <p:spPr bwMode="auto">
              <a:xfrm rot="15772157">
                <a:off x="8188752" y="2258212"/>
                <a:ext cx="63039" cy="160334"/>
              </a:xfrm>
              <a:prstGeom prst="ellipse">
                <a:avLst/>
              </a:prstGeom>
              <a:solidFill>
                <a:srgbClr val="E2A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7" name="Group 16">
              <a:extLst>
                <a:ext uri="{FF2B5EF4-FFF2-40B4-BE49-F238E27FC236}">
                  <a16:creationId xmlns:a16="http://schemas.microsoft.com/office/drawing/2014/main" id="{4611660B-980B-4361-994F-74CDC61392EB}"/>
                </a:ext>
              </a:extLst>
            </p:cNvPr>
            <p:cNvGrpSpPr/>
            <p:nvPr/>
          </p:nvGrpSpPr>
          <p:grpSpPr>
            <a:xfrm rot="14261828">
              <a:off x="6803664" y="3016711"/>
              <a:ext cx="614395" cy="302314"/>
              <a:chOff x="7815272" y="2280892"/>
              <a:chExt cx="817760" cy="302314"/>
            </a:xfrm>
          </p:grpSpPr>
          <p:sp>
            <p:nvSpPr>
              <p:cNvPr id="243" name="Freeform 283">
                <a:extLst>
                  <a:ext uri="{FF2B5EF4-FFF2-40B4-BE49-F238E27FC236}">
                    <a16:creationId xmlns:a16="http://schemas.microsoft.com/office/drawing/2014/main" id="{A66C606A-B6B7-43D8-9CF5-316EC4820D19}"/>
                  </a:ext>
                </a:extLst>
              </p:cNvPr>
              <p:cNvSpPr>
                <a:spLocks/>
              </p:cNvSpPr>
              <p:nvPr/>
            </p:nvSpPr>
            <p:spPr bwMode="auto">
              <a:xfrm rot="21172157">
                <a:off x="7815272" y="2280892"/>
                <a:ext cx="817760" cy="302314"/>
              </a:xfrm>
              <a:custGeom>
                <a:avLst/>
                <a:gdLst>
                  <a:gd name="T0" fmla="*/ 26 w 52"/>
                  <a:gd name="T1" fmla="*/ 4 h 51"/>
                  <a:gd name="T2" fmla="*/ 18 w 52"/>
                  <a:gd name="T3" fmla="*/ 10 h 51"/>
                  <a:gd name="T4" fmla="*/ 10 w 52"/>
                  <a:gd name="T5" fmla="*/ 12 h 51"/>
                  <a:gd name="T6" fmla="*/ 3 w 52"/>
                  <a:gd name="T7" fmla="*/ 25 h 51"/>
                  <a:gd name="T8" fmla="*/ 16 w 52"/>
                  <a:gd name="T9" fmla="*/ 37 h 51"/>
                  <a:gd name="T10" fmla="*/ 34 w 52"/>
                  <a:gd name="T11" fmla="*/ 45 h 51"/>
                  <a:gd name="T12" fmla="*/ 46 w 52"/>
                  <a:gd name="T13" fmla="*/ 36 h 51"/>
                  <a:gd name="T14" fmla="*/ 46 w 52"/>
                  <a:gd name="T15" fmla="*/ 17 h 51"/>
                  <a:gd name="T16" fmla="*/ 34 w 52"/>
                  <a:gd name="T17" fmla="*/ 5 h 51"/>
                  <a:gd name="T18" fmla="*/ 26 w 52"/>
                  <a:gd name="T19" fmla="*/ 4 h 51"/>
                  <a:gd name="connsiteX0" fmla="*/ 4531 w 11136"/>
                  <a:gd name="connsiteY0" fmla="*/ 500 h 9017"/>
                  <a:gd name="connsiteX1" fmla="*/ 2993 w 11136"/>
                  <a:gd name="connsiteY1" fmla="*/ 1677 h 9017"/>
                  <a:gd name="connsiteX2" fmla="*/ 1454 w 11136"/>
                  <a:gd name="connsiteY2" fmla="*/ 2069 h 9017"/>
                  <a:gd name="connsiteX3" fmla="*/ 108 w 11136"/>
                  <a:gd name="connsiteY3" fmla="*/ 4618 h 9017"/>
                  <a:gd name="connsiteX4" fmla="*/ 2608 w 11136"/>
                  <a:gd name="connsiteY4" fmla="*/ 6971 h 9017"/>
                  <a:gd name="connsiteX5" fmla="*/ 6069 w 11136"/>
                  <a:gd name="connsiteY5" fmla="*/ 8540 h 9017"/>
                  <a:gd name="connsiteX6" fmla="*/ 8377 w 11136"/>
                  <a:gd name="connsiteY6" fmla="*/ 6775 h 9017"/>
                  <a:gd name="connsiteX7" fmla="*/ 10903 w 11136"/>
                  <a:gd name="connsiteY7" fmla="*/ 2255 h 9017"/>
                  <a:gd name="connsiteX8" fmla="*/ 6069 w 11136"/>
                  <a:gd name="connsiteY8" fmla="*/ 696 h 9017"/>
                  <a:gd name="connsiteX9" fmla="*/ 4531 w 11136"/>
                  <a:gd name="connsiteY9" fmla="*/ 500 h 9017"/>
                  <a:gd name="connsiteX0" fmla="*/ 4069 w 10292"/>
                  <a:gd name="connsiteY0" fmla="*/ 555 h 10000"/>
                  <a:gd name="connsiteX1" fmla="*/ 2688 w 10292"/>
                  <a:gd name="connsiteY1" fmla="*/ 1860 h 10000"/>
                  <a:gd name="connsiteX2" fmla="*/ 1306 w 10292"/>
                  <a:gd name="connsiteY2" fmla="*/ 2295 h 10000"/>
                  <a:gd name="connsiteX3" fmla="*/ 97 w 10292"/>
                  <a:gd name="connsiteY3" fmla="*/ 5121 h 10000"/>
                  <a:gd name="connsiteX4" fmla="*/ 2342 w 10292"/>
                  <a:gd name="connsiteY4" fmla="*/ 7731 h 10000"/>
                  <a:gd name="connsiteX5" fmla="*/ 5450 w 10292"/>
                  <a:gd name="connsiteY5" fmla="*/ 9471 h 10000"/>
                  <a:gd name="connsiteX6" fmla="*/ 9790 w 10292"/>
                  <a:gd name="connsiteY6" fmla="*/ 7375 h 10000"/>
                  <a:gd name="connsiteX7" fmla="*/ 9791 w 10292"/>
                  <a:gd name="connsiteY7" fmla="*/ 2501 h 10000"/>
                  <a:gd name="connsiteX8" fmla="*/ 5450 w 10292"/>
                  <a:gd name="connsiteY8" fmla="*/ 772 h 10000"/>
                  <a:gd name="connsiteX9" fmla="*/ 4069 w 10292"/>
                  <a:gd name="connsiteY9" fmla="*/ 555 h 10000"/>
                  <a:gd name="connsiteX0" fmla="*/ 4069 w 10292"/>
                  <a:gd name="connsiteY0" fmla="*/ 555 h 9288"/>
                  <a:gd name="connsiteX1" fmla="*/ 2688 w 10292"/>
                  <a:gd name="connsiteY1" fmla="*/ 1860 h 9288"/>
                  <a:gd name="connsiteX2" fmla="*/ 1306 w 10292"/>
                  <a:gd name="connsiteY2" fmla="*/ 2295 h 9288"/>
                  <a:gd name="connsiteX3" fmla="*/ 97 w 10292"/>
                  <a:gd name="connsiteY3" fmla="*/ 5121 h 9288"/>
                  <a:gd name="connsiteX4" fmla="*/ 2342 w 10292"/>
                  <a:gd name="connsiteY4" fmla="*/ 7731 h 9288"/>
                  <a:gd name="connsiteX5" fmla="*/ 7309 w 10292"/>
                  <a:gd name="connsiteY5" fmla="*/ 8822 h 9288"/>
                  <a:gd name="connsiteX6" fmla="*/ 9790 w 10292"/>
                  <a:gd name="connsiteY6" fmla="*/ 7375 h 9288"/>
                  <a:gd name="connsiteX7" fmla="*/ 9791 w 10292"/>
                  <a:gd name="connsiteY7" fmla="*/ 2501 h 9288"/>
                  <a:gd name="connsiteX8" fmla="*/ 5450 w 10292"/>
                  <a:gd name="connsiteY8" fmla="*/ 772 h 9288"/>
                  <a:gd name="connsiteX9" fmla="*/ 4069 w 10292"/>
                  <a:gd name="connsiteY9" fmla="*/ 555 h 9288"/>
                  <a:gd name="connsiteX0" fmla="*/ 3974 w 10019"/>
                  <a:gd name="connsiteY0" fmla="*/ 598 h 9866"/>
                  <a:gd name="connsiteX1" fmla="*/ 2632 w 10019"/>
                  <a:gd name="connsiteY1" fmla="*/ 2003 h 9866"/>
                  <a:gd name="connsiteX2" fmla="*/ 1289 w 10019"/>
                  <a:gd name="connsiteY2" fmla="*/ 2471 h 9866"/>
                  <a:gd name="connsiteX3" fmla="*/ 114 w 10019"/>
                  <a:gd name="connsiteY3" fmla="*/ 5514 h 9866"/>
                  <a:gd name="connsiteX4" fmla="*/ 4716 w 10019"/>
                  <a:gd name="connsiteY4" fmla="*/ 7226 h 9866"/>
                  <a:gd name="connsiteX5" fmla="*/ 7122 w 10019"/>
                  <a:gd name="connsiteY5" fmla="*/ 9498 h 9866"/>
                  <a:gd name="connsiteX6" fmla="*/ 9532 w 10019"/>
                  <a:gd name="connsiteY6" fmla="*/ 7940 h 9866"/>
                  <a:gd name="connsiteX7" fmla="*/ 9533 w 10019"/>
                  <a:gd name="connsiteY7" fmla="*/ 2693 h 9866"/>
                  <a:gd name="connsiteX8" fmla="*/ 5315 w 10019"/>
                  <a:gd name="connsiteY8" fmla="*/ 831 h 9866"/>
                  <a:gd name="connsiteX9" fmla="*/ 3974 w 10019"/>
                  <a:gd name="connsiteY9" fmla="*/ 598 h 9866"/>
                  <a:gd name="connsiteX0" fmla="*/ 3432 w 9467"/>
                  <a:gd name="connsiteY0" fmla="*/ 606 h 12399"/>
                  <a:gd name="connsiteX1" fmla="*/ 2093 w 9467"/>
                  <a:gd name="connsiteY1" fmla="*/ 2030 h 12399"/>
                  <a:gd name="connsiteX2" fmla="*/ 753 w 9467"/>
                  <a:gd name="connsiteY2" fmla="*/ 2505 h 12399"/>
                  <a:gd name="connsiteX3" fmla="*/ 157 w 9467"/>
                  <a:gd name="connsiteY3" fmla="*/ 12318 h 12399"/>
                  <a:gd name="connsiteX4" fmla="*/ 4173 w 9467"/>
                  <a:gd name="connsiteY4" fmla="*/ 7324 h 12399"/>
                  <a:gd name="connsiteX5" fmla="*/ 6574 w 9467"/>
                  <a:gd name="connsiteY5" fmla="*/ 9627 h 12399"/>
                  <a:gd name="connsiteX6" fmla="*/ 8980 w 9467"/>
                  <a:gd name="connsiteY6" fmla="*/ 8048 h 12399"/>
                  <a:gd name="connsiteX7" fmla="*/ 8981 w 9467"/>
                  <a:gd name="connsiteY7" fmla="*/ 2730 h 12399"/>
                  <a:gd name="connsiteX8" fmla="*/ 4771 w 9467"/>
                  <a:gd name="connsiteY8" fmla="*/ 842 h 12399"/>
                  <a:gd name="connsiteX9" fmla="*/ 3432 w 9467"/>
                  <a:gd name="connsiteY9" fmla="*/ 606 h 12399"/>
                  <a:gd name="connsiteX0" fmla="*/ 5344 w 11719"/>
                  <a:gd name="connsiteY0" fmla="*/ 488 h 9962"/>
                  <a:gd name="connsiteX1" fmla="*/ 3930 w 11719"/>
                  <a:gd name="connsiteY1" fmla="*/ 1636 h 9962"/>
                  <a:gd name="connsiteX2" fmla="*/ 0 w 11719"/>
                  <a:gd name="connsiteY2" fmla="*/ 3447 h 9962"/>
                  <a:gd name="connsiteX3" fmla="*/ 1885 w 11719"/>
                  <a:gd name="connsiteY3" fmla="*/ 9934 h 9962"/>
                  <a:gd name="connsiteX4" fmla="*/ 6127 w 11719"/>
                  <a:gd name="connsiteY4" fmla="*/ 5906 h 9962"/>
                  <a:gd name="connsiteX5" fmla="*/ 8663 w 11719"/>
                  <a:gd name="connsiteY5" fmla="*/ 7763 h 9962"/>
                  <a:gd name="connsiteX6" fmla="*/ 11205 w 11719"/>
                  <a:gd name="connsiteY6" fmla="*/ 6490 h 9962"/>
                  <a:gd name="connsiteX7" fmla="*/ 11206 w 11719"/>
                  <a:gd name="connsiteY7" fmla="*/ 2201 h 9962"/>
                  <a:gd name="connsiteX8" fmla="*/ 6759 w 11719"/>
                  <a:gd name="connsiteY8" fmla="*/ 678 h 9962"/>
                  <a:gd name="connsiteX9" fmla="*/ 5344 w 11719"/>
                  <a:gd name="connsiteY9" fmla="*/ 488 h 9962"/>
                  <a:gd name="connsiteX0" fmla="*/ 4560 w 10000"/>
                  <a:gd name="connsiteY0" fmla="*/ 490 h 10000"/>
                  <a:gd name="connsiteX1" fmla="*/ 3354 w 10000"/>
                  <a:gd name="connsiteY1" fmla="*/ 1642 h 10000"/>
                  <a:gd name="connsiteX2" fmla="*/ 0 w 10000"/>
                  <a:gd name="connsiteY2" fmla="*/ 3460 h 10000"/>
                  <a:gd name="connsiteX3" fmla="*/ 1608 w 10000"/>
                  <a:gd name="connsiteY3" fmla="*/ 9972 h 10000"/>
                  <a:gd name="connsiteX4" fmla="*/ 5228 w 10000"/>
                  <a:gd name="connsiteY4" fmla="*/ 5929 h 10000"/>
                  <a:gd name="connsiteX5" fmla="*/ 7392 w 10000"/>
                  <a:gd name="connsiteY5" fmla="*/ 7793 h 10000"/>
                  <a:gd name="connsiteX6" fmla="*/ 9561 w 10000"/>
                  <a:gd name="connsiteY6" fmla="*/ 6515 h 10000"/>
                  <a:gd name="connsiteX7" fmla="*/ 9562 w 10000"/>
                  <a:gd name="connsiteY7" fmla="*/ 2209 h 10000"/>
                  <a:gd name="connsiteX8" fmla="*/ 5768 w 10000"/>
                  <a:gd name="connsiteY8" fmla="*/ 681 h 10000"/>
                  <a:gd name="connsiteX9" fmla="*/ 4560 w 10000"/>
                  <a:gd name="connsiteY9" fmla="*/ 490 h 10000"/>
                  <a:gd name="connsiteX0" fmla="*/ 4982 w 10422"/>
                  <a:gd name="connsiteY0" fmla="*/ 490 h 9973"/>
                  <a:gd name="connsiteX1" fmla="*/ 3776 w 10422"/>
                  <a:gd name="connsiteY1" fmla="*/ 1642 h 9973"/>
                  <a:gd name="connsiteX2" fmla="*/ 0 w 10422"/>
                  <a:gd name="connsiteY2" fmla="*/ 5385 h 9973"/>
                  <a:gd name="connsiteX3" fmla="*/ 2030 w 10422"/>
                  <a:gd name="connsiteY3" fmla="*/ 9972 h 9973"/>
                  <a:gd name="connsiteX4" fmla="*/ 5650 w 10422"/>
                  <a:gd name="connsiteY4" fmla="*/ 5929 h 9973"/>
                  <a:gd name="connsiteX5" fmla="*/ 7814 w 10422"/>
                  <a:gd name="connsiteY5" fmla="*/ 7793 h 9973"/>
                  <a:gd name="connsiteX6" fmla="*/ 9983 w 10422"/>
                  <a:gd name="connsiteY6" fmla="*/ 6515 h 9973"/>
                  <a:gd name="connsiteX7" fmla="*/ 9984 w 10422"/>
                  <a:gd name="connsiteY7" fmla="*/ 2209 h 9973"/>
                  <a:gd name="connsiteX8" fmla="*/ 6190 w 10422"/>
                  <a:gd name="connsiteY8" fmla="*/ 681 h 9973"/>
                  <a:gd name="connsiteX9" fmla="*/ 4982 w 10422"/>
                  <a:gd name="connsiteY9" fmla="*/ 490 h 9973"/>
                  <a:gd name="connsiteX0" fmla="*/ 4780 w 10000"/>
                  <a:gd name="connsiteY0" fmla="*/ 491 h 10000"/>
                  <a:gd name="connsiteX1" fmla="*/ 1159 w 10000"/>
                  <a:gd name="connsiteY1" fmla="*/ 1276 h 10000"/>
                  <a:gd name="connsiteX2" fmla="*/ 0 w 10000"/>
                  <a:gd name="connsiteY2" fmla="*/ 5400 h 10000"/>
                  <a:gd name="connsiteX3" fmla="*/ 1948 w 10000"/>
                  <a:gd name="connsiteY3" fmla="*/ 9999 h 10000"/>
                  <a:gd name="connsiteX4" fmla="*/ 5421 w 10000"/>
                  <a:gd name="connsiteY4" fmla="*/ 5945 h 10000"/>
                  <a:gd name="connsiteX5" fmla="*/ 7498 w 10000"/>
                  <a:gd name="connsiteY5" fmla="*/ 7814 h 10000"/>
                  <a:gd name="connsiteX6" fmla="*/ 9579 w 10000"/>
                  <a:gd name="connsiteY6" fmla="*/ 6533 h 10000"/>
                  <a:gd name="connsiteX7" fmla="*/ 9580 w 10000"/>
                  <a:gd name="connsiteY7" fmla="*/ 2215 h 10000"/>
                  <a:gd name="connsiteX8" fmla="*/ 5939 w 10000"/>
                  <a:gd name="connsiteY8" fmla="*/ 683 h 10000"/>
                  <a:gd name="connsiteX9" fmla="*/ 4780 w 10000"/>
                  <a:gd name="connsiteY9" fmla="*/ 491 h 10000"/>
                  <a:gd name="connsiteX0" fmla="*/ 4032 w 10000"/>
                  <a:gd name="connsiteY0" fmla="*/ 240 h 10817"/>
                  <a:gd name="connsiteX1" fmla="*/ 1159 w 10000"/>
                  <a:gd name="connsiteY1" fmla="*/ 2093 h 10817"/>
                  <a:gd name="connsiteX2" fmla="*/ 0 w 10000"/>
                  <a:gd name="connsiteY2" fmla="*/ 6217 h 10817"/>
                  <a:gd name="connsiteX3" fmla="*/ 1948 w 10000"/>
                  <a:gd name="connsiteY3" fmla="*/ 10816 h 10817"/>
                  <a:gd name="connsiteX4" fmla="*/ 5421 w 10000"/>
                  <a:gd name="connsiteY4" fmla="*/ 6762 h 10817"/>
                  <a:gd name="connsiteX5" fmla="*/ 7498 w 10000"/>
                  <a:gd name="connsiteY5" fmla="*/ 8631 h 10817"/>
                  <a:gd name="connsiteX6" fmla="*/ 9579 w 10000"/>
                  <a:gd name="connsiteY6" fmla="*/ 7350 h 10817"/>
                  <a:gd name="connsiteX7" fmla="*/ 9580 w 10000"/>
                  <a:gd name="connsiteY7" fmla="*/ 3032 h 10817"/>
                  <a:gd name="connsiteX8" fmla="*/ 5939 w 10000"/>
                  <a:gd name="connsiteY8" fmla="*/ 1500 h 10817"/>
                  <a:gd name="connsiteX9" fmla="*/ 4032 w 10000"/>
                  <a:gd name="connsiteY9" fmla="*/ 240 h 10817"/>
                  <a:gd name="connsiteX0" fmla="*/ 4032 w 10000"/>
                  <a:gd name="connsiteY0" fmla="*/ 507 h 11084"/>
                  <a:gd name="connsiteX1" fmla="*/ 1159 w 10000"/>
                  <a:gd name="connsiteY1" fmla="*/ 2360 h 11084"/>
                  <a:gd name="connsiteX2" fmla="*/ 0 w 10000"/>
                  <a:gd name="connsiteY2" fmla="*/ 6484 h 11084"/>
                  <a:gd name="connsiteX3" fmla="*/ 1948 w 10000"/>
                  <a:gd name="connsiteY3" fmla="*/ 11083 h 11084"/>
                  <a:gd name="connsiteX4" fmla="*/ 5421 w 10000"/>
                  <a:gd name="connsiteY4" fmla="*/ 7029 h 11084"/>
                  <a:gd name="connsiteX5" fmla="*/ 7498 w 10000"/>
                  <a:gd name="connsiteY5" fmla="*/ 8898 h 11084"/>
                  <a:gd name="connsiteX6" fmla="*/ 9579 w 10000"/>
                  <a:gd name="connsiteY6" fmla="*/ 7617 h 11084"/>
                  <a:gd name="connsiteX7" fmla="*/ 9580 w 10000"/>
                  <a:gd name="connsiteY7" fmla="*/ 3299 h 11084"/>
                  <a:gd name="connsiteX8" fmla="*/ 8340 w 10000"/>
                  <a:gd name="connsiteY8" fmla="*/ 658 h 11084"/>
                  <a:gd name="connsiteX9" fmla="*/ 4032 w 10000"/>
                  <a:gd name="connsiteY9" fmla="*/ 507 h 11084"/>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67"/>
                  <a:gd name="connsiteX1" fmla="*/ 1159 w 10000"/>
                  <a:gd name="connsiteY1" fmla="*/ 2309 h 11067"/>
                  <a:gd name="connsiteX2" fmla="*/ 0 w 10000"/>
                  <a:gd name="connsiteY2" fmla="*/ 6433 h 11067"/>
                  <a:gd name="connsiteX3" fmla="*/ 1948 w 10000"/>
                  <a:gd name="connsiteY3" fmla="*/ 11032 h 11067"/>
                  <a:gd name="connsiteX4" fmla="*/ 4641 w 10000"/>
                  <a:gd name="connsiteY4" fmla="*/ 8580 h 11067"/>
                  <a:gd name="connsiteX5" fmla="*/ 7498 w 10000"/>
                  <a:gd name="connsiteY5" fmla="*/ 8847 h 11067"/>
                  <a:gd name="connsiteX6" fmla="*/ 9579 w 10000"/>
                  <a:gd name="connsiteY6" fmla="*/ 7566 h 11067"/>
                  <a:gd name="connsiteX7" fmla="*/ 9580 w 10000"/>
                  <a:gd name="connsiteY7" fmla="*/ 3248 h 11067"/>
                  <a:gd name="connsiteX8" fmla="*/ 8340 w 10000"/>
                  <a:gd name="connsiteY8" fmla="*/ 607 h 11067"/>
                  <a:gd name="connsiteX9" fmla="*/ 4032 w 10000"/>
                  <a:gd name="connsiteY9" fmla="*/ 456 h 11067"/>
                  <a:gd name="connsiteX0" fmla="*/ 4032 w 10000"/>
                  <a:gd name="connsiteY0" fmla="*/ 456 h 11053"/>
                  <a:gd name="connsiteX1" fmla="*/ 1159 w 10000"/>
                  <a:gd name="connsiteY1" fmla="*/ 2309 h 11053"/>
                  <a:gd name="connsiteX2" fmla="*/ 0 w 10000"/>
                  <a:gd name="connsiteY2" fmla="*/ 6433 h 11053"/>
                  <a:gd name="connsiteX3" fmla="*/ 1948 w 10000"/>
                  <a:gd name="connsiteY3" fmla="*/ 11032 h 11053"/>
                  <a:gd name="connsiteX4" fmla="*/ 4641 w 10000"/>
                  <a:gd name="connsiteY4" fmla="*/ 8580 h 11053"/>
                  <a:gd name="connsiteX5" fmla="*/ 7498 w 10000"/>
                  <a:gd name="connsiteY5" fmla="*/ 8847 h 11053"/>
                  <a:gd name="connsiteX6" fmla="*/ 9579 w 10000"/>
                  <a:gd name="connsiteY6" fmla="*/ 7566 h 11053"/>
                  <a:gd name="connsiteX7" fmla="*/ 9580 w 10000"/>
                  <a:gd name="connsiteY7" fmla="*/ 3248 h 11053"/>
                  <a:gd name="connsiteX8" fmla="*/ 8340 w 10000"/>
                  <a:gd name="connsiteY8" fmla="*/ 607 h 11053"/>
                  <a:gd name="connsiteX9" fmla="*/ 4032 w 10000"/>
                  <a:gd name="connsiteY9" fmla="*/ 456 h 11053"/>
                  <a:gd name="connsiteX0" fmla="*/ 4032 w 10000"/>
                  <a:gd name="connsiteY0" fmla="*/ 456 h 11130"/>
                  <a:gd name="connsiteX1" fmla="*/ 1159 w 10000"/>
                  <a:gd name="connsiteY1" fmla="*/ 2309 h 11130"/>
                  <a:gd name="connsiteX2" fmla="*/ 0 w 10000"/>
                  <a:gd name="connsiteY2" fmla="*/ 6433 h 11130"/>
                  <a:gd name="connsiteX3" fmla="*/ 1948 w 10000"/>
                  <a:gd name="connsiteY3" fmla="*/ 11032 h 11130"/>
                  <a:gd name="connsiteX4" fmla="*/ 4641 w 10000"/>
                  <a:gd name="connsiteY4" fmla="*/ 8580 h 11130"/>
                  <a:gd name="connsiteX5" fmla="*/ 7498 w 10000"/>
                  <a:gd name="connsiteY5" fmla="*/ 8847 h 11130"/>
                  <a:gd name="connsiteX6" fmla="*/ 9579 w 10000"/>
                  <a:gd name="connsiteY6" fmla="*/ 7566 h 11130"/>
                  <a:gd name="connsiteX7" fmla="*/ 9580 w 10000"/>
                  <a:gd name="connsiteY7" fmla="*/ 3248 h 11130"/>
                  <a:gd name="connsiteX8" fmla="*/ 8340 w 10000"/>
                  <a:gd name="connsiteY8" fmla="*/ 607 h 11130"/>
                  <a:gd name="connsiteX9" fmla="*/ 4032 w 10000"/>
                  <a:gd name="connsiteY9" fmla="*/ 456 h 11130"/>
                  <a:gd name="connsiteX0" fmla="*/ 4662 w 10630"/>
                  <a:gd name="connsiteY0" fmla="*/ 456 h 11130"/>
                  <a:gd name="connsiteX1" fmla="*/ 1789 w 10630"/>
                  <a:gd name="connsiteY1" fmla="*/ 2309 h 11130"/>
                  <a:gd name="connsiteX2" fmla="*/ 630 w 10630"/>
                  <a:gd name="connsiteY2" fmla="*/ 6433 h 11130"/>
                  <a:gd name="connsiteX3" fmla="*/ 2578 w 10630"/>
                  <a:gd name="connsiteY3" fmla="*/ 11032 h 11130"/>
                  <a:gd name="connsiteX4" fmla="*/ 5271 w 10630"/>
                  <a:gd name="connsiteY4" fmla="*/ 8580 h 11130"/>
                  <a:gd name="connsiteX5" fmla="*/ 8128 w 10630"/>
                  <a:gd name="connsiteY5" fmla="*/ 8847 h 11130"/>
                  <a:gd name="connsiteX6" fmla="*/ 10209 w 10630"/>
                  <a:gd name="connsiteY6" fmla="*/ 7566 h 11130"/>
                  <a:gd name="connsiteX7" fmla="*/ 10210 w 10630"/>
                  <a:gd name="connsiteY7" fmla="*/ 3248 h 11130"/>
                  <a:gd name="connsiteX8" fmla="*/ 8970 w 10630"/>
                  <a:gd name="connsiteY8" fmla="*/ 607 h 11130"/>
                  <a:gd name="connsiteX9" fmla="*/ 4662 w 10630"/>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2836"/>
                  <a:gd name="connsiteX1" fmla="*/ 2266 w 11107"/>
                  <a:gd name="connsiteY1" fmla="*/ 2309 h 12836"/>
                  <a:gd name="connsiteX2" fmla="*/ 546 w 11107"/>
                  <a:gd name="connsiteY2" fmla="*/ 6228 h 12836"/>
                  <a:gd name="connsiteX3" fmla="*/ 3055 w 11107"/>
                  <a:gd name="connsiteY3" fmla="*/ 11032 h 12836"/>
                  <a:gd name="connsiteX4" fmla="*/ 5748 w 11107"/>
                  <a:gd name="connsiteY4" fmla="*/ 8580 h 12836"/>
                  <a:gd name="connsiteX5" fmla="*/ 8605 w 11107"/>
                  <a:gd name="connsiteY5" fmla="*/ 8847 h 12836"/>
                  <a:gd name="connsiteX6" fmla="*/ 10686 w 11107"/>
                  <a:gd name="connsiteY6" fmla="*/ 7566 h 12836"/>
                  <a:gd name="connsiteX7" fmla="*/ 10687 w 11107"/>
                  <a:gd name="connsiteY7" fmla="*/ 3248 h 12836"/>
                  <a:gd name="connsiteX8" fmla="*/ 9447 w 11107"/>
                  <a:gd name="connsiteY8" fmla="*/ 607 h 12836"/>
                  <a:gd name="connsiteX9" fmla="*/ 5139 w 11107"/>
                  <a:gd name="connsiteY9" fmla="*/ 456 h 12836"/>
                  <a:gd name="connsiteX0" fmla="*/ 5139 w 11107"/>
                  <a:gd name="connsiteY0" fmla="*/ 456 h 13188"/>
                  <a:gd name="connsiteX1" fmla="*/ 2266 w 11107"/>
                  <a:gd name="connsiteY1" fmla="*/ 2309 h 13188"/>
                  <a:gd name="connsiteX2" fmla="*/ 546 w 11107"/>
                  <a:gd name="connsiteY2" fmla="*/ 6228 h 13188"/>
                  <a:gd name="connsiteX3" fmla="*/ 3055 w 11107"/>
                  <a:gd name="connsiteY3" fmla="*/ 11032 h 13188"/>
                  <a:gd name="connsiteX4" fmla="*/ 5748 w 11107"/>
                  <a:gd name="connsiteY4" fmla="*/ 8580 h 13188"/>
                  <a:gd name="connsiteX5" fmla="*/ 8886 w 11107"/>
                  <a:gd name="connsiteY5" fmla="*/ 9792 h 13188"/>
                  <a:gd name="connsiteX6" fmla="*/ 10686 w 11107"/>
                  <a:gd name="connsiteY6" fmla="*/ 7566 h 13188"/>
                  <a:gd name="connsiteX7" fmla="*/ 10687 w 11107"/>
                  <a:gd name="connsiteY7" fmla="*/ 3248 h 13188"/>
                  <a:gd name="connsiteX8" fmla="*/ 9447 w 11107"/>
                  <a:gd name="connsiteY8" fmla="*/ 607 h 13188"/>
                  <a:gd name="connsiteX9" fmla="*/ 5139 w 11107"/>
                  <a:gd name="connsiteY9" fmla="*/ 456 h 13188"/>
                  <a:gd name="connsiteX0" fmla="*/ 5139 w 11107"/>
                  <a:gd name="connsiteY0" fmla="*/ 922 h 13654"/>
                  <a:gd name="connsiteX1" fmla="*/ 2266 w 11107"/>
                  <a:gd name="connsiteY1" fmla="*/ 2775 h 13654"/>
                  <a:gd name="connsiteX2" fmla="*/ 546 w 11107"/>
                  <a:gd name="connsiteY2" fmla="*/ 6694 h 13654"/>
                  <a:gd name="connsiteX3" fmla="*/ 3055 w 11107"/>
                  <a:gd name="connsiteY3" fmla="*/ 11498 h 13654"/>
                  <a:gd name="connsiteX4" fmla="*/ 5748 w 11107"/>
                  <a:gd name="connsiteY4" fmla="*/ 9046 h 13654"/>
                  <a:gd name="connsiteX5" fmla="*/ 8886 w 11107"/>
                  <a:gd name="connsiteY5" fmla="*/ 10258 h 13654"/>
                  <a:gd name="connsiteX6" fmla="*/ 10686 w 11107"/>
                  <a:gd name="connsiteY6" fmla="*/ 8032 h 13654"/>
                  <a:gd name="connsiteX7" fmla="*/ 10687 w 11107"/>
                  <a:gd name="connsiteY7" fmla="*/ 3714 h 13654"/>
                  <a:gd name="connsiteX8" fmla="*/ 9447 w 11107"/>
                  <a:gd name="connsiteY8" fmla="*/ 1073 h 13654"/>
                  <a:gd name="connsiteX9" fmla="*/ 5139 w 11107"/>
                  <a:gd name="connsiteY9" fmla="*/ 922 h 13654"/>
                  <a:gd name="connsiteX0" fmla="*/ 5139 w 11107"/>
                  <a:gd name="connsiteY0" fmla="*/ 1423 h 14155"/>
                  <a:gd name="connsiteX1" fmla="*/ 2266 w 11107"/>
                  <a:gd name="connsiteY1" fmla="*/ 3276 h 14155"/>
                  <a:gd name="connsiteX2" fmla="*/ 546 w 11107"/>
                  <a:gd name="connsiteY2" fmla="*/ 7195 h 14155"/>
                  <a:gd name="connsiteX3" fmla="*/ 3055 w 11107"/>
                  <a:gd name="connsiteY3" fmla="*/ 11999 h 14155"/>
                  <a:gd name="connsiteX4" fmla="*/ 5748 w 11107"/>
                  <a:gd name="connsiteY4" fmla="*/ 9547 h 14155"/>
                  <a:gd name="connsiteX5" fmla="*/ 8886 w 11107"/>
                  <a:gd name="connsiteY5" fmla="*/ 10759 h 14155"/>
                  <a:gd name="connsiteX6" fmla="*/ 10686 w 11107"/>
                  <a:gd name="connsiteY6" fmla="*/ 8533 h 14155"/>
                  <a:gd name="connsiteX7" fmla="*/ 10687 w 11107"/>
                  <a:gd name="connsiteY7" fmla="*/ 4215 h 14155"/>
                  <a:gd name="connsiteX8" fmla="*/ 9728 w 11107"/>
                  <a:gd name="connsiteY8" fmla="*/ 835 h 14155"/>
                  <a:gd name="connsiteX9" fmla="*/ 5139 w 11107"/>
                  <a:gd name="connsiteY9" fmla="*/ 1423 h 14155"/>
                  <a:gd name="connsiteX0" fmla="*/ 5139 w 12384"/>
                  <a:gd name="connsiteY0" fmla="*/ 1423 h 14155"/>
                  <a:gd name="connsiteX1" fmla="*/ 2266 w 12384"/>
                  <a:gd name="connsiteY1" fmla="*/ 3276 h 14155"/>
                  <a:gd name="connsiteX2" fmla="*/ 546 w 12384"/>
                  <a:gd name="connsiteY2" fmla="*/ 7195 h 14155"/>
                  <a:gd name="connsiteX3" fmla="*/ 3055 w 12384"/>
                  <a:gd name="connsiteY3" fmla="*/ 11999 h 14155"/>
                  <a:gd name="connsiteX4" fmla="*/ 5748 w 12384"/>
                  <a:gd name="connsiteY4" fmla="*/ 9547 h 14155"/>
                  <a:gd name="connsiteX5" fmla="*/ 8886 w 12384"/>
                  <a:gd name="connsiteY5" fmla="*/ 10759 h 14155"/>
                  <a:gd name="connsiteX6" fmla="*/ 10686 w 12384"/>
                  <a:gd name="connsiteY6" fmla="*/ 8533 h 14155"/>
                  <a:gd name="connsiteX7" fmla="*/ 12184 w 12384"/>
                  <a:gd name="connsiteY7" fmla="*/ 3927 h 14155"/>
                  <a:gd name="connsiteX8" fmla="*/ 9728 w 12384"/>
                  <a:gd name="connsiteY8" fmla="*/ 835 h 14155"/>
                  <a:gd name="connsiteX9" fmla="*/ 5139 w 12384"/>
                  <a:gd name="connsiteY9" fmla="*/ 1423 h 14155"/>
                  <a:gd name="connsiteX0" fmla="*/ 5139 w 12562"/>
                  <a:gd name="connsiteY0" fmla="*/ 1423 h 14155"/>
                  <a:gd name="connsiteX1" fmla="*/ 2266 w 12562"/>
                  <a:gd name="connsiteY1" fmla="*/ 3276 h 14155"/>
                  <a:gd name="connsiteX2" fmla="*/ 546 w 12562"/>
                  <a:gd name="connsiteY2" fmla="*/ 7195 h 14155"/>
                  <a:gd name="connsiteX3" fmla="*/ 3055 w 12562"/>
                  <a:gd name="connsiteY3" fmla="*/ 11999 h 14155"/>
                  <a:gd name="connsiteX4" fmla="*/ 5748 w 12562"/>
                  <a:gd name="connsiteY4" fmla="*/ 9547 h 14155"/>
                  <a:gd name="connsiteX5" fmla="*/ 8886 w 12562"/>
                  <a:gd name="connsiteY5" fmla="*/ 10759 h 14155"/>
                  <a:gd name="connsiteX6" fmla="*/ 12027 w 12562"/>
                  <a:gd name="connsiteY6" fmla="*/ 8163 h 14155"/>
                  <a:gd name="connsiteX7" fmla="*/ 12184 w 12562"/>
                  <a:gd name="connsiteY7" fmla="*/ 3927 h 14155"/>
                  <a:gd name="connsiteX8" fmla="*/ 9728 w 12562"/>
                  <a:gd name="connsiteY8" fmla="*/ 835 h 14155"/>
                  <a:gd name="connsiteX9" fmla="*/ 5139 w 12562"/>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53"/>
                  <a:gd name="connsiteY0" fmla="*/ 1423 h 14155"/>
                  <a:gd name="connsiteX1" fmla="*/ 2266 w 14753"/>
                  <a:gd name="connsiteY1" fmla="*/ 3276 h 14155"/>
                  <a:gd name="connsiteX2" fmla="*/ 546 w 14753"/>
                  <a:gd name="connsiteY2" fmla="*/ 7195 h 14155"/>
                  <a:gd name="connsiteX3" fmla="*/ 3055 w 14753"/>
                  <a:gd name="connsiteY3" fmla="*/ 11999 h 14155"/>
                  <a:gd name="connsiteX4" fmla="*/ 5748 w 14753"/>
                  <a:gd name="connsiteY4" fmla="*/ 9547 h 14155"/>
                  <a:gd name="connsiteX5" fmla="*/ 8886 w 14753"/>
                  <a:gd name="connsiteY5" fmla="*/ 10759 h 14155"/>
                  <a:gd name="connsiteX6" fmla="*/ 11965 w 14753"/>
                  <a:gd name="connsiteY6" fmla="*/ 8779 h 14155"/>
                  <a:gd name="connsiteX7" fmla="*/ 12184 w 14753"/>
                  <a:gd name="connsiteY7" fmla="*/ 3927 h 14155"/>
                  <a:gd name="connsiteX8" fmla="*/ 9728 w 14753"/>
                  <a:gd name="connsiteY8" fmla="*/ 835 h 14155"/>
                  <a:gd name="connsiteX9" fmla="*/ 5139 w 14753"/>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661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69"/>
                  <a:gd name="connsiteX1" fmla="*/ 2697 w 16991"/>
                  <a:gd name="connsiteY1" fmla="*/ 3276 h 14169"/>
                  <a:gd name="connsiteX2" fmla="*/ 1039 w 16991"/>
                  <a:gd name="connsiteY2" fmla="*/ 6661 h 14169"/>
                  <a:gd name="connsiteX3" fmla="*/ 2831 w 16991"/>
                  <a:gd name="connsiteY3" fmla="*/ 11547 h 14169"/>
                  <a:gd name="connsiteX4" fmla="*/ 6179 w 16991"/>
                  <a:gd name="connsiteY4" fmla="*/ 9547 h 14169"/>
                  <a:gd name="connsiteX5" fmla="*/ 9317 w 16991"/>
                  <a:gd name="connsiteY5" fmla="*/ 10759 h 14169"/>
                  <a:gd name="connsiteX6" fmla="*/ 12396 w 16991"/>
                  <a:gd name="connsiteY6" fmla="*/ 8779 h 14169"/>
                  <a:gd name="connsiteX7" fmla="*/ 12615 w 16991"/>
                  <a:gd name="connsiteY7" fmla="*/ 3927 h 14169"/>
                  <a:gd name="connsiteX8" fmla="*/ 10159 w 16991"/>
                  <a:gd name="connsiteY8" fmla="*/ 835 h 14169"/>
                  <a:gd name="connsiteX9" fmla="*/ 5570 w 16991"/>
                  <a:gd name="connsiteY9" fmla="*/ 1423 h 14169"/>
                  <a:gd name="connsiteX0" fmla="*/ 5570 w 16991"/>
                  <a:gd name="connsiteY0" fmla="*/ 1423 h 14319"/>
                  <a:gd name="connsiteX1" fmla="*/ 2697 w 16991"/>
                  <a:gd name="connsiteY1" fmla="*/ 3276 h 14319"/>
                  <a:gd name="connsiteX2" fmla="*/ 1039 w 16991"/>
                  <a:gd name="connsiteY2" fmla="*/ 6661 h 14319"/>
                  <a:gd name="connsiteX3" fmla="*/ 2831 w 16991"/>
                  <a:gd name="connsiteY3" fmla="*/ 11547 h 14319"/>
                  <a:gd name="connsiteX4" fmla="*/ 6241 w 16991"/>
                  <a:gd name="connsiteY4" fmla="*/ 10204 h 14319"/>
                  <a:gd name="connsiteX5" fmla="*/ 9317 w 16991"/>
                  <a:gd name="connsiteY5" fmla="*/ 10759 h 14319"/>
                  <a:gd name="connsiteX6" fmla="*/ 12396 w 16991"/>
                  <a:gd name="connsiteY6" fmla="*/ 8779 h 14319"/>
                  <a:gd name="connsiteX7" fmla="*/ 12615 w 16991"/>
                  <a:gd name="connsiteY7" fmla="*/ 3927 h 14319"/>
                  <a:gd name="connsiteX8" fmla="*/ 10159 w 16991"/>
                  <a:gd name="connsiteY8" fmla="*/ 835 h 14319"/>
                  <a:gd name="connsiteX9" fmla="*/ 5570 w 16991"/>
                  <a:gd name="connsiteY9" fmla="*/ 1423 h 14319"/>
                  <a:gd name="connsiteX0" fmla="*/ 5570 w 16991"/>
                  <a:gd name="connsiteY0" fmla="*/ 1423 h 14440"/>
                  <a:gd name="connsiteX1" fmla="*/ 2697 w 16991"/>
                  <a:gd name="connsiteY1" fmla="*/ 3276 h 14440"/>
                  <a:gd name="connsiteX2" fmla="*/ 1039 w 16991"/>
                  <a:gd name="connsiteY2" fmla="*/ 6661 h 14440"/>
                  <a:gd name="connsiteX3" fmla="*/ 2831 w 16991"/>
                  <a:gd name="connsiteY3" fmla="*/ 11547 h 14440"/>
                  <a:gd name="connsiteX4" fmla="*/ 6241 w 16991"/>
                  <a:gd name="connsiteY4" fmla="*/ 10204 h 14440"/>
                  <a:gd name="connsiteX5" fmla="*/ 9317 w 16991"/>
                  <a:gd name="connsiteY5" fmla="*/ 10759 h 14440"/>
                  <a:gd name="connsiteX6" fmla="*/ 12396 w 16991"/>
                  <a:gd name="connsiteY6" fmla="*/ 8779 h 14440"/>
                  <a:gd name="connsiteX7" fmla="*/ 12615 w 16991"/>
                  <a:gd name="connsiteY7" fmla="*/ 3927 h 14440"/>
                  <a:gd name="connsiteX8" fmla="*/ 10159 w 16991"/>
                  <a:gd name="connsiteY8" fmla="*/ 835 h 14440"/>
                  <a:gd name="connsiteX9" fmla="*/ 5570 w 16991"/>
                  <a:gd name="connsiteY9" fmla="*/ 1423 h 14440"/>
                  <a:gd name="connsiteX0" fmla="*/ 5570 w 16991"/>
                  <a:gd name="connsiteY0" fmla="*/ 1423 h 14549"/>
                  <a:gd name="connsiteX1" fmla="*/ 2697 w 16991"/>
                  <a:gd name="connsiteY1" fmla="*/ 3276 h 14549"/>
                  <a:gd name="connsiteX2" fmla="*/ 1039 w 16991"/>
                  <a:gd name="connsiteY2" fmla="*/ 6661 h 14549"/>
                  <a:gd name="connsiteX3" fmla="*/ 2831 w 16991"/>
                  <a:gd name="connsiteY3" fmla="*/ 11547 h 14549"/>
                  <a:gd name="connsiteX4" fmla="*/ 6241 w 16991"/>
                  <a:gd name="connsiteY4" fmla="*/ 10204 h 14549"/>
                  <a:gd name="connsiteX5" fmla="*/ 9317 w 16991"/>
                  <a:gd name="connsiteY5" fmla="*/ 10759 h 14549"/>
                  <a:gd name="connsiteX6" fmla="*/ 12396 w 16991"/>
                  <a:gd name="connsiteY6" fmla="*/ 8779 h 14549"/>
                  <a:gd name="connsiteX7" fmla="*/ 12615 w 16991"/>
                  <a:gd name="connsiteY7" fmla="*/ 3927 h 14549"/>
                  <a:gd name="connsiteX8" fmla="*/ 10159 w 16991"/>
                  <a:gd name="connsiteY8" fmla="*/ 835 h 14549"/>
                  <a:gd name="connsiteX9" fmla="*/ 5570 w 16991"/>
                  <a:gd name="connsiteY9" fmla="*/ 1423 h 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991" h="14549">
                    <a:moveTo>
                      <a:pt x="5570" y="1423"/>
                    </a:moveTo>
                    <a:cubicBezTo>
                      <a:pt x="5570" y="1423"/>
                      <a:pt x="3130" y="3084"/>
                      <a:pt x="2697" y="3276"/>
                    </a:cubicBezTo>
                    <a:cubicBezTo>
                      <a:pt x="2116" y="3276"/>
                      <a:pt x="-1842" y="6053"/>
                      <a:pt x="1039" y="6661"/>
                    </a:cubicBezTo>
                    <a:cubicBezTo>
                      <a:pt x="7088" y="4584"/>
                      <a:pt x="1964" y="10957"/>
                      <a:pt x="2831" y="11547"/>
                    </a:cubicBezTo>
                    <a:cubicBezTo>
                      <a:pt x="3698" y="12137"/>
                      <a:pt x="5378" y="9267"/>
                      <a:pt x="6241" y="10204"/>
                    </a:cubicBezTo>
                    <a:cubicBezTo>
                      <a:pt x="7104" y="11141"/>
                      <a:pt x="8518" y="19143"/>
                      <a:pt x="9317" y="10759"/>
                    </a:cubicBezTo>
                    <a:cubicBezTo>
                      <a:pt x="9836" y="7618"/>
                      <a:pt x="10455" y="8698"/>
                      <a:pt x="12396" y="8779"/>
                    </a:cubicBezTo>
                    <a:cubicBezTo>
                      <a:pt x="22146" y="14045"/>
                      <a:pt x="13484" y="5276"/>
                      <a:pt x="12615" y="3927"/>
                    </a:cubicBezTo>
                    <a:cubicBezTo>
                      <a:pt x="11601" y="2772"/>
                      <a:pt x="11853" y="1347"/>
                      <a:pt x="10159" y="835"/>
                    </a:cubicBezTo>
                    <a:cubicBezTo>
                      <a:pt x="8883" y="-1003"/>
                      <a:pt x="5715" y="652"/>
                      <a:pt x="5570" y="1423"/>
                    </a:cubicBezTo>
                    <a:close/>
                  </a:path>
                </a:pathLst>
              </a:custGeom>
              <a:solidFill>
                <a:srgbClr val="FFC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44" name="Oval 284">
                <a:extLst>
                  <a:ext uri="{FF2B5EF4-FFF2-40B4-BE49-F238E27FC236}">
                    <a16:creationId xmlns:a16="http://schemas.microsoft.com/office/drawing/2014/main" id="{14CAEA3B-A699-4D24-9EF8-E9E27D0B8790}"/>
                  </a:ext>
                </a:extLst>
              </p:cNvPr>
              <p:cNvSpPr>
                <a:spLocks noChangeArrowheads="1"/>
              </p:cNvSpPr>
              <p:nvPr/>
            </p:nvSpPr>
            <p:spPr bwMode="auto">
              <a:xfrm rot="15772157">
                <a:off x="8188752" y="2258212"/>
                <a:ext cx="63039" cy="160334"/>
              </a:xfrm>
              <a:prstGeom prst="ellipse">
                <a:avLst/>
              </a:prstGeom>
              <a:solidFill>
                <a:srgbClr val="E2A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8" name="Group 17">
              <a:extLst>
                <a:ext uri="{FF2B5EF4-FFF2-40B4-BE49-F238E27FC236}">
                  <a16:creationId xmlns:a16="http://schemas.microsoft.com/office/drawing/2014/main" id="{2C4B6BA8-B905-4EFB-BB84-E598C87431E8}"/>
                </a:ext>
              </a:extLst>
            </p:cNvPr>
            <p:cNvGrpSpPr/>
            <p:nvPr/>
          </p:nvGrpSpPr>
          <p:grpSpPr>
            <a:xfrm rot="14788524">
              <a:off x="7001062" y="3970293"/>
              <a:ext cx="614395" cy="302314"/>
              <a:chOff x="7815272" y="2280892"/>
              <a:chExt cx="817760" cy="302314"/>
            </a:xfrm>
          </p:grpSpPr>
          <p:sp>
            <p:nvSpPr>
              <p:cNvPr id="241" name="Freeform 283">
                <a:extLst>
                  <a:ext uri="{FF2B5EF4-FFF2-40B4-BE49-F238E27FC236}">
                    <a16:creationId xmlns:a16="http://schemas.microsoft.com/office/drawing/2014/main" id="{867DA4E3-A9C9-4508-9210-D914ACE285B7}"/>
                  </a:ext>
                </a:extLst>
              </p:cNvPr>
              <p:cNvSpPr>
                <a:spLocks/>
              </p:cNvSpPr>
              <p:nvPr/>
            </p:nvSpPr>
            <p:spPr bwMode="auto">
              <a:xfrm rot="21172157">
                <a:off x="7815272" y="2280892"/>
                <a:ext cx="817760" cy="302314"/>
              </a:xfrm>
              <a:custGeom>
                <a:avLst/>
                <a:gdLst>
                  <a:gd name="T0" fmla="*/ 26 w 52"/>
                  <a:gd name="T1" fmla="*/ 4 h 51"/>
                  <a:gd name="T2" fmla="*/ 18 w 52"/>
                  <a:gd name="T3" fmla="*/ 10 h 51"/>
                  <a:gd name="T4" fmla="*/ 10 w 52"/>
                  <a:gd name="T5" fmla="*/ 12 h 51"/>
                  <a:gd name="T6" fmla="*/ 3 w 52"/>
                  <a:gd name="T7" fmla="*/ 25 h 51"/>
                  <a:gd name="T8" fmla="*/ 16 w 52"/>
                  <a:gd name="T9" fmla="*/ 37 h 51"/>
                  <a:gd name="T10" fmla="*/ 34 w 52"/>
                  <a:gd name="T11" fmla="*/ 45 h 51"/>
                  <a:gd name="T12" fmla="*/ 46 w 52"/>
                  <a:gd name="T13" fmla="*/ 36 h 51"/>
                  <a:gd name="T14" fmla="*/ 46 w 52"/>
                  <a:gd name="T15" fmla="*/ 17 h 51"/>
                  <a:gd name="T16" fmla="*/ 34 w 52"/>
                  <a:gd name="T17" fmla="*/ 5 h 51"/>
                  <a:gd name="T18" fmla="*/ 26 w 52"/>
                  <a:gd name="T19" fmla="*/ 4 h 51"/>
                  <a:gd name="connsiteX0" fmla="*/ 4531 w 11136"/>
                  <a:gd name="connsiteY0" fmla="*/ 500 h 9017"/>
                  <a:gd name="connsiteX1" fmla="*/ 2993 w 11136"/>
                  <a:gd name="connsiteY1" fmla="*/ 1677 h 9017"/>
                  <a:gd name="connsiteX2" fmla="*/ 1454 w 11136"/>
                  <a:gd name="connsiteY2" fmla="*/ 2069 h 9017"/>
                  <a:gd name="connsiteX3" fmla="*/ 108 w 11136"/>
                  <a:gd name="connsiteY3" fmla="*/ 4618 h 9017"/>
                  <a:gd name="connsiteX4" fmla="*/ 2608 w 11136"/>
                  <a:gd name="connsiteY4" fmla="*/ 6971 h 9017"/>
                  <a:gd name="connsiteX5" fmla="*/ 6069 w 11136"/>
                  <a:gd name="connsiteY5" fmla="*/ 8540 h 9017"/>
                  <a:gd name="connsiteX6" fmla="*/ 8377 w 11136"/>
                  <a:gd name="connsiteY6" fmla="*/ 6775 h 9017"/>
                  <a:gd name="connsiteX7" fmla="*/ 10903 w 11136"/>
                  <a:gd name="connsiteY7" fmla="*/ 2255 h 9017"/>
                  <a:gd name="connsiteX8" fmla="*/ 6069 w 11136"/>
                  <a:gd name="connsiteY8" fmla="*/ 696 h 9017"/>
                  <a:gd name="connsiteX9" fmla="*/ 4531 w 11136"/>
                  <a:gd name="connsiteY9" fmla="*/ 500 h 9017"/>
                  <a:gd name="connsiteX0" fmla="*/ 4069 w 10292"/>
                  <a:gd name="connsiteY0" fmla="*/ 555 h 10000"/>
                  <a:gd name="connsiteX1" fmla="*/ 2688 w 10292"/>
                  <a:gd name="connsiteY1" fmla="*/ 1860 h 10000"/>
                  <a:gd name="connsiteX2" fmla="*/ 1306 w 10292"/>
                  <a:gd name="connsiteY2" fmla="*/ 2295 h 10000"/>
                  <a:gd name="connsiteX3" fmla="*/ 97 w 10292"/>
                  <a:gd name="connsiteY3" fmla="*/ 5121 h 10000"/>
                  <a:gd name="connsiteX4" fmla="*/ 2342 w 10292"/>
                  <a:gd name="connsiteY4" fmla="*/ 7731 h 10000"/>
                  <a:gd name="connsiteX5" fmla="*/ 5450 w 10292"/>
                  <a:gd name="connsiteY5" fmla="*/ 9471 h 10000"/>
                  <a:gd name="connsiteX6" fmla="*/ 9790 w 10292"/>
                  <a:gd name="connsiteY6" fmla="*/ 7375 h 10000"/>
                  <a:gd name="connsiteX7" fmla="*/ 9791 w 10292"/>
                  <a:gd name="connsiteY7" fmla="*/ 2501 h 10000"/>
                  <a:gd name="connsiteX8" fmla="*/ 5450 w 10292"/>
                  <a:gd name="connsiteY8" fmla="*/ 772 h 10000"/>
                  <a:gd name="connsiteX9" fmla="*/ 4069 w 10292"/>
                  <a:gd name="connsiteY9" fmla="*/ 555 h 10000"/>
                  <a:gd name="connsiteX0" fmla="*/ 4069 w 10292"/>
                  <a:gd name="connsiteY0" fmla="*/ 555 h 9288"/>
                  <a:gd name="connsiteX1" fmla="*/ 2688 w 10292"/>
                  <a:gd name="connsiteY1" fmla="*/ 1860 h 9288"/>
                  <a:gd name="connsiteX2" fmla="*/ 1306 w 10292"/>
                  <a:gd name="connsiteY2" fmla="*/ 2295 h 9288"/>
                  <a:gd name="connsiteX3" fmla="*/ 97 w 10292"/>
                  <a:gd name="connsiteY3" fmla="*/ 5121 h 9288"/>
                  <a:gd name="connsiteX4" fmla="*/ 2342 w 10292"/>
                  <a:gd name="connsiteY4" fmla="*/ 7731 h 9288"/>
                  <a:gd name="connsiteX5" fmla="*/ 7309 w 10292"/>
                  <a:gd name="connsiteY5" fmla="*/ 8822 h 9288"/>
                  <a:gd name="connsiteX6" fmla="*/ 9790 w 10292"/>
                  <a:gd name="connsiteY6" fmla="*/ 7375 h 9288"/>
                  <a:gd name="connsiteX7" fmla="*/ 9791 w 10292"/>
                  <a:gd name="connsiteY7" fmla="*/ 2501 h 9288"/>
                  <a:gd name="connsiteX8" fmla="*/ 5450 w 10292"/>
                  <a:gd name="connsiteY8" fmla="*/ 772 h 9288"/>
                  <a:gd name="connsiteX9" fmla="*/ 4069 w 10292"/>
                  <a:gd name="connsiteY9" fmla="*/ 555 h 9288"/>
                  <a:gd name="connsiteX0" fmla="*/ 3974 w 10019"/>
                  <a:gd name="connsiteY0" fmla="*/ 598 h 9866"/>
                  <a:gd name="connsiteX1" fmla="*/ 2632 w 10019"/>
                  <a:gd name="connsiteY1" fmla="*/ 2003 h 9866"/>
                  <a:gd name="connsiteX2" fmla="*/ 1289 w 10019"/>
                  <a:gd name="connsiteY2" fmla="*/ 2471 h 9866"/>
                  <a:gd name="connsiteX3" fmla="*/ 114 w 10019"/>
                  <a:gd name="connsiteY3" fmla="*/ 5514 h 9866"/>
                  <a:gd name="connsiteX4" fmla="*/ 4716 w 10019"/>
                  <a:gd name="connsiteY4" fmla="*/ 7226 h 9866"/>
                  <a:gd name="connsiteX5" fmla="*/ 7122 w 10019"/>
                  <a:gd name="connsiteY5" fmla="*/ 9498 h 9866"/>
                  <a:gd name="connsiteX6" fmla="*/ 9532 w 10019"/>
                  <a:gd name="connsiteY6" fmla="*/ 7940 h 9866"/>
                  <a:gd name="connsiteX7" fmla="*/ 9533 w 10019"/>
                  <a:gd name="connsiteY7" fmla="*/ 2693 h 9866"/>
                  <a:gd name="connsiteX8" fmla="*/ 5315 w 10019"/>
                  <a:gd name="connsiteY8" fmla="*/ 831 h 9866"/>
                  <a:gd name="connsiteX9" fmla="*/ 3974 w 10019"/>
                  <a:gd name="connsiteY9" fmla="*/ 598 h 9866"/>
                  <a:gd name="connsiteX0" fmla="*/ 3432 w 9467"/>
                  <a:gd name="connsiteY0" fmla="*/ 606 h 12399"/>
                  <a:gd name="connsiteX1" fmla="*/ 2093 w 9467"/>
                  <a:gd name="connsiteY1" fmla="*/ 2030 h 12399"/>
                  <a:gd name="connsiteX2" fmla="*/ 753 w 9467"/>
                  <a:gd name="connsiteY2" fmla="*/ 2505 h 12399"/>
                  <a:gd name="connsiteX3" fmla="*/ 157 w 9467"/>
                  <a:gd name="connsiteY3" fmla="*/ 12318 h 12399"/>
                  <a:gd name="connsiteX4" fmla="*/ 4173 w 9467"/>
                  <a:gd name="connsiteY4" fmla="*/ 7324 h 12399"/>
                  <a:gd name="connsiteX5" fmla="*/ 6574 w 9467"/>
                  <a:gd name="connsiteY5" fmla="*/ 9627 h 12399"/>
                  <a:gd name="connsiteX6" fmla="*/ 8980 w 9467"/>
                  <a:gd name="connsiteY6" fmla="*/ 8048 h 12399"/>
                  <a:gd name="connsiteX7" fmla="*/ 8981 w 9467"/>
                  <a:gd name="connsiteY7" fmla="*/ 2730 h 12399"/>
                  <a:gd name="connsiteX8" fmla="*/ 4771 w 9467"/>
                  <a:gd name="connsiteY8" fmla="*/ 842 h 12399"/>
                  <a:gd name="connsiteX9" fmla="*/ 3432 w 9467"/>
                  <a:gd name="connsiteY9" fmla="*/ 606 h 12399"/>
                  <a:gd name="connsiteX0" fmla="*/ 5344 w 11719"/>
                  <a:gd name="connsiteY0" fmla="*/ 488 h 9962"/>
                  <a:gd name="connsiteX1" fmla="*/ 3930 w 11719"/>
                  <a:gd name="connsiteY1" fmla="*/ 1636 h 9962"/>
                  <a:gd name="connsiteX2" fmla="*/ 0 w 11719"/>
                  <a:gd name="connsiteY2" fmla="*/ 3447 h 9962"/>
                  <a:gd name="connsiteX3" fmla="*/ 1885 w 11719"/>
                  <a:gd name="connsiteY3" fmla="*/ 9934 h 9962"/>
                  <a:gd name="connsiteX4" fmla="*/ 6127 w 11719"/>
                  <a:gd name="connsiteY4" fmla="*/ 5906 h 9962"/>
                  <a:gd name="connsiteX5" fmla="*/ 8663 w 11719"/>
                  <a:gd name="connsiteY5" fmla="*/ 7763 h 9962"/>
                  <a:gd name="connsiteX6" fmla="*/ 11205 w 11719"/>
                  <a:gd name="connsiteY6" fmla="*/ 6490 h 9962"/>
                  <a:gd name="connsiteX7" fmla="*/ 11206 w 11719"/>
                  <a:gd name="connsiteY7" fmla="*/ 2201 h 9962"/>
                  <a:gd name="connsiteX8" fmla="*/ 6759 w 11719"/>
                  <a:gd name="connsiteY8" fmla="*/ 678 h 9962"/>
                  <a:gd name="connsiteX9" fmla="*/ 5344 w 11719"/>
                  <a:gd name="connsiteY9" fmla="*/ 488 h 9962"/>
                  <a:gd name="connsiteX0" fmla="*/ 4560 w 10000"/>
                  <a:gd name="connsiteY0" fmla="*/ 490 h 10000"/>
                  <a:gd name="connsiteX1" fmla="*/ 3354 w 10000"/>
                  <a:gd name="connsiteY1" fmla="*/ 1642 h 10000"/>
                  <a:gd name="connsiteX2" fmla="*/ 0 w 10000"/>
                  <a:gd name="connsiteY2" fmla="*/ 3460 h 10000"/>
                  <a:gd name="connsiteX3" fmla="*/ 1608 w 10000"/>
                  <a:gd name="connsiteY3" fmla="*/ 9972 h 10000"/>
                  <a:gd name="connsiteX4" fmla="*/ 5228 w 10000"/>
                  <a:gd name="connsiteY4" fmla="*/ 5929 h 10000"/>
                  <a:gd name="connsiteX5" fmla="*/ 7392 w 10000"/>
                  <a:gd name="connsiteY5" fmla="*/ 7793 h 10000"/>
                  <a:gd name="connsiteX6" fmla="*/ 9561 w 10000"/>
                  <a:gd name="connsiteY6" fmla="*/ 6515 h 10000"/>
                  <a:gd name="connsiteX7" fmla="*/ 9562 w 10000"/>
                  <a:gd name="connsiteY7" fmla="*/ 2209 h 10000"/>
                  <a:gd name="connsiteX8" fmla="*/ 5768 w 10000"/>
                  <a:gd name="connsiteY8" fmla="*/ 681 h 10000"/>
                  <a:gd name="connsiteX9" fmla="*/ 4560 w 10000"/>
                  <a:gd name="connsiteY9" fmla="*/ 490 h 10000"/>
                  <a:gd name="connsiteX0" fmla="*/ 4982 w 10422"/>
                  <a:gd name="connsiteY0" fmla="*/ 490 h 9973"/>
                  <a:gd name="connsiteX1" fmla="*/ 3776 w 10422"/>
                  <a:gd name="connsiteY1" fmla="*/ 1642 h 9973"/>
                  <a:gd name="connsiteX2" fmla="*/ 0 w 10422"/>
                  <a:gd name="connsiteY2" fmla="*/ 5385 h 9973"/>
                  <a:gd name="connsiteX3" fmla="*/ 2030 w 10422"/>
                  <a:gd name="connsiteY3" fmla="*/ 9972 h 9973"/>
                  <a:gd name="connsiteX4" fmla="*/ 5650 w 10422"/>
                  <a:gd name="connsiteY4" fmla="*/ 5929 h 9973"/>
                  <a:gd name="connsiteX5" fmla="*/ 7814 w 10422"/>
                  <a:gd name="connsiteY5" fmla="*/ 7793 h 9973"/>
                  <a:gd name="connsiteX6" fmla="*/ 9983 w 10422"/>
                  <a:gd name="connsiteY6" fmla="*/ 6515 h 9973"/>
                  <a:gd name="connsiteX7" fmla="*/ 9984 w 10422"/>
                  <a:gd name="connsiteY7" fmla="*/ 2209 h 9973"/>
                  <a:gd name="connsiteX8" fmla="*/ 6190 w 10422"/>
                  <a:gd name="connsiteY8" fmla="*/ 681 h 9973"/>
                  <a:gd name="connsiteX9" fmla="*/ 4982 w 10422"/>
                  <a:gd name="connsiteY9" fmla="*/ 490 h 9973"/>
                  <a:gd name="connsiteX0" fmla="*/ 4780 w 10000"/>
                  <a:gd name="connsiteY0" fmla="*/ 491 h 10000"/>
                  <a:gd name="connsiteX1" fmla="*/ 1159 w 10000"/>
                  <a:gd name="connsiteY1" fmla="*/ 1276 h 10000"/>
                  <a:gd name="connsiteX2" fmla="*/ 0 w 10000"/>
                  <a:gd name="connsiteY2" fmla="*/ 5400 h 10000"/>
                  <a:gd name="connsiteX3" fmla="*/ 1948 w 10000"/>
                  <a:gd name="connsiteY3" fmla="*/ 9999 h 10000"/>
                  <a:gd name="connsiteX4" fmla="*/ 5421 w 10000"/>
                  <a:gd name="connsiteY4" fmla="*/ 5945 h 10000"/>
                  <a:gd name="connsiteX5" fmla="*/ 7498 w 10000"/>
                  <a:gd name="connsiteY5" fmla="*/ 7814 h 10000"/>
                  <a:gd name="connsiteX6" fmla="*/ 9579 w 10000"/>
                  <a:gd name="connsiteY6" fmla="*/ 6533 h 10000"/>
                  <a:gd name="connsiteX7" fmla="*/ 9580 w 10000"/>
                  <a:gd name="connsiteY7" fmla="*/ 2215 h 10000"/>
                  <a:gd name="connsiteX8" fmla="*/ 5939 w 10000"/>
                  <a:gd name="connsiteY8" fmla="*/ 683 h 10000"/>
                  <a:gd name="connsiteX9" fmla="*/ 4780 w 10000"/>
                  <a:gd name="connsiteY9" fmla="*/ 491 h 10000"/>
                  <a:gd name="connsiteX0" fmla="*/ 4032 w 10000"/>
                  <a:gd name="connsiteY0" fmla="*/ 240 h 10817"/>
                  <a:gd name="connsiteX1" fmla="*/ 1159 w 10000"/>
                  <a:gd name="connsiteY1" fmla="*/ 2093 h 10817"/>
                  <a:gd name="connsiteX2" fmla="*/ 0 w 10000"/>
                  <a:gd name="connsiteY2" fmla="*/ 6217 h 10817"/>
                  <a:gd name="connsiteX3" fmla="*/ 1948 w 10000"/>
                  <a:gd name="connsiteY3" fmla="*/ 10816 h 10817"/>
                  <a:gd name="connsiteX4" fmla="*/ 5421 w 10000"/>
                  <a:gd name="connsiteY4" fmla="*/ 6762 h 10817"/>
                  <a:gd name="connsiteX5" fmla="*/ 7498 w 10000"/>
                  <a:gd name="connsiteY5" fmla="*/ 8631 h 10817"/>
                  <a:gd name="connsiteX6" fmla="*/ 9579 w 10000"/>
                  <a:gd name="connsiteY6" fmla="*/ 7350 h 10817"/>
                  <a:gd name="connsiteX7" fmla="*/ 9580 w 10000"/>
                  <a:gd name="connsiteY7" fmla="*/ 3032 h 10817"/>
                  <a:gd name="connsiteX8" fmla="*/ 5939 w 10000"/>
                  <a:gd name="connsiteY8" fmla="*/ 1500 h 10817"/>
                  <a:gd name="connsiteX9" fmla="*/ 4032 w 10000"/>
                  <a:gd name="connsiteY9" fmla="*/ 240 h 10817"/>
                  <a:gd name="connsiteX0" fmla="*/ 4032 w 10000"/>
                  <a:gd name="connsiteY0" fmla="*/ 507 h 11084"/>
                  <a:gd name="connsiteX1" fmla="*/ 1159 w 10000"/>
                  <a:gd name="connsiteY1" fmla="*/ 2360 h 11084"/>
                  <a:gd name="connsiteX2" fmla="*/ 0 w 10000"/>
                  <a:gd name="connsiteY2" fmla="*/ 6484 h 11084"/>
                  <a:gd name="connsiteX3" fmla="*/ 1948 w 10000"/>
                  <a:gd name="connsiteY3" fmla="*/ 11083 h 11084"/>
                  <a:gd name="connsiteX4" fmla="*/ 5421 w 10000"/>
                  <a:gd name="connsiteY4" fmla="*/ 7029 h 11084"/>
                  <a:gd name="connsiteX5" fmla="*/ 7498 w 10000"/>
                  <a:gd name="connsiteY5" fmla="*/ 8898 h 11084"/>
                  <a:gd name="connsiteX6" fmla="*/ 9579 w 10000"/>
                  <a:gd name="connsiteY6" fmla="*/ 7617 h 11084"/>
                  <a:gd name="connsiteX7" fmla="*/ 9580 w 10000"/>
                  <a:gd name="connsiteY7" fmla="*/ 3299 h 11084"/>
                  <a:gd name="connsiteX8" fmla="*/ 8340 w 10000"/>
                  <a:gd name="connsiteY8" fmla="*/ 658 h 11084"/>
                  <a:gd name="connsiteX9" fmla="*/ 4032 w 10000"/>
                  <a:gd name="connsiteY9" fmla="*/ 507 h 11084"/>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67"/>
                  <a:gd name="connsiteX1" fmla="*/ 1159 w 10000"/>
                  <a:gd name="connsiteY1" fmla="*/ 2309 h 11067"/>
                  <a:gd name="connsiteX2" fmla="*/ 0 w 10000"/>
                  <a:gd name="connsiteY2" fmla="*/ 6433 h 11067"/>
                  <a:gd name="connsiteX3" fmla="*/ 1948 w 10000"/>
                  <a:gd name="connsiteY3" fmla="*/ 11032 h 11067"/>
                  <a:gd name="connsiteX4" fmla="*/ 4641 w 10000"/>
                  <a:gd name="connsiteY4" fmla="*/ 8580 h 11067"/>
                  <a:gd name="connsiteX5" fmla="*/ 7498 w 10000"/>
                  <a:gd name="connsiteY5" fmla="*/ 8847 h 11067"/>
                  <a:gd name="connsiteX6" fmla="*/ 9579 w 10000"/>
                  <a:gd name="connsiteY6" fmla="*/ 7566 h 11067"/>
                  <a:gd name="connsiteX7" fmla="*/ 9580 w 10000"/>
                  <a:gd name="connsiteY7" fmla="*/ 3248 h 11067"/>
                  <a:gd name="connsiteX8" fmla="*/ 8340 w 10000"/>
                  <a:gd name="connsiteY8" fmla="*/ 607 h 11067"/>
                  <a:gd name="connsiteX9" fmla="*/ 4032 w 10000"/>
                  <a:gd name="connsiteY9" fmla="*/ 456 h 11067"/>
                  <a:gd name="connsiteX0" fmla="*/ 4032 w 10000"/>
                  <a:gd name="connsiteY0" fmla="*/ 456 h 11053"/>
                  <a:gd name="connsiteX1" fmla="*/ 1159 w 10000"/>
                  <a:gd name="connsiteY1" fmla="*/ 2309 h 11053"/>
                  <a:gd name="connsiteX2" fmla="*/ 0 w 10000"/>
                  <a:gd name="connsiteY2" fmla="*/ 6433 h 11053"/>
                  <a:gd name="connsiteX3" fmla="*/ 1948 w 10000"/>
                  <a:gd name="connsiteY3" fmla="*/ 11032 h 11053"/>
                  <a:gd name="connsiteX4" fmla="*/ 4641 w 10000"/>
                  <a:gd name="connsiteY4" fmla="*/ 8580 h 11053"/>
                  <a:gd name="connsiteX5" fmla="*/ 7498 w 10000"/>
                  <a:gd name="connsiteY5" fmla="*/ 8847 h 11053"/>
                  <a:gd name="connsiteX6" fmla="*/ 9579 w 10000"/>
                  <a:gd name="connsiteY6" fmla="*/ 7566 h 11053"/>
                  <a:gd name="connsiteX7" fmla="*/ 9580 w 10000"/>
                  <a:gd name="connsiteY7" fmla="*/ 3248 h 11053"/>
                  <a:gd name="connsiteX8" fmla="*/ 8340 w 10000"/>
                  <a:gd name="connsiteY8" fmla="*/ 607 h 11053"/>
                  <a:gd name="connsiteX9" fmla="*/ 4032 w 10000"/>
                  <a:gd name="connsiteY9" fmla="*/ 456 h 11053"/>
                  <a:gd name="connsiteX0" fmla="*/ 4032 w 10000"/>
                  <a:gd name="connsiteY0" fmla="*/ 456 h 11130"/>
                  <a:gd name="connsiteX1" fmla="*/ 1159 w 10000"/>
                  <a:gd name="connsiteY1" fmla="*/ 2309 h 11130"/>
                  <a:gd name="connsiteX2" fmla="*/ 0 w 10000"/>
                  <a:gd name="connsiteY2" fmla="*/ 6433 h 11130"/>
                  <a:gd name="connsiteX3" fmla="*/ 1948 w 10000"/>
                  <a:gd name="connsiteY3" fmla="*/ 11032 h 11130"/>
                  <a:gd name="connsiteX4" fmla="*/ 4641 w 10000"/>
                  <a:gd name="connsiteY4" fmla="*/ 8580 h 11130"/>
                  <a:gd name="connsiteX5" fmla="*/ 7498 w 10000"/>
                  <a:gd name="connsiteY5" fmla="*/ 8847 h 11130"/>
                  <a:gd name="connsiteX6" fmla="*/ 9579 w 10000"/>
                  <a:gd name="connsiteY6" fmla="*/ 7566 h 11130"/>
                  <a:gd name="connsiteX7" fmla="*/ 9580 w 10000"/>
                  <a:gd name="connsiteY7" fmla="*/ 3248 h 11130"/>
                  <a:gd name="connsiteX8" fmla="*/ 8340 w 10000"/>
                  <a:gd name="connsiteY8" fmla="*/ 607 h 11130"/>
                  <a:gd name="connsiteX9" fmla="*/ 4032 w 10000"/>
                  <a:gd name="connsiteY9" fmla="*/ 456 h 11130"/>
                  <a:gd name="connsiteX0" fmla="*/ 4662 w 10630"/>
                  <a:gd name="connsiteY0" fmla="*/ 456 h 11130"/>
                  <a:gd name="connsiteX1" fmla="*/ 1789 w 10630"/>
                  <a:gd name="connsiteY1" fmla="*/ 2309 h 11130"/>
                  <a:gd name="connsiteX2" fmla="*/ 630 w 10630"/>
                  <a:gd name="connsiteY2" fmla="*/ 6433 h 11130"/>
                  <a:gd name="connsiteX3" fmla="*/ 2578 w 10630"/>
                  <a:gd name="connsiteY3" fmla="*/ 11032 h 11130"/>
                  <a:gd name="connsiteX4" fmla="*/ 5271 w 10630"/>
                  <a:gd name="connsiteY4" fmla="*/ 8580 h 11130"/>
                  <a:gd name="connsiteX5" fmla="*/ 8128 w 10630"/>
                  <a:gd name="connsiteY5" fmla="*/ 8847 h 11130"/>
                  <a:gd name="connsiteX6" fmla="*/ 10209 w 10630"/>
                  <a:gd name="connsiteY6" fmla="*/ 7566 h 11130"/>
                  <a:gd name="connsiteX7" fmla="*/ 10210 w 10630"/>
                  <a:gd name="connsiteY7" fmla="*/ 3248 h 11130"/>
                  <a:gd name="connsiteX8" fmla="*/ 8970 w 10630"/>
                  <a:gd name="connsiteY8" fmla="*/ 607 h 11130"/>
                  <a:gd name="connsiteX9" fmla="*/ 4662 w 10630"/>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2836"/>
                  <a:gd name="connsiteX1" fmla="*/ 2266 w 11107"/>
                  <a:gd name="connsiteY1" fmla="*/ 2309 h 12836"/>
                  <a:gd name="connsiteX2" fmla="*/ 546 w 11107"/>
                  <a:gd name="connsiteY2" fmla="*/ 6228 h 12836"/>
                  <a:gd name="connsiteX3" fmla="*/ 3055 w 11107"/>
                  <a:gd name="connsiteY3" fmla="*/ 11032 h 12836"/>
                  <a:gd name="connsiteX4" fmla="*/ 5748 w 11107"/>
                  <a:gd name="connsiteY4" fmla="*/ 8580 h 12836"/>
                  <a:gd name="connsiteX5" fmla="*/ 8605 w 11107"/>
                  <a:gd name="connsiteY5" fmla="*/ 8847 h 12836"/>
                  <a:gd name="connsiteX6" fmla="*/ 10686 w 11107"/>
                  <a:gd name="connsiteY6" fmla="*/ 7566 h 12836"/>
                  <a:gd name="connsiteX7" fmla="*/ 10687 w 11107"/>
                  <a:gd name="connsiteY7" fmla="*/ 3248 h 12836"/>
                  <a:gd name="connsiteX8" fmla="*/ 9447 w 11107"/>
                  <a:gd name="connsiteY8" fmla="*/ 607 h 12836"/>
                  <a:gd name="connsiteX9" fmla="*/ 5139 w 11107"/>
                  <a:gd name="connsiteY9" fmla="*/ 456 h 12836"/>
                  <a:gd name="connsiteX0" fmla="*/ 5139 w 11107"/>
                  <a:gd name="connsiteY0" fmla="*/ 456 h 13188"/>
                  <a:gd name="connsiteX1" fmla="*/ 2266 w 11107"/>
                  <a:gd name="connsiteY1" fmla="*/ 2309 h 13188"/>
                  <a:gd name="connsiteX2" fmla="*/ 546 w 11107"/>
                  <a:gd name="connsiteY2" fmla="*/ 6228 h 13188"/>
                  <a:gd name="connsiteX3" fmla="*/ 3055 w 11107"/>
                  <a:gd name="connsiteY3" fmla="*/ 11032 h 13188"/>
                  <a:gd name="connsiteX4" fmla="*/ 5748 w 11107"/>
                  <a:gd name="connsiteY4" fmla="*/ 8580 h 13188"/>
                  <a:gd name="connsiteX5" fmla="*/ 8886 w 11107"/>
                  <a:gd name="connsiteY5" fmla="*/ 9792 h 13188"/>
                  <a:gd name="connsiteX6" fmla="*/ 10686 w 11107"/>
                  <a:gd name="connsiteY6" fmla="*/ 7566 h 13188"/>
                  <a:gd name="connsiteX7" fmla="*/ 10687 w 11107"/>
                  <a:gd name="connsiteY7" fmla="*/ 3248 h 13188"/>
                  <a:gd name="connsiteX8" fmla="*/ 9447 w 11107"/>
                  <a:gd name="connsiteY8" fmla="*/ 607 h 13188"/>
                  <a:gd name="connsiteX9" fmla="*/ 5139 w 11107"/>
                  <a:gd name="connsiteY9" fmla="*/ 456 h 13188"/>
                  <a:gd name="connsiteX0" fmla="*/ 5139 w 11107"/>
                  <a:gd name="connsiteY0" fmla="*/ 922 h 13654"/>
                  <a:gd name="connsiteX1" fmla="*/ 2266 w 11107"/>
                  <a:gd name="connsiteY1" fmla="*/ 2775 h 13654"/>
                  <a:gd name="connsiteX2" fmla="*/ 546 w 11107"/>
                  <a:gd name="connsiteY2" fmla="*/ 6694 h 13654"/>
                  <a:gd name="connsiteX3" fmla="*/ 3055 w 11107"/>
                  <a:gd name="connsiteY3" fmla="*/ 11498 h 13654"/>
                  <a:gd name="connsiteX4" fmla="*/ 5748 w 11107"/>
                  <a:gd name="connsiteY4" fmla="*/ 9046 h 13654"/>
                  <a:gd name="connsiteX5" fmla="*/ 8886 w 11107"/>
                  <a:gd name="connsiteY5" fmla="*/ 10258 h 13654"/>
                  <a:gd name="connsiteX6" fmla="*/ 10686 w 11107"/>
                  <a:gd name="connsiteY6" fmla="*/ 8032 h 13654"/>
                  <a:gd name="connsiteX7" fmla="*/ 10687 w 11107"/>
                  <a:gd name="connsiteY7" fmla="*/ 3714 h 13654"/>
                  <a:gd name="connsiteX8" fmla="*/ 9447 w 11107"/>
                  <a:gd name="connsiteY8" fmla="*/ 1073 h 13654"/>
                  <a:gd name="connsiteX9" fmla="*/ 5139 w 11107"/>
                  <a:gd name="connsiteY9" fmla="*/ 922 h 13654"/>
                  <a:gd name="connsiteX0" fmla="*/ 5139 w 11107"/>
                  <a:gd name="connsiteY0" fmla="*/ 1423 h 14155"/>
                  <a:gd name="connsiteX1" fmla="*/ 2266 w 11107"/>
                  <a:gd name="connsiteY1" fmla="*/ 3276 h 14155"/>
                  <a:gd name="connsiteX2" fmla="*/ 546 w 11107"/>
                  <a:gd name="connsiteY2" fmla="*/ 7195 h 14155"/>
                  <a:gd name="connsiteX3" fmla="*/ 3055 w 11107"/>
                  <a:gd name="connsiteY3" fmla="*/ 11999 h 14155"/>
                  <a:gd name="connsiteX4" fmla="*/ 5748 w 11107"/>
                  <a:gd name="connsiteY4" fmla="*/ 9547 h 14155"/>
                  <a:gd name="connsiteX5" fmla="*/ 8886 w 11107"/>
                  <a:gd name="connsiteY5" fmla="*/ 10759 h 14155"/>
                  <a:gd name="connsiteX6" fmla="*/ 10686 w 11107"/>
                  <a:gd name="connsiteY6" fmla="*/ 8533 h 14155"/>
                  <a:gd name="connsiteX7" fmla="*/ 10687 w 11107"/>
                  <a:gd name="connsiteY7" fmla="*/ 4215 h 14155"/>
                  <a:gd name="connsiteX8" fmla="*/ 9728 w 11107"/>
                  <a:gd name="connsiteY8" fmla="*/ 835 h 14155"/>
                  <a:gd name="connsiteX9" fmla="*/ 5139 w 11107"/>
                  <a:gd name="connsiteY9" fmla="*/ 1423 h 14155"/>
                  <a:gd name="connsiteX0" fmla="*/ 5139 w 12384"/>
                  <a:gd name="connsiteY0" fmla="*/ 1423 h 14155"/>
                  <a:gd name="connsiteX1" fmla="*/ 2266 w 12384"/>
                  <a:gd name="connsiteY1" fmla="*/ 3276 h 14155"/>
                  <a:gd name="connsiteX2" fmla="*/ 546 w 12384"/>
                  <a:gd name="connsiteY2" fmla="*/ 7195 h 14155"/>
                  <a:gd name="connsiteX3" fmla="*/ 3055 w 12384"/>
                  <a:gd name="connsiteY3" fmla="*/ 11999 h 14155"/>
                  <a:gd name="connsiteX4" fmla="*/ 5748 w 12384"/>
                  <a:gd name="connsiteY4" fmla="*/ 9547 h 14155"/>
                  <a:gd name="connsiteX5" fmla="*/ 8886 w 12384"/>
                  <a:gd name="connsiteY5" fmla="*/ 10759 h 14155"/>
                  <a:gd name="connsiteX6" fmla="*/ 10686 w 12384"/>
                  <a:gd name="connsiteY6" fmla="*/ 8533 h 14155"/>
                  <a:gd name="connsiteX7" fmla="*/ 12184 w 12384"/>
                  <a:gd name="connsiteY7" fmla="*/ 3927 h 14155"/>
                  <a:gd name="connsiteX8" fmla="*/ 9728 w 12384"/>
                  <a:gd name="connsiteY8" fmla="*/ 835 h 14155"/>
                  <a:gd name="connsiteX9" fmla="*/ 5139 w 12384"/>
                  <a:gd name="connsiteY9" fmla="*/ 1423 h 14155"/>
                  <a:gd name="connsiteX0" fmla="*/ 5139 w 12562"/>
                  <a:gd name="connsiteY0" fmla="*/ 1423 h 14155"/>
                  <a:gd name="connsiteX1" fmla="*/ 2266 w 12562"/>
                  <a:gd name="connsiteY1" fmla="*/ 3276 h 14155"/>
                  <a:gd name="connsiteX2" fmla="*/ 546 w 12562"/>
                  <a:gd name="connsiteY2" fmla="*/ 7195 h 14155"/>
                  <a:gd name="connsiteX3" fmla="*/ 3055 w 12562"/>
                  <a:gd name="connsiteY3" fmla="*/ 11999 h 14155"/>
                  <a:gd name="connsiteX4" fmla="*/ 5748 w 12562"/>
                  <a:gd name="connsiteY4" fmla="*/ 9547 h 14155"/>
                  <a:gd name="connsiteX5" fmla="*/ 8886 w 12562"/>
                  <a:gd name="connsiteY5" fmla="*/ 10759 h 14155"/>
                  <a:gd name="connsiteX6" fmla="*/ 12027 w 12562"/>
                  <a:gd name="connsiteY6" fmla="*/ 8163 h 14155"/>
                  <a:gd name="connsiteX7" fmla="*/ 12184 w 12562"/>
                  <a:gd name="connsiteY7" fmla="*/ 3927 h 14155"/>
                  <a:gd name="connsiteX8" fmla="*/ 9728 w 12562"/>
                  <a:gd name="connsiteY8" fmla="*/ 835 h 14155"/>
                  <a:gd name="connsiteX9" fmla="*/ 5139 w 12562"/>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53"/>
                  <a:gd name="connsiteY0" fmla="*/ 1423 h 14155"/>
                  <a:gd name="connsiteX1" fmla="*/ 2266 w 14753"/>
                  <a:gd name="connsiteY1" fmla="*/ 3276 h 14155"/>
                  <a:gd name="connsiteX2" fmla="*/ 546 w 14753"/>
                  <a:gd name="connsiteY2" fmla="*/ 7195 h 14155"/>
                  <a:gd name="connsiteX3" fmla="*/ 3055 w 14753"/>
                  <a:gd name="connsiteY3" fmla="*/ 11999 h 14155"/>
                  <a:gd name="connsiteX4" fmla="*/ 5748 w 14753"/>
                  <a:gd name="connsiteY4" fmla="*/ 9547 h 14155"/>
                  <a:gd name="connsiteX5" fmla="*/ 8886 w 14753"/>
                  <a:gd name="connsiteY5" fmla="*/ 10759 h 14155"/>
                  <a:gd name="connsiteX6" fmla="*/ 11965 w 14753"/>
                  <a:gd name="connsiteY6" fmla="*/ 8779 h 14155"/>
                  <a:gd name="connsiteX7" fmla="*/ 12184 w 14753"/>
                  <a:gd name="connsiteY7" fmla="*/ 3927 h 14155"/>
                  <a:gd name="connsiteX8" fmla="*/ 9728 w 14753"/>
                  <a:gd name="connsiteY8" fmla="*/ 835 h 14155"/>
                  <a:gd name="connsiteX9" fmla="*/ 5139 w 14753"/>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661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69"/>
                  <a:gd name="connsiteX1" fmla="*/ 2697 w 16991"/>
                  <a:gd name="connsiteY1" fmla="*/ 3276 h 14169"/>
                  <a:gd name="connsiteX2" fmla="*/ 1039 w 16991"/>
                  <a:gd name="connsiteY2" fmla="*/ 6661 h 14169"/>
                  <a:gd name="connsiteX3" fmla="*/ 2831 w 16991"/>
                  <a:gd name="connsiteY3" fmla="*/ 11547 h 14169"/>
                  <a:gd name="connsiteX4" fmla="*/ 6179 w 16991"/>
                  <a:gd name="connsiteY4" fmla="*/ 9547 h 14169"/>
                  <a:gd name="connsiteX5" fmla="*/ 9317 w 16991"/>
                  <a:gd name="connsiteY5" fmla="*/ 10759 h 14169"/>
                  <a:gd name="connsiteX6" fmla="*/ 12396 w 16991"/>
                  <a:gd name="connsiteY6" fmla="*/ 8779 h 14169"/>
                  <a:gd name="connsiteX7" fmla="*/ 12615 w 16991"/>
                  <a:gd name="connsiteY7" fmla="*/ 3927 h 14169"/>
                  <a:gd name="connsiteX8" fmla="*/ 10159 w 16991"/>
                  <a:gd name="connsiteY8" fmla="*/ 835 h 14169"/>
                  <a:gd name="connsiteX9" fmla="*/ 5570 w 16991"/>
                  <a:gd name="connsiteY9" fmla="*/ 1423 h 14169"/>
                  <a:gd name="connsiteX0" fmla="*/ 5570 w 16991"/>
                  <a:gd name="connsiteY0" fmla="*/ 1423 h 14319"/>
                  <a:gd name="connsiteX1" fmla="*/ 2697 w 16991"/>
                  <a:gd name="connsiteY1" fmla="*/ 3276 h 14319"/>
                  <a:gd name="connsiteX2" fmla="*/ 1039 w 16991"/>
                  <a:gd name="connsiteY2" fmla="*/ 6661 h 14319"/>
                  <a:gd name="connsiteX3" fmla="*/ 2831 w 16991"/>
                  <a:gd name="connsiteY3" fmla="*/ 11547 h 14319"/>
                  <a:gd name="connsiteX4" fmla="*/ 6241 w 16991"/>
                  <a:gd name="connsiteY4" fmla="*/ 10204 h 14319"/>
                  <a:gd name="connsiteX5" fmla="*/ 9317 w 16991"/>
                  <a:gd name="connsiteY5" fmla="*/ 10759 h 14319"/>
                  <a:gd name="connsiteX6" fmla="*/ 12396 w 16991"/>
                  <a:gd name="connsiteY6" fmla="*/ 8779 h 14319"/>
                  <a:gd name="connsiteX7" fmla="*/ 12615 w 16991"/>
                  <a:gd name="connsiteY7" fmla="*/ 3927 h 14319"/>
                  <a:gd name="connsiteX8" fmla="*/ 10159 w 16991"/>
                  <a:gd name="connsiteY8" fmla="*/ 835 h 14319"/>
                  <a:gd name="connsiteX9" fmla="*/ 5570 w 16991"/>
                  <a:gd name="connsiteY9" fmla="*/ 1423 h 14319"/>
                  <a:gd name="connsiteX0" fmla="*/ 5570 w 16991"/>
                  <a:gd name="connsiteY0" fmla="*/ 1423 h 14440"/>
                  <a:gd name="connsiteX1" fmla="*/ 2697 w 16991"/>
                  <a:gd name="connsiteY1" fmla="*/ 3276 h 14440"/>
                  <a:gd name="connsiteX2" fmla="*/ 1039 w 16991"/>
                  <a:gd name="connsiteY2" fmla="*/ 6661 h 14440"/>
                  <a:gd name="connsiteX3" fmla="*/ 2831 w 16991"/>
                  <a:gd name="connsiteY3" fmla="*/ 11547 h 14440"/>
                  <a:gd name="connsiteX4" fmla="*/ 6241 w 16991"/>
                  <a:gd name="connsiteY4" fmla="*/ 10204 h 14440"/>
                  <a:gd name="connsiteX5" fmla="*/ 9317 w 16991"/>
                  <a:gd name="connsiteY5" fmla="*/ 10759 h 14440"/>
                  <a:gd name="connsiteX6" fmla="*/ 12396 w 16991"/>
                  <a:gd name="connsiteY6" fmla="*/ 8779 h 14440"/>
                  <a:gd name="connsiteX7" fmla="*/ 12615 w 16991"/>
                  <a:gd name="connsiteY7" fmla="*/ 3927 h 14440"/>
                  <a:gd name="connsiteX8" fmla="*/ 10159 w 16991"/>
                  <a:gd name="connsiteY8" fmla="*/ 835 h 14440"/>
                  <a:gd name="connsiteX9" fmla="*/ 5570 w 16991"/>
                  <a:gd name="connsiteY9" fmla="*/ 1423 h 14440"/>
                  <a:gd name="connsiteX0" fmla="*/ 5570 w 16991"/>
                  <a:gd name="connsiteY0" fmla="*/ 1423 h 14549"/>
                  <a:gd name="connsiteX1" fmla="*/ 2697 w 16991"/>
                  <a:gd name="connsiteY1" fmla="*/ 3276 h 14549"/>
                  <a:gd name="connsiteX2" fmla="*/ 1039 w 16991"/>
                  <a:gd name="connsiteY2" fmla="*/ 6661 h 14549"/>
                  <a:gd name="connsiteX3" fmla="*/ 2831 w 16991"/>
                  <a:gd name="connsiteY3" fmla="*/ 11547 h 14549"/>
                  <a:gd name="connsiteX4" fmla="*/ 6241 w 16991"/>
                  <a:gd name="connsiteY4" fmla="*/ 10204 h 14549"/>
                  <a:gd name="connsiteX5" fmla="*/ 9317 w 16991"/>
                  <a:gd name="connsiteY5" fmla="*/ 10759 h 14549"/>
                  <a:gd name="connsiteX6" fmla="*/ 12396 w 16991"/>
                  <a:gd name="connsiteY6" fmla="*/ 8779 h 14549"/>
                  <a:gd name="connsiteX7" fmla="*/ 12615 w 16991"/>
                  <a:gd name="connsiteY7" fmla="*/ 3927 h 14549"/>
                  <a:gd name="connsiteX8" fmla="*/ 10159 w 16991"/>
                  <a:gd name="connsiteY8" fmla="*/ 835 h 14549"/>
                  <a:gd name="connsiteX9" fmla="*/ 5570 w 16991"/>
                  <a:gd name="connsiteY9" fmla="*/ 1423 h 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991" h="14549">
                    <a:moveTo>
                      <a:pt x="5570" y="1423"/>
                    </a:moveTo>
                    <a:cubicBezTo>
                      <a:pt x="5570" y="1423"/>
                      <a:pt x="3130" y="3084"/>
                      <a:pt x="2697" y="3276"/>
                    </a:cubicBezTo>
                    <a:cubicBezTo>
                      <a:pt x="2116" y="3276"/>
                      <a:pt x="-1842" y="6053"/>
                      <a:pt x="1039" y="6661"/>
                    </a:cubicBezTo>
                    <a:cubicBezTo>
                      <a:pt x="7088" y="4584"/>
                      <a:pt x="1964" y="10957"/>
                      <a:pt x="2831" y="11547"/>
                    </a:cubicBezTo>
                    <a:cubicBezTo>
                      <a:pt x="3698" y="12137"/>
                      <a:pt x="5378" y="9267"/>
                      <a:pt x="6241" y="10204"/>
                    </a:cubicBezTo>
                    <a:cubicBezTo>
                      <a:pt x="7104" y="11141"/>
                      <a:pt x="8518" y="19143"/>
                      <a:pt x="9317" y="10759"/>
                    </a:cubicBezTo>
                    <a:cubicBezTo>
                      <a:pt x="9836" y="7618"/>
                      <a:pt x="10455" y="8698"/>
                      <a:pt x="12396" y="8779"/>
                    </a:cubicBezTo>
                    <a:cubicBezTo>
                      <a:pt x="22146" y="14045"/>
                      <a:pt x="13484" y="5276"/>
                      <a:pt x="12615" y="3927"/>
                    </a:cubicBezTo>
                    <a:cubicBezTo>
                      <a:pt x="11601" y="2772"/>
                      <a:pt x="11853" y="1347"/>
                      <a:pt x="10159" y="835"/>
                    </a:cubicBezTo>
                    <a:cubicBezTo>
                      <a:pt x="8883" y="-1003"/>
                      <a:pt x="5715" y="652"/>
                      <a:pt x="5570" y="1423"/>
                    </a:cubicBezTo>
                    <a:close/>
                  </a:path>
                </a:pathLst>
              </a:custGeom>
              <a:solidFill>
                <a:srgbClr val="FFC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42" name="Oval 284">
                <a:extLst>
                  <a:ext uri="{FF2B5EF4-FFF2-40B4-BE49-F238E27FC236}">
                    <a16:creationId xmlns:a16="http://schemas.microsoft.com/office/drawing/2014/main" id="{6927EBD3-103E-488D-ABEC-E314870FACB5}"/>
                  </a:ext>
                </a:extLst>
              </p:cNvPr>
              <p:cNvSpPr>
                <a:spLocks noChangeArrowheads="1"/>
              </p:cNvSpPr>
              <p:nvPr/>
            </p:nvSpPr>
            <p:spPr bwMode="auto">
              <a:xfrm rot="15772157">
                <a:off x="8188752" y="2258212"/>
                <a:ext cx="63039" cy="160334"/>
              </a:xfrm>
              <a:prstGeom prst="ellipse">
                <a:avLst/>
              </a:prstGeom>
              <a:solidFill>
                <a:srgbClr val="E2A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9" name="Group 18">
              <a:extLst>
                <a:ext uri="{FF2B5EF4-FFF2-40B4-BE49-F238E27FC236}">
                  <a16:creationId xmlns:a16="http://schemas.microsoft.com/office/drawing/2014/main" id="{CFD77286-66E1-4C53-A288-2287344B0029}"/>
                </a:ext>
              </a:extLst>
            </p:cNvPr>
            <p:cNvGrpSpPr/>
            <p:nvPr/>
          </p:nvGrpSpPr>
          <p:grpSpPr>
            <a:xfrm rot="19825330">
              <a:off x="6072645" y="4999228"/>
              <a:ext cx="614395" cy="302314"/>
              <a:chOff x="7815272" y="2280892"/>
              <a:chExt cx="817760" cy="302314"/>
            </a:xfrm>
          </p:grpSpPr>
          <p:sp>
            <p:nvSpPr>
              <p:cNvPr id="239" name="Freeform 283">
                <a:extLst>
                  <a:ext uri="{FF2B5EF4-FFF2-40B4-BE49-F238E27FC236}">
                    <a16:creationId xmlns:a16="http://schemas.microsoft.com/office/drawing/2014/main" id="{5FE42FE4-C415-4F8C-80CB-9E40EA7C51C4}"/>
                  </a:ext>
                </a:extLst>
              </p:cNvPr>
              <p:cNvSpPr>
                <a:spLocks/>
              </p:cNvSpPr>
              <p:nvPr/>
            </p:nvSpPr>
            <p:spPr bwMode="auto">
              <a:xfrm rot="21172157">
                <a:off x="7815272" y="2280892"/>
                <a:ext cx="817760" cy="302314"/>
              </a:xfrm>
              <a:custGeom>
                <a:avLst/>
                <a:gdLst>
                  <a:gd name="T0" fmla="*/ 26 w 52"/>
                  <a:gd name="T1" fmla="*/ 4 h 51"/>
                  <a:gd name="T2" fmla="*/ 18 w 52"/>
                  <a:gd name="T3" fmla="*/ 10 h 51"/>
                  <a:gd name="T4" fmla="*/ 10 w 52"/>
                  <a:gd name="T5" fmla="*/ 12 h 51"/>
                  <a:gd name="T6" fmla="*/ 3 w 52"/>
                  <a:gd name="T7" fmla="*/ 25 h 51"/>
                  <a:gd name="T8" fmla="*/ 16 w 52"/>
                  <a:gd name="T9" fmla="*/ 37 h 51"/>
                  <a:gd name="T10" fmla="*/ 34 w 52"/>
                  <a:gd name="T11" fmla="*/ 45 h 51"/>
                  <a:gd name="T12" fmla="*/ 46 w 52"/>
                  <a:gd name="T13" fmla="*/ 36 h 51"/>
                  <a:gd name="T14" fmla="*/ 46 w 52"/>
                  <a:gd name="T15" fmla="*/ 17 h 51"/>
                  <a:gd name="T16" fmla="*/ 34 w 52"/>
                  <a:gd name="T17" fmla="*/ 5 h 51"/>
                  <a:gd name="T18" fmla="*/ 26 w 52"/>
                  <a:gd name="T19" fmla="*/ 4 h 51"/>
                  <a:gd name="connsiteX0" fmla="*/ 4531 w 11136"/>
                  <a:gd name="connsiteY0" fmla="*/ 500 h 9017"/>
                  <a:gd name="connsiteX1" fmla="*/ 2993 w 11136"/>
                  <a:gd name="connsiteY1" fmla="*/ 1677 h 9017"/>
                  <a:gd name="connsiteX2" fmla="*/ 1454 w 11136"/>
                  <a:gd name="connsiteY2" fmla="*/ 2069 h 9017"/>
                  <a:gd name="connsiteX3" fmla="*/ 108 w 11136"/>
                  <a:gd name="connsiteY3" fmla="*/ 4618 h 9017"/>
                  <a:gd name="connsiteX4" fmla="*/ 2608 w 11136"/>
                  <a:gd name="connsiteY4" fmla="*/ 6971 h 9017"/>
                  <a:gd name="connsiteX5" fmla="*/ 6069 w 11136"/>
                  <a:gd name="connsiteY5" fmla="*/ 8540 h 9017"/>
                  <a:gd name="connsiteX6" fmla="*/ 8377 w 11136"/>
                  <a:gd name="connsiteY6" fmla="*/ 6775 h 9017"/>
                  <a:gd name="connsiteX7" fmla="*/ 10903 w 11136"/>
                  <a:gd name="connsiteY7" fmla="*/ 2255 h 9017"/>
                  <a:gd name="connsiteX8" fmla="*/ 6069 w 11136"/>
                  <a:gd name="connsiteY8" fmla="*/ 696 h 9017"/>
                  <a:gd name="connsiteX9" fmla="*/ 4531 w 11136"/>
                  <a:gd name="connsiteY9" fmla="*/ 500 h 9017"/>
                  <a:gd name="connsiteX0" fmla="*/ 4069 w 10292"/>
                  <a:gd name="connsiteY0" fmla="*/ 555 h 10000"/>
                  <a:gd name="connsiteX1" fmla="*/ 2688 w 10292"/>
                  <a:gd name="connsiteY1" fmla="*/ 1860 h 10000"/>
                  <a:gd name="connsiteX2" fmla="*/ 1306 w 10292"/>
                  <a:gd name="connsiteY2" fmla="*/ 2295 h 10000"/>
                  <a:gd name="connsiteX3" fmla="*/ 97 w 10292"/>
                  <a:gd name="connsiteY3" fmla="*/ 5121 h 10000"/>
                  <a:gd name="connsiteX4" fmla="*/ 2342 w 10292"/>
                  <a:gd name="connsiteY4" fmla="*/ 7731 h 10000"/>
                  <a:gd name="connsiteX5" fmla="*/ 5450 w 10292"/>
                  <a:gd name="connsiteY5" fmla="*/ 9471 h 10000"/>
                  <a:gd name="connsiteX6" fmla="*/ 9790 w 10292"/>
                  <a:gd name="connsiteY6" fmla="*/ 7375 h 10000"/>
                  <a:gd name="connsiteX7" fmla="*/ 9791 w 10292"/>
                  <a:gd name="connsiteY7" fmla="*/ 2501 h 10000"/>
                  <a:gd name="connsiteX8" fmla="*/ 5450 w 10292"/>
                  <a:gd name="connsiteY8" fmla="*/ 772 h 10000"/>
                  <a:gd name="connsiteX9" fmla="*/ 4069 w 10292"/>
                  <a:gd name="connsiteY9" fmla="*/ 555 h 10000"/>
                  <a:gd name="connsiteX0" fmla="*/ 4069 w 10292"/>
                  <a:gd name="connsiteY0" fmla="*/ 555 h 9288"/>
                  <a:gd name="connsiteX1" fmla="*/ 2688 w 10292"/>
                  <a:gd name="connsiteY1" fmla="*/ 1860 h 9288"/>
                  <a:gd name="connsiteX2" fmla="*/ 1306 w 10292"/>
                  <a:gd name="connsiteY2" fmla="*/ 2295 h 9288"/>
                  <a:gd name="connsiteX3" fmla="*/ 97 w 10292"/>
                  <a:gd name="connsiteY3" fmla="*/ 5121 h 9288"/>
                  <a:gd name="connsiteX4" fmla="*/ 2342 w 10292"/>
                  <a:gd name="connsiteY4" fmla="*/ 7731 h 9288"/>
                  <a:gd name="connsiteX5" fmla="*/ 7309 w 10292"/>
                  <a:gd name="connsiteY5" fmla="*/ 8822 h 9288"/>
                  <a:gd name="connsiteX6" fmla="*/ 9790 w 10292"/>
                  <a:gd name="connsiteY6" fmla="*/ 7375 h 9288"/>
                  <a:gd name="connsiteX7" fmla="*/ 9791 w 10292"/>
                  <a:gd name="connsiteY7" fmla="*/ 2501 h 9288"/>
                  <a:gd name="connsiteX8" fmla="*/ 5450 w 10292"/>
                  <a:gd name="connsiteY8" fmla="*/ 772 h 9288"/>
                  <a:gd name="connsiteX9" fmla="*/ 4069 w 10292"/>
                  <a:gd name="connsiteY9" fmla="*/ 555 h 9288"/>
                  <a:gd name="connsiteX0" fmla="*/ 3974 w 10019"/>
                  <a:gd name="connsiteY0" fmla="*/ 598 h 9866"/>
                  <a:gd name="connsiteX1" fmla="*/ 2632 w 10019"/>
                  <a:gd name="connsiteY1" fmla="*/ 2003 h 9866"/>
                  <a:gd name="connsiteX2" fmla="*/ 1289 w 10019"/>
                  <a:gd name="connsiteY2" fmla="*/ 2471 h 9866"/>
                  <a:gd name="connsiteX3" fmla="*/ 114 w 10019"/>
                  <a:gd name="connsiteY3" fmla="*/ 5514 h 9866"/>
                  <a:gd name="connsiteX4" fmla="*/ 4716 w 10019"/>
                  <a:gd name="connsiteY4" fmla="*/ 7226 h 9866"/>
                  <a:gd name="connsiteX5" fmla="*/ 7122 w 10019"/>
                  <a:gd name="connsiteY5" fmla="*/ 9498 h 9866"/>
                  <a:gd name="connsiteX6" fmla="*/ 9532 w 10019"/>
                  <a:gd name="connsiteY6" fmla="*/ 7940 h 9866"/>
                  <a:gd name="connsiteX7" fmla="*/ 9533 w 10019"/>
                  <a:gd name="connsiteY7" fmla="*/ 2693 h 9866"/>
                  <a:gd name="connsiteX8" fmla="*/ 5315 w 10019"/>
                  <a:gd name="connsiteY8" fmla="*/ 831 h 9866"/>
                  <a:gd name="connsiteX9" fmla="*/ 3974 w 10019"/>
                  <a:gd name="connsiteY9" fmla="*/ 598 h 9866"/>
                  <a:gd name="connsiteX0" fmla="*/ 3432 w 9467"/>
                  <a:gd name="connsiteY0" fmla="*/ 606 h 12399"/>
                  <a:gd name="connsiteX1" fmla="*/ 2093 w 9467"/>
                  <a:gd name="connsiteY1" fmla="*/ 2030 h 12399"/>
                  <a:gd name="connsiteX2" fmla="*/ 753 w 9467"/>
                  <a:gd name="connsiteY2" fmla="*/ 2505 h 12399"/>
                  <a:gd name="connsiteX3" fmla="*/ 157 w 9467"/>
                  <a:gd name="connsiteY3" fmla="*/ 12318 h 12399"/>
                  <a:gd name="connsiteX4" fmla="*/ 4173 w 9467"/>
                  <a:gd name="connsiteY4" fmla="*/ 7324 h 12399"/>
                  <a:gd name="connsiteX5" fmla="*/ 6574 w 9467"/>
                  <a:gd name="connsiteY5" fmla="*/ 9627 h 12399"/>
                  <a:gd name="connsiteX6" fmla="*/ 8980 w 9467"/>
                  <a:gd name="connsiteY6" fmla="*/ 8048 h 12399"/>
                  <a:gd name="connsiteX7" fmla="*/ 8981 w 9467"/>
                  <a:gd name="connsiteY7" fmla="*/ 2730 h 12399"/>
                  <a:gd name="connsiteX8" fmla="*/ 4771 w 9467"/>
                  <a:gd name="connsiteY8" fmla="*/ 842 h 12399"/>
                  <a:gd name="connsiteX9" fmla="*/ 3432 w 9467"/>
                  <a:gd name="connsiteY9" fmla="*/ 606 h 12399"/>
                  <a:gd name="connsiteX0" fmla="*/ 5344 w 11719"/>
                  <a:gd name="connsiteY0" fmla="*/ 488 h 9962"/>
                  <a:gd name="connsiteX1" fmla="*/ 3930 w 11719"/>
                  <a:gd name="connsiteY1" fmla="*/ 1636 h 9962"/>
                  <a:gd name="connsiteX2" fmla="*/ 0 w 11719"/>
                  <a:gd name="connsiteY2" fmla="*/ 3447 h 9962"/>
                  <a:gd name="connsiteX3" fmla="*/ 1885 w 11719"/>
                  <a:gd name="connsiteY3" fmla="*/ 9934 h 9962"/>
                  <a:gd name="connsiteX4" fmla="*/ 6127 w 11719"/>
                  <a:gd name="connsiteY4" fmla="*/ 5906 h 9962"/>
                  <a:gd name="connsiteX5" fmla="*/ 8663 w 11719"/>
                  <a:gd name="connsiteY5" fmla="*/ 7763 h 9962"/>
                  <a:gd name="connsiteX6" fmla="*/ 11205 w 11719"/>
                  <a:gd name="connsiteY6" fmla="*/ 6490 h 9962"/>
                  <a:gd name="connsiteX7" fmla="*/ 11206 w 11719"/>
                  <a:gd name="connsiteY7" fmla="*/ 2201 h 9962"/>
                  <a:gd name="connsiteX8" fmla="*/ 6759 w 11719"/>
                  <a:gd name="connsiteY8" fmla="*/ 678 h 9962"/>
                  <a:gd name="connsiteX9" fmla="*/ 5344 w 11719"/>
                  <a:gd name="connsiteY9" fmla="*/ 488 h 9962"/>
                  <a:gd name="connsiteX0" fmla="*/ 4560 w 10000"/>
                  <a:gd name="connsiteY0" fmla="*/ 490 h 10000"/>
                  <a:gd name="connsiteX1" fmla="*/ 3354 w 10000"/>
                  <a:gd name="connsiteY1" fmla="*/ 1642 h 10000"/>
                  <a:gd name="connsiteX2" fmla="*/ 0 w 10000"/>
                  <a:gd name="connsiteY2" fmla="*/ 3460 h 10000"/>
                  <a:gd name="connsiteX3" fmla="*/ 1608 w 10000"/>
                  <a:gd name="connsiteY3" fmla="*/ 9972 h 10000"/>
                  <a:gd name="connsiteX4" fmla="*/ 5228 w 10000"/>
                  <a:gd name="connsiteY4" fmla="*/ 5929 h 10000"/>
                  <a:gd name="connsiteX5" fmla="*/ 7392 w 10000"/>
                  <a:gd name="connsiteY5" fmla="*/ 7793 h 10000"/>
                  <a:gd name="connsiteX6" fmla="*/ 9561 w 10000"/>
                  <a:gd name="connsiteY6" fmla="*/ 6515 h 10000"/>
                  <a:gd name="connsiteX7" fmla="*/ 9562 w 10000"/>
                  <a:gd name="connsiteY7" fmla="*/ 2209 h 10000"/>
                  <a:gd name="connsiteX8" fmla="*/ 5768 w 10000"/>
                  <a:gd name="connsiteY8" fmla="*/ 681 h 10000"/>
                  <a:gd name="connsiteX9" fmla="*/ 4560 w 10000"/>
                  <a:gd name="connsiteY9" fmla="*/ 490 h 10000"/>
                  <a:gd name="connsiteX0" fmla="*/ 4982 w 10422"/>
                  <a:gd name="connsiteY0" fmla="*/ 490 h 9973"/>
                  <a:gd name="connsiteX1" fmla="*/ 3776 w 10422"/>
                  <a:gd name="connsiteY1" fmla="*/ 1642 h 9973"/>
                  <a:gd name="connsiteX2" fmla="*/ 0 w 10422"/>
                  <a:gd name="connsiteY2" fmla="*/ 5385 h 9973"/>
                  <a:gd name="connsiteX3" fmla="*/ 2030 w 10422"/>
                  <a:gd name="connsiteY3" fmla="*/ 9972 h 9973"/>
                  <a:gd name="connsiteX4" fmla="*/ 5650 w 10422"/>
                  <a:gd name="connsiteY4" fmla="*/ 5929 h 9973"/>
                  <a:gd name="connsiteX5" fmla="*/ 7814 w 10422"/>
                  <a:gd name="connsiteY5" fmla="*/ 7793 h 9973"/>
                  <a:gd name="connsiteX6" fmla="*/ 9983 w 10422"/>
                  <a:gd name="connsiteY6" fmla="*/ 6515 h 9973"/>
                  <a:gd name="connsiteX7" fmla="*/ 9984 w 10422"/>
                  <a:gd name="connsiteY7" fmla="*/ 2209 h 9973"/>
                  <a:gd name="connsiteX8" fmla="*/ 6190 w 10422"/>
                  <a:gd name="connsiteY8" fmla="*/ 681 h 9973"/>
                  <a:gd name="connsiteX9" fmla="*/ 4982 w 10422"/>
                  <a:gd name="connsiteY9" fmla="*/ 490 h 9973"/>
                  <a:gd name="connsiteX0" fmla="*/ 4780 w 10000"/>
                  <a:gd name="connsiteY0" fmla="*/ 491 h 10000"/>
                  <a:gd name="connsiteX1" fmla="*/ 1159 w 10000"/>
                  <a:gd name="connsiteY1" fmla="*/ 1276 h 10000"/>
                  <a:gd name="connsiteX2" fmla="*/ 0 w 10000"/>
                  <a:gd name="connsiteY2" fmla="*/ 5400 h 10000"/>
                  <a:gd name="connsiteX3" fmla="*/ 1948 w 10000"/>
                  <a:gd name="connsiteY3" fmla="*/ 9999 h 10000"/>
                  <a:gd name="connsiteX4" fmla="*/ 5421 w 10000"/>
                  <a:gd name="connsiteY4" fmla="*/ 5945 h 10000"/>
                  <a:gd name="connsiteX5" fmla="*/ 7498 w 10000"/>
                  <a:gd name="connsiteY5" fmla="*/ 7814 h 10000"/>
                  <a:gd name="connsiteX6" fmla="*/ 9579 w 10000"/>
                  <a:gd name="connsiteY6" fmla="*/ 6533 h 10000"/>
                  <a:gd name="connsiteX7" fmla="*/ 9580 w 10000"/>
                  <a:gd name="connsiteY7" fmla="*/ 2215 h 10000"/>
                  <a:gd name="connsiteX8" fmla="*/ 5939 w 10000"/>
                  <a:gd name="connsiteY8" fmla="*/ 683 h 10000"/>
                  <a:gd name="connsiteX9" fmla="*/ 4780 w 10000"/>
                  <a:gd name="connsiteY9" fmla="*/ 491 h 10000"/>
                  <a:gd name="connsiteX0" fmla="*/ 4032 w 10000"/>
                  <a:gd name="connsiteY0" fmla="*/ 240 h 10817"/>
                  <a:gd name="connsiteX1" fmla="*/ 1159 w 10000"/>
                  <a:gd name="connsiteY1" fmla="*/ 2093 h 10817"/>
                  <a:gd name="connsiteX2" fmla="*/ 0 w 10000"/>
                  <a:gd name="connsiteY2" fmla="*/ 6217 h 10817"/>
                  <a:gd name="connsiteX3" fmla="*/ 1948 w 10000"/>
                  <a:gd name="connsiteY3" fmla="*/ 10816 h 10817"/>
                  <a:gd name="connsiteX4" fmla="*/ 5421 w 10000"/>
                  <a:gd name="connsiteY4" fmla="*/ 6762 h 10817"/>
                  <a:gd name="connsiteX5" fmla="*/ 7498 w 10000"/>
                  <a:gd name="connsiteY5" fmla="*/ 8631 h 10817"/>
                  <a:gd name="connsiteX6" fmla="*/ 9579 w 10000"/>
                  <a:gd name="connsiteY6" fmla="*/ 7350 h 10817"/>
                  <a:gd name="connsiteX7" fmla="*/ 9580 w 10000"/>
                  <a:gd name="connsiteY7" fmla="*/ 3032 h 10817"/>
                  <a:gd name="connsiteX8" fmla="*/ 5939 w 10000"/>
                  <a:gd name="connsiteY8" fmla="*/ 1500 h 10817"/>
                  <a:gd name="connsiteX9" fmla="*/ 4032 w 10000"/>
                  <a:gd name="connsiteY9" fmla="*/ 240 h 10817"/>
                  <a:gd name="connsiteX0" fmla="*/ 4032 w 10000"/>
                  <a:gd name="connsiteY0" fmla="*/ 507 h 11084"/>
                  <a:gd name="connsiteX1" fmla="*/ 1159 w 10000"/>
                  <a:gd name="connsiteY1" fmla="*/ 2360 h 11084"/>
                  <a:gd name="connsiteX2" fmla="*/ 0 w 10000"/>
                  <a:gd name="connsiteY2" fmla="*/ 6484 h 11084"/>
                  <a:gd name="connsiteX3" fmla="*/ 1948 w 10000"/>
                  <a:gd name="connsiteY3" fmla="*/ 11083 h 11084"/>
                  <a:gd name="connsiteX4" fmla="*/ 5421 w 10000"/>
                  <a:gd name="connsiteY4" fmla="*/ 7029 h 11084"/>
                  <a:gd name="connsiteX5" fmla="*/ 7498 w 10000"/>
                  <a:gd name="connsiteY5" fmla="*/ 8898 h 11084"/>
                  <a:gd name="connsiteX6" fmla="*/ 9579 w 10000"/>
                  <a:gd name="connsiteY6" fmla="*/ 7617 h 11084"/>
                  <a:gd name="connsiteX7" fmla="*/ 9580 w 10000"/>
                  <a:gd name="connsiteY7" fmla="*/ 3299 h 11084"/>
                  <a:gd name="connsiteX8" fmla="*/ 8340 w 10000"/>
                  <a:gd name="connsiteY8" fmla="*/ 658 h 11084"/>
                  <a:gd name="connsiteX9" fmla="*/ 4032 w 10000"/>
                  <a:gd name="connsiteY9" fmla="*/ 507 h 11084"/>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67"/>
                  <a:gd name="connsiteX1" fmla="*/ 1159 w 10000"/>
                  <a:gd name="connsiteY1" fmla="*/ 2309 h 11067"/>
                  <a:gd name="connsiteX2" fmla="*/ 0 w 10000"/>
                  <a:gd name="connsiteY2" fmla="*/ 6433 h 11067"/>
                  <a:gd name="connsiteX3" fmla="*/ 1948 w 10000"/>
                  <a:gd name="connsiteY3" fmla="*/ 11032 h 11067"/>
                  <a:gd name="connsiteX4" fmla="*/ 4641 w 10000"/>
                  <a:gd name="connsiteY4" fmla="*/ 8580 h 11067"/>
                  <a:gd name="connsiteX5" fmla="*/ 7498 w 10000"/>
                  <a:gd name="connsiteY5" fmla="*/ 8847 h 11067"/>
                  <a:gd name="connsiteX6" fmla="*/ 9579 w 10000"/>
                  <a:gd name="connsiteY6" fmla="*/ 7566 h 11067"/>
                  <a:gd name="connsiteX7" fmla="*/ 9580 w 10000"/>
                  <a:gd name="connsiteY7" fmla="*/ 3248 h 11067"/>
                  <a:gd name="connsiteX8" fmla="*/ 8340 w 10000"/>
                  <a:gd name="connsiteY8" fmla="*/ 607 h 11067"/>
                  <a:gd name="connsiteX9" fmla="*/ 4032 w 10000"/>
                  <a:gd name="connsiteY9" fmla="*/ 456 h 11067"/>
                  <a:gd name="connsiteX0" fmla="*/ 4032 w 10000"/>
                  <a:gd name="connsiteY0" fmla="*/ 456 h 11053"/>
                  <a:gd name="connsiteX1" fmla="*/ 1159 w 10000"/>
                  <a:gd name="connsiteY1" fmla="*/ 2309 h 11053"/>
                  <a:gd name="connsiteX2" fmla="*/ 0 w 10000"/>
                  <a:gd name="connsiteY2" fmla="*/ 6433 h 11053"/>
                  <a:gd name="connsiteX3" fmla="*/ 1948 w 10000"/>
                  <a:gd name="connsiteY3" fmla="*/ 11032 h 11053"/>
                  <a:gd name="connsiteX4" fmla="*/ 4641 w 10000"/>
                  <a:gd name="connsiteY4" fmla="*/ 8580 h 11053"/>
                  <a:gd name="connsiteX5" fmla="*/ 7498 w 10000"/>
                  <a:gd name="connsiteY5" fmla="*/ 8847 h 11053"/>
                  <a:gd name="connsiteX6" fmla="*/ 9579 w 10000"/>
                  <a:gd name="connsiteY6" fmla="*/ 7566 h 11053"/>
                  <a:gd name="connsiteX7" fmla="*/ 9580 w 10000"/>
                  <a:gd name="connsiteY7" fmla="*/ 3248 h 11053"/>
                  <a:gd name="connsiteX8" fmla="*/ 8340 w 10000"/>
                  <a:gd name="connsiteY8" fmla="*/ 607 h 11053"/>
                  <a:gd name="connsiteX9" fmla="*/ 4032 w 10000"/>
                  <a:gd name="connsiteY9" fmla="*/ 456 h 11053"/>
                  <a:gd name="connsiteX0" fmla="*/ 4032 w 10000"/>
                  <a:gd name="connsiteY0" fmla="*/ 456 h 11130"/>
                  <a:gd name="connsiteX1" fmla="*/ 1159 w 10000"/>
                  <a:gd name="connsiteY1" fmla="*/ 2309 h 11130"/>
                  <a:gd name="connsiteX2" fmla="*/ 0 w 10000"/>
                  <a:gd name="connsiteY2" fmla="*/ 6433 h 11130"/>
                  <a:gd name="connsiteX3" fmla="*/ 1948 w 10000"/>
                  <a:gd name="connsiteY3" fmla="*/ 11032 h 11130"/>
                  <a:gd name="connsiteX4" fmla="*/ 4641 w 10000"/>
                  <a:gd name="connsiteY4" fmla="*/ 8580 h 11130"/>
                  <a:gd name="connsiteX5" fmla="*/ 7498 w 10000"/>
                  <a:gd name="connsiteY5" fmla="*/ 8847 h 11130"/>
                  <a:gd name="connsiteX6" fmla="*/ 9579 w 10000"/>
                  <a:gd name="connsiteY6" fmla="*/ 7566 h 11130"/>
                  <a:gd name="connsiteX7" fmla="*/ 9580 w 10000"/>
                  <a:gd name="connsiteY7" fmla="*/ 3248 h 11130"/>
                  <a:gd name="connsiteX8" fmla="*/ 8340 w 10000"/>
                  <a:gd name="connsiteY8" fmla="*/ 607 h 11130"/>
                  <a:gd name="connsiteX9" fmla="*/ 4032 w 10000"/>
                  <a:gd name="connsiteY9" fmla="*/ 456 h 11130"/>
                  <a:gd name="connsiteX0" fmla="*/ 4662 w 10630"/>
                  <a:gd name="connsiteY0" fmla="*/ 456 h 11130"/>
                  <a:gd name="connsiteX1" fmla="*/ 1789 w 10630"/>
                  <a:gd name="connsiteY1" fmla="*/ 2309 h 11130"/>
                  <a:gd name="connsiteX2" fmla="*/ 630 w 10630"/>
                  <a:gd name="connsiteY2" fmla="*/ 6433 h 11130"/>
                  <a:gd name="connsiteX3" fmla="*/ 2578 w 10630"/>
                  <a:gd name="connsiteY3" fmla="*/ 11032 h 11130"/>
                  <a:gd name="connsiteX4" fmla="*/ 5271 w 10630"/>
                  <a:gd name="connsiteY4" fmla="*/ 8580 h 11130"/>
                  <a:gd name="connsiteX5" fmla="*/ 8128 w 10630"/>
                  <a:gd name="connsiteY5" fmla="*/ 8847 h 11130"/>
                  <a:gd name="connsiteX6" fmla="*/ 10209 w 10630"/>
                  <a:gd name="connsiteY6" fmla="*/ 7566 h 11130"/>
                  <a:gd name="connsiteX7" fmla="*/ 10210 w 10630"/>
                  <a:gd name="connsiteY7" fmla="*/ 3248 h 11130"/>
                  <a:gd name="connsiteX8" fmla="*/ 8970 w 10630"/>
                  <a:gd name="connsiteY8" fmla="*/ 607 h 11130"/>
                  <a:gd name="connsiteX9" fmla="*/ 4662 w 10630"/>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2836"/>
                  <a:gd name="connsiteX1" fmla="*/ 2266 w 11107"/>
                  <a:gd name="connsiteY1" fmla="*/ 2309 h 12836"/>
                  <a:gd name="connsiteX2" fmla="*/ 546 w 11107"/>
                  <a:gd name="connsiteY2" fmla="*/ 6228 h 12836"/>
                  <a:gd name="connsiteX3" fmla="*/ 3055 w 11107"/>
                  <a:gd name="connsiteY3" fmla="*/ 11032 h 12836"/>
                  <a:gd name="connsiteX4" fmla="*/ 5748 w 11107"/>
                  <a:gd name="connsiteY4" fmla="*/ 8580 h 12836"/>
                  <a:gd name="connsiteX5" fmla="*/ 8605 w 11107"/>
                  <a:gd name="connsiteY5" fmla="*/ 8847 h 12836"/>
                  <a:gd name="connsiteX6" fmla="*/ 10686 w 11107"/>
                  <a:gd name="connsiteY6" fmla="*/ 7566 h 12836"/>
                  <a:gd name="connsiteX7" fmla="*/ 10687 w 11107"/>
                  <a:gd name="connsiteY7" fmla="*/ 3248 h 12836"/>
                  <a:gd name="connsiteX8" fmla="*/ 9447 w 11107"/>
                  <a:gd name="connsiteY8" fmla="*/ 607 h 12836"/>
                  <a:gd name="connsiteX9" fmla="*/ 5139 w 11107"/>
                  <a:gd name="connsiteY9" fmla="*/ 456 h 12836"/>
                  <a:gd name="connsiteX0" fmla="*/ 5139 w 11107"/>
                  <a:gd name="connsiteY0" fmla="*/ 456 h 13188"/>
                  <a:gd name="connsiteX1" fmla="*/ 2266 w 11107"/>
                  <a:gd name="connsiteY1" fmla="*/ 2309 h 13188"/>
                  <a:gd name="connsiteX2" fmla="*/ 546 w 11107"/>
                  <a:gd name="connsiteY2" fmla="*/ 6228 h 13188"/>
                  <a:gd name="connsiteX3" fmla="*/ 3055 w 11107"/>
                  <a:gd name="connsiteY3" fmla="*/ 11032 h 13188"/>
                  <a:gd name="connsiteX4" fmla="*/ 5748 w 11107"/>
                  <a:gd name="connsiteY4" fmla="*/ 8580 h 13188"/>
                  <a:gd name="connsiteX5" fmla="*/ 8886 w 11107"/>
                  <a:gd name="connsiteY5" fmla="*/ 9792 h 13188"/>
                  <a:gd name="connsiteX6" fmla="*/ 10686 w 11107"/>
                  <a:gd name="connsiteY6" fmla="*/ 7566 h 13188"/>
                  <a:gd name="connsiteX7" fmla="*/ 10687 w 11107"/>
                  <a:gd name="connsiteY7" fmla="*/ 3248 h 13188"/>
                  <a:gd name="connsiteX8" fmla="*/ 9447 w 11107"/>
                  <a:gd name="connsiteY8" fmla="*/ 607 h 13188"/>
                  <a:gd name="connsiteX9" fmla="*/ 5139 w 11107"/>
                  <a:gd name="connsiteY9" fmla="*/ 456 h 13188"/>
                  <a:gd name="connsiteX0" fmla="*/ 5139 w 11107"/>
                  <a:gd name="connsiteY0" fmla="*/ 922 h 13654"/>
                  <a:gd name="connsiteX1" fmla="*/ 2266 w 11107"/>
                  <a:gd name="connsiteY1" fmla="*/ 2775 h 13654"/>
                  <a:gd name="connsiteX2" fmla="*/ 546 w 11107"/>
                  <a:gd name="connsiteY2" fmla="*/ 6694 h 13654"/>
                  <a:gd name="connsiteX3" fmla="*/ 3055 w 11107"/>
                  <a:gd name="connsiteY3" fmla="*/ 11498 h 13654"/>
                  <a:gd name="connsiteX4" fmla="*/ 5748 w 11107"/>
                  <a:gd name="connsiteY4" fmla="*/ 9046 h 13654"/>
                  <a:gd name="connsiteX5" fmla="*/ 8886 w 11107"/>
                  <a:gd name="connsiteY5" fmla="*/ 10258 h 13654"/>
                  <a:gd name="connsiteX6" fmla="*/ 10686 w 11107"/>
                  <a:gd name="connsiteY6" fmla="*/ 8032 h 13654"/>
                  <a:gd name="connsiteX7" fmla="*/ 10687 w 11107"/>
                  <a:gd name="connsiteY7" fmla="*/ 3714 h 13654"/>
                  <a:gd name="connsiteX8" fmla="*/ 9447 w 11107"/>
                  <a:gd name="connsiteY8" fmla="*/ 1073 h 13654"/>
                  <a:gd name="connsiteX9" fmla="*/ 5139 w 11107"/>
                  <a:gd name="connsiteY9" fmla="*/ 922 h 13654"/>
                  <a:gd name="connsiteX0" fmla="*/ 5139 w 11107"/>
                  <a:gd name="connsiteY0" fmla="*/ 1423 h 14155"/>
                  <a:gd name="connsiteX1" fmla="*/ 2266 w 11107"/>
                  <a:gd name="connsiteY1" fmla="*/ 3276 h 14155"/>
                  <a:gd name="connsiteX2" fmla="*/ 546 w 11107"/>
                  <a:gd name="connsiteY2" fmla="*/ 7195 h 14155"/>
                  <a:gd name="connsiteX3" fmla="*/ 3055 w 11107"/>
                  <a:gd name="connsiteY3" fmla="*/ 11999 h 14155"/>
                  <a:gd name="connsiteX4" fmla="*/ 5748 w 11107"/>
                  <a:gd name="connsiteY4" fmla="*/ 9547 h 14155"/>
                  <a:gd name="connsiteX5" fmla="*/ 8886 w 11107"/>
                  <a:gd name="connsiteY5" fmla="*/ 10759 h 14155"/>
                  <a:gd name="connsiteX6" fmla="*/ 10686 w 11107"/>
                  <a:gd name="connsiteY6" fmla="*/ 8533 h 14155"/>
                  <a:gd name="connsiteX7" fmla="*/ 10687 w 11107"/>
                  <a:gd name="connsiteY7" fmla="*/ 4215 h 14155"/>
                  <a:gd name="connsiteX8" fmla="*/ 9728 w 11107"/>
                  <a:gd name="connsiteY8" fmla="*/ 835 h 14155"/>
                  <a:gd name="connsiteX9" fmla="*/ 5139 w 11107"/>
                  <a:gd name="connsiteY9" fmla="*/ 1423 h 14155"/>
                  <a:gd name="connsiteX0" fmla="*/ 5139 w 12384"/>
                  <a:gd name="connsiteY0" fmla="*/ 1423 h 14155"/>
                  <a:gd name="connsiteX1" fmla="*/ 2266 w 12384"/>
                  <a:gd name="connsiteY1" fmla="*/ 3276 h 14155"/>
                  <a:gd name="connsiteX2" fmla="*/ 546 w 12384"/>
                  <a:gd name="connsiteY2" fmla="*/ 7195 h 14155"/>
                  <a:gd name="connsiteX3" fmla="*/ 3055 w 12384"/>
                  <a:gd name="connsiteY3" fmla="*/ 11999 h 14155"/>
                  <a:gd name="connsiteX4" fmla="*/ 5748 w 12384"/>
                  <a:gd name="connsiteY4" fmla="*/ 9547 h 14155"/>
                  <a:gd name="connsiteX5" fmla="*/ 8886 w 12384"/>
                  <a:gd name="connsiteY5" fmla="*/ 10759 h 14155"/>
                  <a:gd name="connsiteX6" fmla="*/ 10686 w 12384"/>
                  <a:gd name="connsiteY6" fmla="*/ 8533 h 14155"/>
                  <a:gd name="connsiteX7" fmla="*/ 12184 w 12384"/>
                  <a:gd name="connsiteY7" fmla="*/ 3927 h 14155"/>
                  <a:gd name="connsiteX8" fmla="*/ 9728 w 12384"/>
                  <a:gd name="connsiteY8" fmla="*/ 835 h 14155"/>
                  <a:gd name="connsiteX9" fmla="*/ 5139 w 12384"/>
                  <a:gd name="connsiteY9" fmla="*/ 1423 h 14155"/>
                  <a:gd name="connsiteX0" fmla="*/ 5139 w 12562"/>
                  <a:gd name="connsiteY0" fmla="*/ 1423 h 14155"/>
                  <a:gd name="connsiteX1" fmla="*/ 2266 w 12562"/>
                  <a:gd name="connsiteY1" fmla="*/ 3276 h 14155"/>
                  <a:gd name="connsiteX2" fmla="*/ 546 w 12562"/>
                  <a:gd name="connsiteY2" fmla="*/ 7195 h 14155"/>
                  <a:gd name="connsiteX3" fmla="*/ 3055 w 12562"/>
                  <a:gd name="connsiteY3" fmla="*/ 11999 h 14155"/>
                  <a:gd name="connsiteX4" fmla="*/ 5748 w 12562"/>
                  <a:gd name="connsiteY4" fmla="*/ 9547 h 14155"/>
                  <a:gd name="connsiteX5" fmla="*/ 8886 w 12562"/>
                  <a:gd name="connsiteY5" fmla="*/ 10759 h 14155"/>
                  <a:gd name="connsiteX6" fmla="*/ 12027 w 12562"/>
                  <a:gd name="connsiteY6" fmla="*/ 8163 h 14155"/>
                  <a:gd name="connsiteX7" fmla="*/ 12184 w 12562"/>
                  <a:gd name="connsiteY7" fmla="*/ 3927 h 14155"/>
                  <a:gd name="connsiteX8" fmla="*/ 9728 w 12562"/>
                  <a:gd name="connsiteY8" fmla="*/ 835 h 14155"/>
                  <a:gd name="connsiteX9" fmla="*/ 5139 w 12562"/>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53"/>
                  <a:gd name="connsiteY0" fmla="*/ 1423 h 14155"/>
                  <a:gd name="connsiteX1" fmla="*/ 2266 w 14753"/>
                  <a:gd name="connsiteY1" fmla="*/ 3276 h 14155"/>
                  <a:gd name="connsiteX2" fmla="*/ 546 w 14753"/>
                  <a:gd name="connsiteY2" fmla="*/ 7195 h 14155"/>
                  <a:gd name="connsiteX3" fmla="*/ 3055 w 14753"/>
                  <a:gd name="connsiteY3" fmla="*/ 11999 h 14155"/>
                  <a:gd name="connsiteX4" fmla="*/ 5748 w 14753"/>
                  <a:gd name="connsiteY4" fmla="*/ 9547 h 14155"/>
                  <a:gd name="connsiteX5" fmla="*/ 8886 w 14753"/>
                  <a:gd name="connsiteY5" fmla="*/ 10759 h 14155"/>
                  <a:gd name="connsiteX6" fmla="*/ 11965 w 14753"/>
                  <a:gd name="connsiteY6" fmla="*/ 8779 h 14155"/>
                  <a:gd name="connsiteX7" fmla="*/ 12184 w 14753"/>
                  <a:gd name="connsiteY7" fmla="*/ 3927 h 14155"/>
                  <a:gd name="connsiteX8" fmla="*/ 9728 w 14753"/>
                  <a:gd name="connsiteY8" fmla="*/ 835 h 14155"/>
                  <a:gd name="connsiteX9" fmla="*/ 5139 w 14753"/>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661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69"/>
                  <a:gd name="connsiteX1" fmla="*/ 2697 w 16991"/>
                  <a:gd name="connsiteY1" fmla="*/ 3276 h 14169"/>
                  <a:gd name="connsiteX2" fmla="*/ 1039 w 16991"/>
                  <a:gd name="connsiteY2" fmla="*/ 6661 h 14169"/>
                  <a:gd name="connsiteX3" fmla="*/ 2831 w 16991"/>
                  <a:gd name="connsiteY3" fmla="*/ 11547 h 14169"/>
                  <a:gd name="connsiteX4" fmla="*/ 6179 w 16991"/>
                  <a:gd name="connsiteY4" fmla="*/ 9547 h 14169"/>
                  <a:gd name="connsiteX5" fmla="*/ 9317 w 16991"/>
                  <a:gd name="connsiteY5" fmla="*/ 10759 h 14169"/>
                  <a:gd name="connsiteX6" fmla="*/ 12396 w 16991"/>
                  <a:gd name="connsiteY6" fmla="*/ 8779 h 14169"/>
                  <a:gd name="connsiteX7" fmla="*/ 12615 w 16991"/>
                  <a:gd name="connsiteY7" fmla="*/ 3927 h 14169"/>
                  <a:gd name="connsiteX8" fmla="*/ 10159 w 16991"/>
                  <a:gd name="connsiteY8" fmla="*/ 835 h 14169"/>
                  <a:gd name="connsiteX9" fmla="*/ 5570 w 16991"/>
                  <a:gd name="connsiteY9" fmla="*/ 1423 h 14169"/>
                  <a:gd name="connsiteX0" fmla="*/ 5570 w 16991"/>
                  <a:gd name="connsiteY0" fmla="*/ 1423 h 14319"/>
                  <a:gd name="connsiteX1" fmla="*/ 2697 w 16991"/>
                  <a:gd name="connsiteY1" fmla="*/ 3276 h 14319"/>
                  <a:gd name="connsiteX2" fmla="*/ 1039 w 16991"/>
                  <a:gd name="connsiteY2" fmla="*/ 6661 h 14319"/>
                  <a:gd name="connsiteX3" fmla="*/ 2831 w 16991"/>
                  <a:gd name="connsiteY3" fmla="*/ 11547 h 14319"/>
                  <a:gd name="connsiteX4" fmla="*/ 6241 w 16991"/>
                  <a:gd name="connsiteY4" fmla="*/ 10204 h 14319"/>
                  <a:gd name="connsiteX5" fmla="*/ 9317 w 16991"/>
                  <a:gd name="connsiteY5" fmla="*/ 10759 h 14319"/>
                  <a:gd name="connsiteX6" fmla="*/ 12396 w 16991"/>
                  <a:gd name="connsiteY6" fmla="*/ 8779 h 14319"/>
                  <a:gd name="connsiteX7" fmla="*/ 12615 w 16991"/>
                  <a:gd name="connsiteY7" fmla="*/ 3927 h 14319"/>
                  <a:gd name="connsiteX8" fmla="*/ 10159 w 16991"/>
                  <a:gd name="connsiteY8" fmla="*/ 835 h 14319"/>
                  <a:gd name="connsiteX9" fmla="*/ 5570 w 16991"/>
                  <a:gd name="connsiteY9" fmla="*/ 1423 h 14319"/>
                  <a:gd name="connsiteX0" fmla="*/ 5570 w 16991"/>
                  <a:gd name="connsiteY0" fmla="*/ 1423 h 14440"/>
                  <a:gd name="connsiteX1" fmla="*/ 2697 w 16991"/>
                  <a:gd name="connsiteY1" fmla="*/ 3276 h 14440"/>
                  <a:gd name="connsiteX2" fmla="*/ 1039 w 16991"/>
                  <a:gd name="connsiteY2" fmla="*/ 6661 h 14440"/>
                  <a:gd name="connsiteX3" fmla="*/ 2831 w 16991"/>
                  <a:gd name="connsiteY3" fmla="*/ 11547 h 14440"/>
                  <a:gd name="connsiteX4" fmla="*/ 6241 w 16991"/>
                  <a:gd name="connsiteY4" fmla="*/ 10204 h 14440"/>
                  <a:gd name="connsiteX5" fmla="*/ 9317 w 16991"/>
                  <a:gd name="connsiteY5" fmla="*/ 10759 h 14440"/>
                  <a:gd name="connsiteX6" fmla="*/ 12396 w 16991"/>
                  <a:gd name="connsiteY6" fmla="*/ 8779 h 14440"/>
                  <a:gd name="connsiteX7" fmla="*/ 12615 w 16991"/>
                  <a:gd name="connsiteY7" fmla="*/ 3927 h 14440"/>
                  <a:gd name="connsiteX8" fmla="*/ 10159 w 16991"/>
                  <a:gd name="connsiteY8" fmla="*/ 835 h 14440"/>
                  <a:gd name="connsiteX9" fmla="*/ 5570 w 16991"/>
                  <a:gd name="connsiteY9" fmla="*/ 1423 h 14440"/>
                  <a:gd name="connsiteX0" fmla="*/ 5570 w 16991"/>
                  <a:gd name="connsiteY0" fmla="*/ 1423 h 14549"/>
                  <a:gd name="connsiteX1" fmla="*/ 2697 w 16991"/>
                  <a:gd name="connsiteY1" fmla="*/ 3276 h 14549"/>
                  <a:gd name="connsiteX2" fmla="*/ 1039 w 16991"/>
                  <a:gd name="connsiteY2" fmla="*/ 6661 h 14549"/>
                  <a:gd name="connsiteX3" fmla="*/ 2831 w 16991"/>
                  <a:gd name="connsiteY3" fmla="*/ 11547 h 14549"/>
                  <a:gd name="connsiteX4" fmla="*/ 6241 w 16991"/>
                  <a:gd name="connsiteY4" fmla="*/ 10204 h 14549"/>
                  <a:gd name="connsiteX5" fmla="*/ 9317 w 16991"/>
                  <a:gd name="connsiteY5" fmla="*/ 10759 h 14549"/>
                  <a:gd name="connsiteX6" fmla="*/ 12396 w 16991"/>
                  <a:gd name="connsiteY6" fmla="*/ 8779 h 14549"/>
                  <a:gd name="connsiteX7" fmla="*/ 12615 w 16991"/>
                  <a:gd name="connsiteY7" fmla="*/ 3927 h 14549"/>
                  <a:gd name="connsiteX8" fmla="*/ 10159 w 16991"/>
                  <a:gd name="connsiteY8" fmla="*/ 835 h 14549"/>
                  <a:gd name="connsiteX9" fmla="*/ 5570 w 16991"/>
                  <a:gd name="connsiteY9" fmla="*/ 1423 h 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991" h="14549">
                    <a:moveTo>
                      <a:pt x="5570" y="1423"/>
                    </a:moveTo>
                    <a:cubicBezTo>
                      <a:pt x="5570" y="1423"/>
                      <a:pt x="3130" y="3084"/>
                      <a:pt x="2697" y="3276"/>
                    </a:cubicBezTo>
                    <a:cubicBezTo>
                      <a:pt x="2116" y="3276"/>
                      <a:pt x="-1842" y="6053"/>
                      <a:pt x="1039" y="6661"/>
                    </a:cubicBezTo>
                    <a:cubicBezTo>
                      <a:pt x="7088" y="4584"/>
                      <a:pt x="1964" y="10957"/>
                      <a:pt x="2831" y="11547"/>
                    </a:cubicBezTo>
                    <a:cubicBezTo>
                      <a:pt x="3698" y="12137"/>
                      <a:pt x="5378" y="9267"/>
                      <a:pt x="6241" y="10204"/>
                    </a:cubicBezTo>
                    <a:cubicBezTo>
                      <a:pt x="7104" y="11141"/>
                      <a:pt x="8518" y="19143"/>
                      <a:pt x="9317" y="10759"/>
                    </a:cubicBezTo>
                    <a:cubicBezTo>
                      <a:pt x="9836" y="7618"/>
                      <a:pt x="10455" y="8698"/>
                      <a:pt x="12396" y="8779"/>
                    </a:cubicBezTo>
                    <a:cubicBezTo>
                      <a:pt x="22146" y="14045"/>
                      <a:pt x="13484" y="5276"/>
                      <a:pt x="12615" y="3927"/>
                    </a:cubicBezTo>
                    <a:cubicBezTo>
                      <a:pt x="11601" y="2772"/>
                      <a:pt x="11853" y="1347"/>
                      <a:pt x="10159" y="835"/>
                    </a:cubicBezTo>
                    <a:cubicBezTo>
                      <a:pt x="8883" y="-1003"/>
                      <a:pt x="5715" y="652"/>
                      <a:pt x="5570" y="1423"/>
                    </a:cubicBezTo>
                    <a:close/>
                  </a:path>
                </a:pathLst>
              </a:custGeom>
              <a:solidFill>
                <a:srgbClr val="FFC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40" name="Oval 284">
                <a:extLst>
                  <a:ext uri="{FF2B5EF4-FFF2-40B4-BE49-F238E27FC236}">
                    <a16:creationId xmlns:a16="http://schemas.microsoft.com/office/drawing/2014/main" id="{1C3C310F-F7FC-4199-AFBB-20829CD8BA3C}"/>
                  </a:ext>
                </a:extLst>
              </p:cNvPr>
              <p:cNvSpPr>
                <a:spLocks noChangeArrowheads="1"/>
              </p:cNvSpPr>
              <p:nvPr/>
            </p:nvSpPr>
            <p:spPr bwMode="auto">
              <a:xfrm rot="15772157">
                <a:off x="8188752" y="2258212"/>
                <a:ext cx="63039" cy="160334"/>
              </a:xfrm>
              <a:prstGeom prst="ellipse">
                <a:avLst/>
              </a:prstGeom>
              <a:solidFill>
                <a:srgbClr val="E2A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20" name="Group 19">
              <a:extLst>
                <a:ext uri="{FF2B5EF4-FFF2-40B4-BE49-F238E27FC236}">
                  <a16:creationId xmlns:a16="http://schemas.microsoft.com/office/drawing/2014/main" id="{96DBF4A4-FA5F-4B5F-B4D4-DC2D43222BB6}"/>
                </a:ext>
              </a:extLst>
            </p:cNvPr>
            <p:cNvGrpSpPr/>
            <p:nvPr/>
          </p:nvGrpSpPr>
          <p:grpSpPr>
            <a:xfrm rot="11576623">
              <a:off x="5318260" y="5018127"/>
              <a:ext cx="614395" cy="302314"/>
              <a:chOff x="7815272" y="2280892"/>
              <a:chExt cx="817760" cy="302314"/>
            </a:xfrm>
          </p:grpSpPr>
          <p:sp>
            <p:nvSpPr>
              <p:cNvPr id="237" name="Freeform 283">
                <a:extLst>
                  <a:ext uri="{FF2B5EF4-FFF2-40B4-BE49-F238E27FC236}">
                    <a16:creationId xmlns:a16="http://schemas.microsoft.com/office/drawing/2014/main" id="{EA0CFC6F-8BEF-48EB-96C7-37C3286DEC1F}"/>
                  </a:ext>
                </a:extLst>
              </p:cNvPr>
              <p:cNvSpPr>
                <a:spLocks/>
              </p:cNvSpPr>
              <p:nvPr/>
            </p:nvSpPr>
            <p:spPr bwMode="auto">
              <a:xfrm rot="21172157">
                <a:off x="7815272" y="2280892"/>
                <a:ext cx="817760" cy="302314"/>
              </a:xfrm>
              <a:custGeom>
                <a:avLst/>
                <a:gdLst>
                  <a:gd name="T0" fmla="*/ 26 w 52"/>
                  <a:gd name="T1" fmla="*/ 4 h 51"/>
                  <a:gd name="T2" fmla="*/ 18 w 52"/>
                  <a:gd name="T3" fmla="*/ 10 h 51"/>
                  <a:gd name="T4" fmla="*/ 10 w 52"/>
                  <a:gd name="T5" fmla="*/ 12 h 51"/>
                  <a:gd name="T6" fmla="*/ 3 w 52"/>
                  <a:gd name="T7" fmla="*/ 25 h 51"/>
                  <a:gd name="T8" fmla="*/ 16 w 52"/>
                  <a:gd name="T9" fmla="*/ 37 h 51"/>
                  <a:gd name="T10" fmla="*/ 34 w 52"/>
                  <a:gd name="T11" fmla="*/ 45 h 51"/>
                  <a:gd name="T12" fmla="*/ 46 w 52"/>
                  <a:gd name="T13" fmla="*/ 36 h 51"/>
                  <a:gd name="T14" fmla="*/ 46 w 52"/>
                  <a:gd name="T15" fmla="*/ 17 h 51"/>
                  <a:gd name="T16" fmla="*/ 34 w 52"/>
                  <a:gd name="T17" fmla="*/ 5 h 51"/>
                  <a:gd name="T18" fmla="*/ 26 w 52"/>
                  <a:gd name="T19" fmla="*/ 4 h 51"/>
                  <a:gd name="connsiteX0" fmla="*/ 4531 w 11136"/>
                  <a:gd name="connsiteY0" fmla="*/ 500 h 9017"/>
                  <a:gd name="connsiteX1" fmla="*/ 2993 w 11136"/>
                  <a:gd name="connsiteY1" fmla="*/ 1677 h 9017"/>
                  <a:gd name="connsiteX2" fmla="*/ 1454 w 11136"/>
                  <a:gd name="connsiteY2" fmla="*/ 2069 h 9017"/>
                  <a:gd name="connsiteX3" fmla="*/ 108 w 11136"/>
                  <a:gd name="connsiteY3" fmla="*/ 4618 h 9017"/>
                  <a:gd name="connsiteX4" fmla="*/ 2608 w 11136"/>
                  <a:gd name="connsiteY4" fmla="*/ 6971 h 9017"/>
                  <a:gd name="connsiteX5" fmla="*/ 6069 w 11136"/>
                  <a:gd name="connsiteY5" fmla="*/ 8540 h 9017"/>
                  <a:gd name="connsiteX6" fmla="*/ 8377 w 11136"/>
                  <a:gd name="connsiteY6" fmla="*/ 6775 h 9017"/>
                  <a:gd name="connsiteX7" fmla="*/ 10903 w 11136"/>
                  <a:gd name="connsiteY7" fmla="*/ 2255 h 9017"/>
                  <a:gd name="connsiteX8" fmla="*/ 6069 w 11136"/>
                  <a:gd name="connsiteY8" fmla="*/ 696 h 9017"/>
                  <a:gd name="connsiteX9" fmla="*/ 4531 w 11136"/>
                  <a:gd name="connsiteY9" fmla="*/ 500 h 9017"/>
                  <a:gd name="connsiteX0" fmla="*/ 4069 w 10292"/>
                  <a:gd name="connsiteY0" fmla="*/ 555 h 10000"/>
                  <a:gd name="connsiteX1" fmla="*/ 2688 w 10292"/>
                  <a:gd name="connsiteY1" fmla="*/ 1860 h 10000"/>
                  <a:gd name="connsiteX2" fmla="*/ 1306 w 10292"/>
                  <a:gd name="connsiteY2" fmla="*/ 2295 h 10000"/>
                  <a:gd name="connsiteX3" fmla="*/ 97 w 10292"/>
                  <a:gd name="connsiteY3" fmla="*/ 5121 h 10000"/>
                  <a:gd name="connsiteX4" fmla="*/ 2342 w 10292"/>
                  <a:gd name="connsiteY4" fmla="*/ 7731 h 10000"/>
                  <a:gd name="connsiteX5" fmla="*/ 5450 w 10292"/>
                  <a:gd name="connsiteY5" fmla="*/ 9471 h 10000"/>
                  <a:gd name="connsiteX6" fmla="*/ 9790 w 10292"/>
                  <a:gd name="connsiteY6" fmla="*/ 7375 h 10000"/>
                  <a:gd name="connsiteX7" fmla="*/ 9791 w 10292"/>
                  <a:gd name="connsiteY7" fmla="*/ 2501 h 10000"/>
                  <a:gd name="connsiteX8" fmla="*/ 5450 w 10292"/>
                  <a:gd name="connsiteY8" fmla="*/ 772 h 10000"/>
                  <a:gd name="connsiteX9" fmla="*/ 4069 w 10292"/>
                  <a:gd name="connsiteY9" fmla="*/ 555 h 10000"/>
                  <a:gd name="connsiteX0" fmla="*/ 4069 w 10292"/>
                  <a:gd name="connsiteY0" fmla="*/ 555 h 9288"/>
                  <a:gd name="connsiteX1" fmla="*/ 2688 w 10292"/>
                  <a:gd name="connsiteY1" fmla="*/ 1860 h 9288"/>
                  <a:gd name="connsiteX2" fmla="*/ 1306 w 10292"/>
                  <a:gd name="connsiteY2" fmla="*/ 2295 h 9288"/>
                  <a:gd name="connsiteX3" fmla="*/ 97 w 10292"/>
                  <a:gd name="connsiteY3" fmla="*/ 5121 h 9288"/>
                  <a:gd name="connsiteX4" fmla="*/ 2342 w 10292"/>
                  <a:gd name="connsiteY4" fmla="*/ 7731 h 9288"/>
                  <a:gd name="connsiteX5" fmla="*/ 7309 w 10292"/>
                  <a:gd name="connsiteY5" fmla="*/ 8822 h 9288"/>
                  <a:gd name="connsiteX6" fmla="*/ 9790 w 10292"/>
                  <a:gd name="connsiteY6" fmla="*/ 7375 h 9288"/>
                  <a:gd name="connsiteX7" fmla="*/ 9791 w 10292"/>
                  <a:gd name="connsiteY7" fmla="*/ 2501 h 9288"/>
                  <a:gd name="connsiteX8" fmla="*/ 5450 w 10292"/>
                  <a:gd name="connsiteY8" fmla="*/ 772 h 9288"/>
                  <a:gd name="connsiteX9" fmla="*/ 4069 w 10292"/>
                  <a:gd name="connsiteY9" fmla="*/ 555 h 9288"/>
                  <a:gd name="connsiteX0" fmla="*/ 3974 w 10019"/>
                  <a:gd name="connsiteY0" fmla="*/ 598 h 9866"/>
                  <a:gd name="connsiteX1" fmla="*/ 2632 w 10019"/>
                  <a:gd name="connsiteY1" fmla="*/ 2003 h 9866"/>
                  <a:gd name="connsiteX2" fmla="*/ 1289 w 10019"/>
                  <a:gd name="connsiteY2" fmla="*/ 2471 h 9866"/>
                  <a:gd name="connsiteX3" fmla="*/ 114 w 10019"/>
                  <a:gd name="connsiteY3" fmla="*/ 5514 h 9866"/>
                  <a:gd name="connsiteX4" fmla="*/ 4716 w 10019"/>
                  <a:gd name="connsiteY4" fmla="*/ 7226 h 9866"/>
                  <a:gd name="connsiteX5" fmla="*/ 7122 w 10019"/>
                  <a:gd name="connsiteY5" fmla="*/ 9498 h 9866"/>
                  <a:gd name="connsiteX6" fmla="*/ 9532 w 10019"/>
                  <a:gd name="connsiteY6" fmla="*/ 7940 h 9866"/>
                  <a:gd name="connsiteX7" fmla="*/ 9533 w 10019"/>
                  <a:gd name="connsiteY7" fmla="*/ 2693 h 9866"/>
                  <a:gd name="connsiteX8" fmla="*/ 5315 w 10019"/>
                  <a:gd name="connsiteY8" fmla="*/ 831 h 9866"/>
                  <a:gd name="connsiteX9" fmla="*/ 3974 w 10019"/>
                  <a:gd name="connsiteY9" fmla="*/ 598 h 9866"/>
                  <a:gd name="connsiteX0" fmla="*/ 3432 w 9467"/>
                  <a:gd name="connsiteY0" fmla="*/ 606 h 12399"/>
                  <a:gd name="connsiteX1" fmla="*/ 2093 w 9467"/>
                  <a:gd name="connsiteY1" fmla="*/ 2030 h 12399"/>
                  <a:gd name="connsiteX2" fmla="*/ 753 w 9467"/>
                  <a:gd name="connsiteY2" fmla="*/ 2505 h 12399"/>
                  <a:gd name="connsiteX3" fmla="*/ 157 w 9467"/>
                  <a:gd name="connsiteY3" fmla="*/ 12318 h 12399"/>
                  <a:gd name="connsiteX4" fmla="*/ 4173 w 9467"/>
                  <a:gd name="connsiteY4" fmla="*/ 7324 h 12399"/>
                  <a:gd name="connsiteX5" fmla="*/ 6574 w 9467"/>
                  <a:gd name="connsiteY5" fmla="*/ 9627 h 12399"/>
                  <a:gd name="connsiteX6" fmla="*/ 8980 w 9467"/>
                  <a:gd name="connsiteY6" fmla="*/ 8048 h 12399"/>
                  <a:gd name="connsiteX7" fmla="*/ 8981 w 9467"/>
                  <a:gd name="connsiteY7" fmla="*/ 2730 h 12399"/>
                  <a:gd name="connsiteX8" fmla="*/ 4771 w 9467"/>
                  <a:gd name="connsiteY8" fmla="*/ 842 h 12399"/>
                  <a:gd name="connsiteX9" fmla="*/ 3432 w 9467"/>
                  <a:gd name="connsiteY9" fmla="*/ 606 h 12399"/>
                  <a:gd name="connsiteX0" fmla="*/ 5344 w 11719"/>
                  <a:gd name="connsiteY0" fmla="*/ 488 h 9962"/>
                  <a:gd name="connsiteX1" fmla="*/ 3930 w 11719"/>
                  <a:gd name="connsiteY1" fmla="*/ 1636 h 9962"/>
                  <a:gd name="connsiteX2" fmla="*/ 0 w 11719"/>
                  <a:gd name="connsiteY2" fmla="*/ 3447 h 9962"/>
                  <a:gd name="connsiteX3" fmla="*/ 1885 w 11719"/>
                  <a:gd name="connsiteY3" fmla="*/ 9934 h 9962"/>
                  <a:gd name="connsiteX4" fmla="*/ 6127 w 11719"/>
                  <a:gd name="connsiteY4" fmla="*/ 5906 h 9962"/>
                  <a:gd name="connsiteX5" fmla="*/ 8663 w 11719"/>
                  <a:gd name="connsiteY5" fmla="*/ 7763 h 9962"/>
                  <a:gd name="connsiteX6" fmla="*/ 11205 w 11719"/>
                  <a:gd name="connsiteY6" fmla="*/ 6490 h 9962"/>
                  <a:gd name="connsiteX7" fmla="*/ 11206 w 11719"/>
                  <a:gd name="connsiteY7" fmla="*/ 2201 h 9962"/>
                  <a:gd name="connsiteX8" fmla="*/ 6759 w 11719"/>
                  <a:gd name="connsiteY8" fmla="*/ 678 h 9962"/>
                  <a:gd name="connsiteX9" fmla="*/ 5344 w 11719"/>
                  <a:gd name="connsiteY9" fmla="*/ 488 h 9962"/>
                  <a:gd name="connsiteX0" fmla="*/ 4560 w 10000"/>
                  <a:gd name="connsiteY0" fmla="*/ 490 h 10000"/>
                  <a:gd name="connsiteX1" fmla="*/ 3354 w 10000"/>
                  <a:gd name="connsiteY1" fmla="*/ 1642 h 10000"/>
                  <a:gd name="connsiteX2" fmla="*/ 0 w 10000"/>
                  <a:gd name="connsiteY2" fmla="*/ 3460 h 10000"/>
                  <a:gd name="connsiteX3" fmla="*/ 1608 w 10000"/>
                  <a:gd name="connsiteY3" fmla="*/ 9972 h 10000"/>
                  <a:gd name="connsiteX4" fmla="*/ 5228 w 10000"/>
                  <a:gd name="connsiteY4" fmla="*/ 5929 h 10000"/>
                  <a:gd name="connsiteX5" fmla="*/ 7392 w 10000"/>
                  <a:gd name="connsiteY5" fmla="*/ 7793 h 10000"/>
                  <a:gd name="connsiteX6" fmla="*/ 9561 w 10000"/>
                  <a:gd name="connsiteY6" fmla="*/ 6515 h 10000"/>
                  <a:gd name="connsiteX7" fmla="*/ 9562 w 10000"/>
                  <a:gd name="connsiteY7" fmla="*/ 2209 h 10000"/>
                  <a:gd name="connsiteX8" fmla="*/ 5768 w 10000"/>
                  <a:gd name="connsiteY8" fmla="*/ 681 h 10000"/>
                  <a:gd name="connsiteX9" fmla="*/ 4560 w 10000"/>
                  <a:gd name="connsiteY9" fmla="*/ 490 h 10000"/>
                  <a:gd name="connsiteX0" fmla="*/ 4982 w 10422"/>
                  <a:gd name="connsiteY0" fmla="*/ 490 h 9973"/>
                  <a:gd name="connsiteX1" fmla="*/ 3776 w 10422"/>
                  <a:gd name="connsiteY1" fmla="*/ 1642 h 9973"/>
                  <a:gd name="connsiteX2" fmla="*/ 0 w 10422"/>
                  <a:gd name="connsiteY2" fmla="*/ 5385 h 9973"/>
                  <a:gd name="connsiteX3" fmla="*/ 2030 w 10422"/>
                  <a:gd name="connsiteY3" fmla="*/ 9972 h 9973"/>
                  <a:gd name="connsiteX4" fmla="*/ 5650 w 10422"/>
                  <a:gd name="connsiteY4" fmla="*/ 5929 h 9973"/>
                  <a:gd name="connsiteX5" fmla="*/ 7814 w 10422"/>
                  <a:gd name="connsiteY5" fmla="*/ 7793 h 9973"/>
                  <a:gd name="connsiteX6" fmla="*/ 9983 w 10422"/>
                  <a:gd name="connsiteY6" fmla="*/ 6515 h 9973"/>
                  <a:gd name="connsiteX7" fmla="*/ 9984 w 10422"/>
                  <a:gd name="connsiteY7" fmla="*/ 2209 h 9973"/>
                  <a:gd name="connsiteX8" fmla="*/ 6190 w 10422"/>
                  <a:gd name="connsiteY8" fmla="*/ 681 h 9973"/>
                  <a:gd name="connsiteX9" fmla="*/ 4982 w 10422"/>
                  <a:gd name="connsiteY9" fmla="*/ 490 h 9973"/>
                  <a:gd name="connsiteX0" fmla="*/ 4780 w 10000"/>
                  <a:gd name="connsiteY0" fmla="*/ 491 h 10000"/>
                  <a:gd name="connsiteX1" fmla="*/ 1159 w 10000"/>
                  <a:gd name="connsiteY1" fmla="*/ 1276 h 10000"/>
                  <a:gd name="connsiteX2" fmla="*/ 0 w 10000"/>
                  <a:gd name="connsiteY2" fmla="*/ 5400 h 10000"/>
                  <a:gd name="connsiteX3" fmla="*/ 1948 w 10000"/>
                  <a:gd name="connsiteY3" fmla="*/ 9999 h 10000"/>
                  <a:gd name="connsiteX4" fmla="*/ 5421 w 10000"/>
                  <a:gd name="connsiteY4" fmla="*/ 5945 h 10000"/>
                  <a:gd name="connsiteX5" fmla="*/ 7498 w 10000"/>
                  <a:gd name="connsiteY5" fmla="*/ 7814 h 10000"/>
                  <a:gd name="connsiteX6" fmla="*/ 9579 w 10000"/>
                  <a:gd name="connsiteY6" fmla="*/ 6533 h 10000"/>
                  <a:gd name="connsiteX7" fmla="*/ 9580 w 10000"/>
                  <a:gd name="connsiteY7" fmla="*/ 2215 h 10000"/>
                  <a:gd name="connsiteX8" fmla="*/ 5939 w 10000"/>
                  <a:gd name="connsiteY8" fmla="*/ 683 h 10000"/>
                  <a:gd name="connsiteX9" fmla="*/ 4780 w 10000"/>
                  <a:gd name="connsiteY9" fmla="*/ 491 h 10000"/>
                  <a:gd name="connsiteX0" fmla="*/ 4032 w 10000"/>
                  <a:gd name="connsiteY0" fmla="*/ 240 h 10817"/>
                  <a:gd name="connsiteX1" fmla="*/ 1159 w 10000"/>
                  <a:gd name="connsiteY1" fmla="*/ 2093 h 10817"/>
                  <a:gd name="connsiteX2" fmla="*/ 0 w 10000"/>
                  <a:gd name="connsiteY2" fmla="*/ 6217 h 10817"/>
                  <a:gd name="connsiteX3" fmla="*/ 1948 w 10000"/>
                  <a:gd name="connsiteY3" fmla="*/ 10816 h 10817"/>
                  <a:gd name="connsiteX4" fmla="*/ 5421 w 10000"/>
                  <a:gd name="connsiteY4" fmla="*/ 6762 h 10817"/>
                  <a:gd name="connsiteX5" fmla="*/ 7498 w 10000"/>
                  <a:gd name="connsiteY5" fmla="*/ 8631 h 10817"/>
                  <a:gd name="connsiteX6" fmla="*/ 9579 w 10000"/>
                  <a:gd name="connsiteY6" fmla="*/ 7350 h 10817"/>
                  <a:gd name="connsiteX7" fmla="*/ 9580 w 10000"/>
                  <a:gd name="connsiteY7" fmla="*/ 3032 h 10817"/>
                  <a:gd name="connsiteX8" fmla="*/ 5939 w 10000"/>
                  <a:gd name="connsiteY8" fmla="*/ 1500 h 10817"/>
                  <a:gd name="connsiteX9" fmla="*/ 4032 w 10000"/>
                  <a:gd name="connsiteY9" fmla="*/ 240 h 10817"/>
                  <a:gd name="connsiteX0" fmla="*/ 4032 w 10000"/>
                  <a:gd name="connsiteY0" fmla="*/ 507 h 11084"/>
                  <a:gd name="connsiteX1" fmla="*/ 1159 w 10000"/>
                  <a:gd name="connsiteY1" fmla="*/ 2360 h 11084"/>
                  <a:gd name="connsiteX2" fmla="*/ 0 w 10000"/>
                  <a:gd name="connsiteY2" fmla="*/ 6484 h 11084"/>
                  <a:gd name="connsiteX3" fmla="*/ 1948 w 10000"/>
                  <a:gd name="connsiteY3" fmla="*/ 11083 h 11084"/>
                  <a:gd name="connsiteX4" fmla="*/ 5421 w 10000"/>
                  <a:gd name="connsiteY4" fmla="*/ 7029 h 11084"/>
                  <a:gd name="connsiteX5" fmla="*/ 7498 w 10000"/>
                  <a:gd name="connsiteY5" fmla="*/ 8898 h 11084"/>
                  <a:gd name="connsiteX6" fmla="*/ 9579 w 10000"/>
                  <a:gd name="connsiteY6" fmla="*/ 7617 h 11084"/>
                  <a:gd name="connsiteX7" fmla="*/ 9580 w 10000"/>
                  <a:gd name="connsiteY7" fmla="*/ 3299 h 11084"/>
                  <a:gd name="connsiteX8" fmla="*/ 8340 w 10000"/>
                  <a:gd name="connsiteY8" fmla="*/ 658 h 11084"/>
                  <a:gd name="connsiteX9" fmla="*/ 4032 w 10000"/>
                  <a:gd name="connsiteY9" fmla="*/ 507 h 11084"/>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67"/>
                  <a:gd name="connsiteX1" fmla="*/ 1159 w 10000"/>
                  <a:gd name="connsiteY1" fmla="*/ 2309 h 11067"/>
                  <a:gd name="connsiteX2" fmla="*/ 0 w 10000"/>
                  <a:gd name="connsiteY2" fmla="*/ 6433 h 11067"/>
                  <a:gd name="connsiteX3" fmla="*/ 1948 w 10000"/>
                  <a:gd name="connsiteY3" fmla="*/ 11032 h 11067"/>
                  <a:gd name="connsiteX4" fmla="*/ 4641 w 10000"/>
                  <a:gd name="connsiteY4" fmla="*/ 8580 h 11067"/>
                  <a:gd name="connsiteX5" fmla="*/ 7498 w 10000"/>
                  <a:gd name="connsiteY5" fmla="*/ 8847 h 11067"/>
                  <a:gd name="connsiteX6" fmla="*/ 9579 w 10000"/>
                  <a:gd name="connsiteY6" fmla="*/ 7566 h 11067"/>
                  <a:gd name="connsiteX7" fmla="*/ 9580 w 10000"/>
                  <a:gd name="connsiteY7" fmla="*/ 3248 h 11067"/>
                  <a:gd name="connsiteX8" fmla="*/ 8340 w 10000"/>
                  <a:gd name="connsiteY8" fmla="*/ 607 h 11067"/>
                  <a:gd name="connsiteX9" fmla="*/ 4032 w 10000"/>
                  <a:gd name="connsiteY9" fmla="*/ 456 h 11067"/>
                  <a:gd name="connsiteX0" fmla="*/ 4032 w 10000"/>
                  <a:gd name="connsiteY0" fmla="*/ 456 h 11053"/>
                  <a:gd name="connsiteX1" fmla="*/ 1159 w 10000"/>
                  <a:gd name="connsiteY1" fmla="*/ 2309 h 11053"/>
                  <a:gd name="connsiteX2" fmla="*/ 0 w 10000"/>
                  <a:gd name="connsiteY2" fmla="*/ 6433 h 11053"/>
                  <a:gd name="connsiteX3" fmla="*/ 1948 w 10000"/>
                  <a:gd name="connsiteY3" fmla="*/ 11032 h 11053"/>
                  <a:gd name="connsiteX4" fmla="*/ 4641 w 10000"/>
                  <a:gd name="connsiteY4" fmla="*/ 8580 h 11053"/>
                  <a:gd name="connsiteX5" fmla="*/ 7498 w 10000"/>
                  <a:gd name="connsiteY5" fmla="*/ 8847 h 11053"/>
                  <a:gd name="connsiteX6" fmla="*/ 9579 w 10000"/>
                  <a:gd name="connsiteY6" fmla="*/ 7566 h 11053"/>
                  <a:gd name="connsiteX7" fmla="*/ 9580 w 10000"/>
                  <a:gd name="connsiteY7" fmla="*/ 3248 h 11053"/>
                  <a:gd name="connsiteX8" fmla="*/ 8340 w 10000"/>
                  <a:gd name="connsiteY8" fmla="*/ 607 h 11053"/>
                  <a:gd name="connsiteX9" fmla="*/ 4032 w 10000"/>
                  <a:gd name="connsiteY9" fmla="*/ 456 h 11053"/>
                  <a:gd name="connsiteX0" fmla="*/ 4032 w 10000"/>
                  <a:gd name="connsiteY0" fmla="*/ 456 h 11130"/>
                  <a:gd name="connsiteX1" fmla="*/ 1159 w 10000"/>
                  <a:gd name="connsiteY1" fmla="*/ 2309 h 11130"/>
                  <a:gd name="connsiteX2" fmla="*/ 0 w 10000"/>
                  <a:gd name="connsiteY2" fmla="*/ 6433 h 11130"/>
                  <a:gd name="connsiteX3" fmla="*/ 1948 w 10000"/>
                  <a:gd name="connsiteY3" fmla="*/ 11032 h 11130"/>
                  <a:gd name="connsiteX4" fmla="*/ 4641 w 10000"/>
                  <a:gd name="connsiteY4" fmla="*/ 8580 h 11130"/>
                  <a:gd name="connsiteX5" fmla="*/ 7498 w 10000"/>
                  <a:gd name="connsiteY5" fmla="*/ 8847 h 11130"/>
                  <a:gd name="connsiteX6" fmla="*/ 9579 w 10000"/>
                  <a:gd name="connsiteY6" fmla="*/ 7566 h 11130"/>
                  <a:gd name="connsiteX7" fmla="*/ 9580 w 10000"/>
                  <a:gd name="connsiteY7" fmla="*/ 3248 h 11130"/>
                  <a:gd name="connsiteX8" fmla="*/ 8340 w 10000"/>
                  <a:gd name="connsiteY8" fmla="*/ 607 h 11130"/>
                  <a:gd name="connsiteX9" fmla="*/ 4032 w 10000"/>
                  <a:gd name="connsiteY9" fmla="*/ 456 h 11130"/>
                  <a:gd name="connsiteX0" fmla="*/ 4662 w 10630"/>
                  <a:gd name="connsiteY0" fmla="*/ 456 h 11130"/>
                  <a:gd name="connsiteX1" fmla="*/ 1789 w 10630"/>
                  <a:gd name="connsiteY1" fmla="*/ 2309 h 11130"/>
                  <a:gd name="connsiteX2" fmla="*/ 630 w 10630"/>
                  <a:gd name="connsiteY2" fmla="*/ 6433 h 11130"/>
                  <a:gd name="connsiteX3" fmla="*/ 2578 w 10630"/>
                  <a:gd name="connsiteY3" fmla="*/ 11032 h 11130"/>
                  <a:gd name="connsiteX4" fmla="*/ 5271 w 10630"/>
                  <a:gd name="connsiteY4" fmla="*/ 8580 h 11130"/>
                  <a:gd name="connsiteX5" fmla="*/ 8128 w 10630"/>
                  <a:gd name="connsiteY5" fmla="*/ 8847 h 11130"/>
                  <a:gd name="connsiteX6" fmla="*/ 10209 w 10630"/>
                  <a:gd name="connsiteY6" fmla="*/ 7566 h 11130"/>
                  <a:gd name="connsiteX7" fmla="*/ 10210 w 10630"/>
                  <a:gd name="connsiteY7" fmla="*/ 3248 h 11130"/>
                  <a:gd name="connsiteX8" fmla="*/ 8970 w 10630"/>
                  <a:gd name="connsiteY8" fmla="*/ 607 h 11130"/>
                  <a:gd name="connsiteX9" fmla="*/ 4662 w 10630"/>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2836"/>
                  <a:gd name="connsiteX1" fmla="*/ 2266 w 11107"/>
                  <a:gd name="connsiteY1" fmla="*/ 2309 h 12836"/>
                  <a:gd name="connsiteX2" fmla="*/ 546 w 11107"/>
                  <a:gd name="connsiteY2" fmla="*/ 6228 h 12836"/>
                  <a:gd name="connsiteX3" fmla="*/ 3055 w 11107"/>
                  <a:gd name="connsiteY3" fmla="*/ 11032 h 12836"/>
                  <a:gd name="connsiteX4" fmla="*/ 5748 w 11107"/>
                  <a:gd name="connsiteY4" fmla="*/ 8580 h 12836"/>
                  <a:gd name="connsiteX5" fmla="*/ 8605 w 11107"/>
                  <a:gd name="connsiteY5" fmla="*/ 8847 h 12836"/>
                  <a:gd name="connsiteX6" fmla="*/ 10686 w 11107"/>
                  <a:gd name="connsiteY6" fmla="*/ 7566 h 12836"/>
                  <a:gd name="connsiteX7" fmla="*/ 10687 w 11107"/>
                  <a:gd name="connsiteY7" fmla="*/ 3248 h 12836"/>
                  <a:gd name="connsiteX8" fmla="*/ 9447 w 11107"/>
                  <a:gd name="connsiteY8" fmla="*/ 607 h 12836"/>
                  <a:gd name="connsiteX9" fmla="*/ 5139 w 11107"/>
                  <a:gd name="connsiteY9" fmla="*/ 456 h 12836"/>
                  <a:gd name="connsiteX0" fmla="*/ 5139 w 11107"/>
                  <a:gd name="connsiteY0" fmla="*/ 456 h 13188"/>
                  <a:gd name="connsiteX1" fmla="*/ 2266 w 11107"/>
                  <a:gd name="connsiteY1" fmla="*/ 2309 h 13188"/>
                  <a:gd name="connsiteX2" fmla="*/ 546 w 11107"/>
                  <a:gd name="connsiteY2" fmla="*/ 6228 h 13188"/>
                  <a:gd name="connsiteX3" fmla="*/ 3055 w 11107"/>
                  <a:gd name="connsiteY3" fmla="*/ 11032 h 13188"/>
                  <a:gd name="connsiteX4" fmla="*/ 5748 w 11107"/>
                  <a:gd name="connsiteY4" fmla="*/ 8580 h 13188"/>
                  <a:gd name="connsiteX5" fmla="*/ 8886 w 11107"/>
                  <a:gd name="connsiteY5" fmla="*/ 9792 h 13188"/>
                  <a:gd name="connsiteX6" fmla="*/ 10686 w 11107"/>
                  <a:gd name="connsiteY6" fmla="*/ 7566 h 13188"/>
                  <a:gd name="connsiteX7" fmla="*/ 10687 w 11107"/>
                  <a:gd name="connsiteY7" fmla="*/ 3248 h 13188"/>
                  <a:gd name="connsiteX8" fmla="*/ 9447 w 11107"/>
                  <a:gd name="connsiteY8" fmla="*/ 607 h 13188"/>
                  <a:gd name="connsiteX9" fmla="*/ 5139 w 11107"/>
                  <a:gd name="connsiteY9" fmla="*/ 456 h 13188"/>
                  <a:gd name="connsiteX0" fmla="*/ 5139 w 11107"/>
                  <a:gd name="connsiteY0" fmla="*/ 922 h 13654"/>
                  <a:gd name="connsiteX1" fmla="*/ 2266 w 11107"/>
                  <a:gd name="connsiteY1" fmla="*/ 2775 h 13654"/>
                  <a:gd name="connsiteX2" fmla="*/ 546 w 11107"/>
                  <a:gd name="connsiteY2" fmla="*/ 6694 h 13654"/>
                  <a:gd name="connsiteX3" fmla="*/ 3055 w 11107"/>
                  <a:gd name="connsiteY3" fmla="*/ 11498 h 13654"/>
                  <a:gd name="connsiteX4" fmla="*/ 5748 w 11107"/>
                  <a:gd name="connsiteY4" fmla="*/ 9046 h 13654"/>
                  <a:gd name="connsiteX5" fmla="*/ 8886 w 11107"/>
                  <a:gd name="connsiteY5" fmla="*/ 10258 h 13654"/>
                  <a:gd name="connsiteX6" fmla="*/ 10686 w 11107"/>
                  <a:gd name="connsiteY6" fmla="*/ 8032 h 13654"/>
                  <a:gd name="connsiteX7" fmla="*/ 10687 w 11107"/>
                  <a:gd name="connsiteY7" fmla="*/ 3714 h 13654"/>
                  <a:gd name="connsiteX8" fmla="*/ 9447 w 11107"/>
                  <a:gd name="connsiteY8" fmla="*/ 1073 h 13654"/>
                  <a:gd name="connsiteX9" fmla="*/ 5139 w 11107"/>
                  <a:gd name="connsiteY9" fmla="*/ 922 h 13654"/>
                  <a:gd name="connsiteX0" fmla="*/ 5139 w 11107"/>
                  <a:gd name="connsiteY0" fmla="*/ 1423 h 14155"/>
                  <a:gd name="connsiteX1" fmla="*/ 2266 w 11107"/>
                  <a:gd name="connsiteY1" fmla="*/ 3276 h 14155"/>
                  <a:gd name="connsiteX2" fmla="*/ 546 w 11107"/>
                  <a:gd name="connsiteY2" fmla="*/ 7195 h 14155"/>
                  <a:gd name="connsiteX3" fmla="*/ 3055 w 11107"/>
                  <a:gd name="connsiteY3" fmla="*/ 11999 h 14155"/>
                  <a:gd name="connsiteX4" fmla="*/ 5748 w 11107"/>
                  <a:gd name="connsiteY4" fmla="*/ 9547 h 14155"/>
                  <a:gd name="connsiteX5" fmla="*/ 8886 w 11107"/>
                  <a:gd name="connsiteY5" fmla="*/ 10759 h 14155"/>
                  <a:gd name="connsiteX6" fmla="*/ 10686 w 11107"/>
                  <a:gd name="connsiteY6" fmla="*/ 8533 h 14155"/>
                  <a:gd name="connsiteX7" fmla="*/ 10687 w 11107"/>
                  <a:gd name="connsiteY7" fmla="*/ 4215 h 14155"/>
                  <a:gd name="connsiteX8" fmla="*/ 9728 w 11107"/>
                  <a:gd name="connsiteY8" fmla="*/ 835 h 14155"/>
                  <a:gd name="connsiteX9" fmla="*/ 5139 w 11107"/>
                  <a:gd name="connsiteY9" fmla="*/ 1423 h 14155"/>
                  <a:gd name="connsiteX0" fmla="*/ 5139 w 12384"/>
                  <a:gd name="connsiteY0" fmla="*/ 1423 h 14155"/>
                  <a:gd name="connsiteX1" fmla="*/ 2266 w 12384"/>
                  <a:gd name="connsiteY1" fmla="*/ 3276 h 14155"/>
                  <a:gd name="connsiteX2" fmla="*/ 546 w 12384"/>
                  <a:gd name="connsiteY2" fmla="*/ 7195 h 14155"/>
                  <a:gd name="connsiteX3" fmla="*/ 3055 w 12384"/>
                  <a:gd name="connsiteY3" fmla="*/ 11999 h 14155"/>
                  <a:gd name="connsiteX4" fmla="*/ 5748 w 12384"/>
                  <a:gd name="connsiteY4" fmla="*/ 9547 h 14155"/>
                  <a:gd name="connsiteX5" fmla="*/ 8886 w 12384"/>
                  <a:gd name="connsiteY5" fmla="*/ 10759 h 14155"/>
                  <a:gd name="connsiteX6" fmla="*/ 10686 w 12384"/>
                  <a:gd name="connsiteY6" fmla="*/ 8533 h 14155"/>
                  <a:gd name="connsiteX7" fmla="*/ 12184 w 12384"/>
                  <a:gd name="connsiteY7" fmla="*/ 3927 h 14155"/>
                  <a:gd name="connsiteX8" fmla="*/ 9728 w 12384"/>
                  <a:gd name="connsiteY8" fmla="*/ 835 h 14155"/>
                  <a:gd name="connsiteX9" fmla="*/ 5139 w 12384"/>
                  <a:gd name="connsiteY9" fmla="*/ 1423 h 14155"/>
                  <a:gd name="connsiteX0" fmla="*/ 5139 w 12562"/>
                  <a:gd name="connsiteY0" fmla="*/ 1423 h 14155"/>
                  <a:gd name="connsiteX1" fmla="*/ 2266 w 12562"/>
                  <a:gd name="connsiteY1" fmla="*/ 3276 h 14155"/>
                  <a:gd name="connsiteX2" fmla="*/ 546 w 12562"/>
                  <a:gd name="connsiteY2" fmla="*/ 7195 h 14155"/>
                  <a:gd name="connsiteX3" fmla="*/ 3055 w 12562"/>
                  <a:gd name="connsiteY3" fmla="*/ 11999 h 14155"/>
                  <a:gd name="connsiteX4" fmla="*/ 5748 w 12562"/>
                  <a:gd name="connsiteY4" fmla="*/ 9547 h 14155"/>
                  <a:gd name="connsiteX5" fmla="*/ 8886 w 12562"/>
                  <a:gd name="connsiteY5" fmla="*/ 10759 h 14155"/>
                  <a:gd name="connsiteX6" fmla="*/ 12027 w 12562"/>
                  <a:gd name="connsiteY6" fmla="*/ 8163 h 14155"/>
                  <a:gd name="connsiteX7" fmla="*/ 12184 w 12562"/>
                  <a:gd name="connsiteY7" fmla="*/ 3927 h 14155"/>
                  <a:gd name="connsiteX8" fmla="*/ 9728 w 12562"/>
                  <a:gd name="connsiteY8" fmla="*/ 835 h 14155"/>
                  <a:gd name="connsiteX9" fmla="*/ 5139 w 12562"/>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53"/>
                  <a:gd name="connsiteY0" fmla="*/ 1423 h 14155"/>
                  <a:gd name="connsiteX1" fmla="*/ 2266 w 14753"/>
                  <a:gd name="connsiteY1" fmla="*/ 3276 h 14155"/>
                  <a:gd name="connsiteX2" fmla="*/ 546 w 14753"/>
                  <a:gd name="connsiteY2" fmla="*/ 7195 h 14155"/>
                  <a:gd name="connsiteX3" fmla="*/ 3055 w 14753"/>
                  <a:gd name="connsiteY3" fmla="*/ 11999 h 14155"/>
                  <a:gd name="connsiteX4" fmla="*/ 5748 w 14753"/>
                  <a:gd name="connsiteY4" fmla="*/ 9547 h 14155"/>
                  <a:gd name="connsiteX5" fmla="*/ 8886 w 14753"/>
                  <a:gd name="connsiteY5" fmla="*/ 10759 h 14155"/>
                  <a:gd name="connsiteX6" fmla="*/ 11965 w 14753"/>
                  <a:gd name="connsiteY6" fmla="*/ 8779 h 14155"/>
                  <a:gd name="connsiteX7" fmla="*/ 12184 w 14753"/>
                  <a:gd name="connsiteY7" fmla="*/ 3927 h 14155"/>
                  <a:gd name="connsiteX8" fmla="*/ 9728 w 14753"/>
                  <a:gd name="connsiteY8" fmla="*/ 835 h 14155"/>
                  <a:gd name="connsiteX9" fmla="*/ 5139 w 14753"/>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661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69"/>
                  <a:gd name="connsiteX1" fmla="*/ 2697 w 16991"/>
                  <a:gd name="connsiteY1" fmla="*/ 3276 h 14169"/>
                  <a:gd name="connsiteX2" fmla="*/ 1039 w 16991"/>
                  <a:gd name="connsiteY2" fmla="*/ 6661 h 14169"/>
                  <a:gd name="connsiteX3" fmla="*/ 2831 w 16991"/>
                  <a:gd name="connsiteY3" fmla="*/ 11547 h 14169"/>
                  <a:gd name="connsiteX4" fmla="*/ 6179 w 16991"/>
                  <a:gd name="connsiteY4" fmla="*/ 9547 h 14169"/>
                  <a:gd name="connsiteX5" fmla="*/ 9317 w 16991"/>
                  <a:gd name="connsiteY5" fmla="*/ 10759 h 14169"/>
                  <a:gd name="connsiteX6" fmla="*/ 12396 w 16991"/>
                  <a:gd name="connsiteY6" fmla="*/ 8779 h 14169"/>
                  <a:gd name="connsiteX7" fmla="*/ 12615 w 16991"/>
                  <a:gd name="connsiteY7" fmla="*/ 3927 h 14169"/>
                  <a:gd name="connsiteX8" fmla="*/ 10159 w 16991"/>
                  <a:gd name="connsiteY8" fmla="*/ 835 h 14169"/>
                  <a:gd name="connsiteX9" fmla="*/ 5570 w 16991"/>
                  <a:gd name="connsiteY9" fmla="*/ 1423 h 14169"/>
                  <a:gd name="connsiteX0" fmla="*/ 5570 w 16991"/>
                  <a:gd name="connsiteY0" fmla="*/ 1423 h 14319"/>
                  <a:gd name="connsiteX1" fmla="*/ 2697 w 16991"/>
                  <a:gd name="connsiteY1" fmla="*/ 3276 h 14319"/>
                  <a:gd name="connsiteX2" fmla="*/ 1039 w 16991"/>
                  <a:gd name="connsiteY2" fmla="*/ 6661 h 14319"/>
                  <a:gd name="connsiteX3" fmla="*/ 2831 w 16991"/>
                  <a:gd name="connsiteY3" fmla="*/ 11547 h 14319"/>
                  <a:gd name="connsiteX4" fmla="*/ 6241 w 16991"/>
                  <a:gd name="connsiteY4" fmla="*/ 10204 h 14319"/>
                  <a:gd name="connsiteX5" fmla="*/ 9317 w 16991"/>
                  <a:gd name="connsiteY5" fmla="*/ 10759 h 14319"/>
                  <a:gd name="connsiteX6" fmla="*/ 12396 w 16991"/>
                  <a:gd name="connsiteY6" fmla="*/ 8779 h 14319"/>
                  <a:gd name="connsiteX7" fmla="*/ 12615 w 16991"/>
                  <a:gd name="connsiteY7" fmla="*/ 3927 h 14319"/>
                  <a:gd name="connsiteX8" fmla="*/ 10159 w 16991"/>
                  <a:gd name="connsiteY8" fmla="*/ 835 h 14319"/>
                  <a:gd name="connsiteX9" fmla="*/ 5570 w 16991"/>
                  <a:gd name="connsiteY9" fmla="*/ 1423 h 14319"/>
                  <a:gd name="connsiteX0" fmla="*/ 5570 w 16991"/>
                  <a:gd name="connsiteY0" fmla="*/ 1423 h 14440"/>
                  <a:gd name="connsiteX1" fmla="*/ 2697 w 16991"/>
                  <a:gd name="connsiteY1" fmla="*/ 3276 h 14440"/>
                  <a:gd name="connsiteX2" fmla="*/ 1039 w 16991"/>
                  <a:gd name="connsiteY2" fmla="*/ 6661 h 14440"/>
                  <a:gd name="connsiteX3" fmla="*/ 2831 w 16991"/>
                  <a:gd name="connsiteY3" fmla="*/ 11547 h 14440"/>
                  <a:gd name="connsiteX4" fmla="*/ 6241 w 16991"/>
                  <a:gd name="connsiteY4" fmla="*/ 10204 h 14440"/>
                  <a:gd name="connsiteX5" fmla="*/ 9317 w 16991"/>
                  <a:gd name="connsiteY5" fmla="*/ 10759 h 14440"/>
                  <a:gd name="connsiteX6" fmla="*/ 12396 w 16991"/>
                  <a:gd name="connsiteY6" fmla="*/ 8779 h 14440"/>
                  <a:gd name="connsiteX7" fmla="*/ 12615 w 16991"/>
                  <a:gd name="connsiteY7" fmla="*/ 3927 h 14440"/>
                  <a:gd name="connsiteX8" fmla="*/ 10159 w 16991"/>
                  <a:gd name="connsiteY8" fmla="*/ 835 h 14440"/>
                  <a:gd name="connsiteX9" fmla="*/ 5570 w 16991"/>
                  <a:gd name="connsiteY9" fmla="*/ 1423 h 14440"/>
                  <a:gd name="connsiteX0" fmla="*/ 5570 w 16991"/>
                  <a:gd name="connsiteY0" fmla="*/ 1423 h 14549"/>
                  <a:gd name="connsiteX1" fmla="*/ 2697 w 16991"/>
                  <a:gd name="connsiteY1" fmla="*/ 3276 h 14549"/>
                  <a:gd name="connsiteX2" fmla="*/ 1039 w 16991"/>
                  <a:gd name="connsiteY2" fmla="*/ 6661 h 14549"/>
                  <a:gd name="connsiteX3" fmla="*/ 2831 w 16991"/>
                  <a:gd name="connsiteY3" fmla="*/ 11547 h 14549"/>
                  <a:gd name="connsiteX4" fmla="*/ 6241 w 16991"/>
                  <a:gd name="connsiteY4" fmla="*/ 10204 h 14549"/>
                  <a:gd name="connsiteX5" fmla="*/ 9317 w 16991"/>
                  <a:gd name="connsiteY5" fmla="*/ 10759 h 14549"/>
                  <a:gd name="connsiteX6" fmla="*/ 12396 w 16991"/>
                  <a:gd name="connsiteY6" fmla="*/ 8779 h 14549"/>
                  <a:gd name="connsiteX7" fmla="*/ 12615 w 16991"/>
                  <a:gd name="connsiteY7" fmla="*/ 3927 h 14549"/>
                  <a:gd name="connsiteX8" fmla="*/ 10159 w 16991"/>
                  <a:gd name="connsiteY8" fmla="*/ 835 h 14549"/>
                  <a:gd name="connsiteX9" fmla="*/ 5570 w 16991"/>
                  <a:gd name="connsiteY9" fmla="*/ 1423 h 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991" h="14549">
                    <a:moveTo>
                      <a:pt x="5570" y="1423"/>
                    </a:moveTo>
                    <a:cubicBezTo>
                      <a:pt x="5570" y="1423"/>
                      <a:pt x="3130" y="3084"/>
                      <a:pt x="2697" y="3276"/>
                    </a:cubicBezTo>
                    <a:cubicBezTo>
                      <a:pt x="2116" y="3276"/>
                      <a:pt x="-1842" y="6053"/>
                      <a:pt x="1039" y="6661"/>
                    </a:cubicBezTo>
                    <a:cubicBezTo>
                      <a:pt x="7088" y="4584"/>
                      <a:pt x="1964" y="10957"/>
                      <a:pt x="2831" y="11547"/>
                    </a:cubicBezTo>
                    <a:cubicBezTo>
                      <a:pt x="3698" y="12137"/>
                      <a:pt x="5378" y="9267"/>
                      <a:pt x="6241" y="10204"/>
                    </a:cubicBezTo>
                    <a:cubicBezTo>
                      <a:pt x="7104" y="11141"/>
                      <a:pt x="8518" y="19143"/>
                      <a:pt x="9317" y="10759"/>
                    </a:cubicBezTo>
                    <a:cubicBezTo>
                      <a:pt x="9836" y="7618"/>
                      <a:pt x="10455" y="8698"/>
                      <a:pt x="12396" y="8779"/>
                    </a:cubicBezTo>
                    <a:cubicBezTo>
                      <a:pt x="22146" y="14045"/>
                      <a:pt x="13484" y="5276"/>
                      <a:pt x="12615" y="3927"/>
                    </a:cubicBezTo>
                    <a:cubicBezTo>
                      <a:pt x="11601" y="2772"/>
                      <a:pt x="11853" y="1347"/>
                      <a:pt x="10159" y="835"/>
                    </a:cubicBezTo>
                    <a:cubicBezTo>
                      <a:pt x="8883" y="-1003"/>
                      <a:pt x="5715" y="652"/>
                      <a:pt x="5570" y="1423"/>
                    </a:cubicBezTo>
                    <a:close/>
                  </a:path>
                </a:pathLst>
              </a:custGeom>
              <a:solidFill>
                <a:srgbClr val="FFC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38" name="Oval 284">
                <a:extLst>
                  <a:ext uri="{FF2B5EF4-FFF2-40B4-BE49-F238E27FC236}">
                    <a16:creationId xmlns:a16="http://schemas.microsoft.com/office/drawing/2014/main" id="{65E5629D-E5DC-4E03-911C-60D49E28B6EB}"/>
                  </a:ext>
                </a:extLst>
              </p:cNvPr>
              <p:cNvSpPr>
                <a:spLocks noChangeArrowheads="1"/>
              </p:cNvSpPr>
              <p:nvPr/>
            </p:nvSpPr>
            <p:spPr bwMode="auto">
              <a:xfrm rot="15772157">
                <a:off x="8188752" y="2258212"/>
                <a:ext cx="63039" cy="160334"/>
              </a:xfrm>
              <a:prstGeom prst="ellipse">
                <a:avLst/>
              </a:prstGeom>
              <a:solidFill>
                <a:srgbClr val="E2A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21" name="Group 20">
              <a:extLst>
                <a:ext uri="{FF2B5EF4-FFF2-40B4-BE49-F238E27FC236}">
                  <a16:creationId xmlns:a16="http://schemas.microsoft.com/office/drawing/2014/main" id="{C8F1B20A-31DF-407A-AB12-81BCD610E522}"/>
                </a:ext>
              </a:extLst>
            </p:cNvPr>
            <p:cNvGrpSpPr/>
            <p:nvPr/>
          </p:nvGrpSpPr>
          <p:grpSpPr>
            <a:xfrm rot="13697921">
              <a:off x="4583285" y="4587450"/>
              <a:ext cx="614395" cy="302314"/>
              <a:chOff x="7815272" y="2280892"/>
              <a:chExt cx="817760" cy="302314"/>
            </a:xfrm>
          </p:grpSpPr>
          <p:sp>
            <p:nvSpPr>
              <p:cNvPr id="235" name="Freeform 283">
                <a:extLst>
                  <a:ext uri="{FF2B5EF4-FFF2-40B4-BE49-F238E27FC236}">
                    <a16:creationId xmlns:a16="http://schemas.microsoft.com/office/drawing/2014/main" id="{357AC691-E159-4EC5-8F49-43D92BA87C3D}"/>
                  </a:ext>
                </a:extLst>
              </p:cNvPr>
              <p:cNvSpPr>
                <a:spLocks/>
              </p:cNvSpPr>
              <p:nvPr/>
            </p:nvSpPr>
            <p:spPr bwMode="auto">
              <a:xfrm rot="21172157">
                <a:off x="7815272" y="2280892"/>
                <a:ext cx="817760" cy="302314"/>
              </a:xfrm>
              <a:custGeom>
                <a:avLst/>
                <a:gdLst>
                  <a:gd name="T0" fmla="*/ 26 w 52"/>
                  <a:gd name="T1" fmla="*/ 4 h 51"/>
                  <a:gd name="T2" fmla="*/ 18 w 52"/>
                  <a:gd name="T3" fmla="*/ 10 h 51"/>
                  <a:gd name="T4" fmla="*/ 10 w 52"/>
                  <a:gd name="T5" fmla="*/ 12 h 51"/>
                  <a:gd name="T6" fmla="*/ 3 w 52"/>
                  <a:gd name="T7" fmla="*/ 25 h 51"/>
                  <a:gd name="T8" fmla="*/ 16 w 52"/>
                  <a:gd name="T9" fmla="*/ 37 h 51"/>
                  <a:gd name="T10" fmla="*/ 34 w 52"/>
                  <a:gd name="T11" fmla="*/ 45 h 51"/>
                  <a:gd name="T12" fmla="*/ 46 w 52"/>
                  <a:gd name="T13" fmla="*/ 36 h 51"/>
                  <a:gd name="T14" fmla="*/ 46 w 52"/>
                  <a:gd name="T15" fmla="*/ 17 h 51"/>
                  <a:gd name="T16" fmla="*/ 34 w 52"/>
                  <a:gd name="T17" fmla="*/ 5 h 51"/>
                  <a:gd name="T18" fmla="*/ 26 w 52"/>
                  <a:gd name="T19" fmla="*/ 4 h 51"/>
                  <a:gd name="connsiteX0" fmla="*/ 4531 w 11136"/>
                  <a:gd name="connsiteY0" fmla="*/ 500 h 9017"/>
                  <a:gd name="connsiteX1" fmla="*/ 2993 w 11136"/>
                  <a:gd name="connsiteY1" fmla="*/ 1677 h 9017"/>
                  <a:gd name="connsiteX2" fmla="*/ 1454 w 11136"/>
                  <a:gd name="connsiteY2" fmla="*/ 2069 h 9017"/>
                  <a:gd name="connsiteX3" fmla="*/ 108 w 11136"/>
                  <a:gd name="connsiteY3" fmla="*/ 4618 h 9017"/>
                  <a:gd name="connsiteX4" fmla="*/ 2608 w 11136"/>
                  <a:gd name="connsiteY4" fmla="*/ 6971 h 9017"/>
                  <a:gd name="connsiteX5" fmla="*/ 6069 w 11136"/>
                  <a:gd name="connsiteY5" fmla="*/ 8540 h 9017"/>
                  <a:gd name="connsiteX6" fmla="*/ 8377 w 11136"/>
                  <a:gd name="connsiteY6" fmla="*/ 6775 h 9017"/>
                  <a:gd name="connsiteX7" fmla="*/ 10903 w 11136"/>
                  <a:gd name="connsiteY7" fmla="*/ 2255 h 9017"/>
                  <a:gd name="connsiteX8" fmla="*/ 6069 w 11136"/>
                  <a:gd name="connsiteY8" fmla="*/ 696 h 9017"/>
                  <a:gd name="connsiteX9" fmla="*/ 4531 w 11136"/>
                  <a:gd name="connsiteY9" fmla="*/ 500 h 9017"/>
                  <a:gd name="connsiteX0" fmla="*/ 4069 w 10292"/>
                  <a:gd name="connsiteY0" fmla="*/ 555 h 10000"/>
                  <a:gd name="connsiteX1" fmla="*/ 2688 w 10292"/>
                  <a:gd name="connsiteY1" fmla="*/ 1860 h 10000"/>
                  <a:gd name="connsiteX2" fmla="*/ 1306 w 10292"/>
                  <a:gd name="connsiteY2" fmla="*/ 2295 h 10000"/>
                  <a:gd name="connsiteX3" fmla="*/ 97 w 10292"/>
                  <a:gd name="connsiteY3" fmla="*/ 5121 h 10000"/>
                  <a:gd name="connsiteX4" fmla="*/ 2342 w 10292"/>
                  <a:gd name="connsiteY4" fmla="*/ 7731 h 10000"/>
                  <a:gd name="connsiteX5" fmla="*/ 5450 w 10292"/>
                  <a:gd name="connsiteY5" fmla="*/ 9471 h 10000"/>
                  <a:gd name="connsiteX6" fmla="*/ 9790 w 10292"/>
                  <a:gd name="connsiteY6" fmla="*/ 7375 h 10000"/>
                  <a:gd name="connsiteX7" fmla="*/ 9791 w 10292"/>
                  <a:gd name="connsiteY7" fmla="*/ 2501 h 10000"/>
                  <a:gd name="connsiteX8" fmla="*/ 5450 w 10292"/>
                  <a:gd name="connsiteY8" fmla="*/ 772 h 10000"/>
                  <a:gd name="connsiteX9" fmla="*/ 4069 w 10292"/>
                  <a:gd name="connsiteY9" fmla="*/ 555 h 10000"/>
                  <a:gd name="connsiteX0" fmla="*/ 4069 w 10292"/>
                  <a:gd name="connsiteY0" fmla="*/ 555 h 9288"/>
                  <a:gd name="connsiteX1" fmla="*/ 2688 w 10292"/>
                  <a:gd name="connsiteY1" fmla="*/ 1860 h 9288"/>
                  <a:gd name="connsiteX2" fmla="*/ 1306 w 10292"/>
                  <a:gd name="connsiteY2" fmla="*/ 2295 h 9288"/>
                  <a:gd name="connsiteX3" fmla="*/ 97 w 10292"/>
                  <a:gd name="connsiteY3" fmla="*/ 5121 h 9288"/>
                  <a:gd name="connsiteX4" fmla="*/ 2342 w 10292"/>
                  <a:gd name="connsiteY4" fmla="*/ 7731 h 9288"/>
                  <a:gd name="connsiteX5" fmla="*/ 7309 w 10292"/>
                  <a:gd name="connsiteY5" fmla="*/ 8822 h 9288"/>
                  <a:gd name="connsiteX6" fmla="*/ 9790 w 10292"/>
                  <a:gd name="connsiteY6" fmla="*/ 7375 h 9288"/>
                  <a:gd name="connsiteX7" fmla="*/ 9791 w 10292"/>
                  <a:gd name="connsiteY7" fmla="*/ 2501 h 9288"/>
                  <a:gd name="connsiteX8" fmla="*/ 5450 w 10292"/>
                  <a:gd name="connsiteY8" fmla="*/ 772 h 9288"/>
                  <a:gd name="connsiteX9" fmla="*/ 4069 w 10292"/>
                  <a:gd name="connsiteY9" fmla="*/ 555 h 9288"/>
                  <a:gd name="connsiteX0" fmla="*/ 3974 w 10019"/>
                  <a:gd name="connsiteY0" fmla="*/ 598 h 9866"/>
                  <a:gd name="connsiteX1" fmla="*/ 2632 w 10019"/>
                  <a:gd name="connsiteY1" fmla="*/ 2003 h 9866"/>
                  <a:gd name="connsiteX2" fmla="*/ 1289 w 10019"/>
                  <a:gd name="connsiteY2" fmla="*/ 2471 h 9866"/>
                  <a:gd name="connsiteX3" fmla="*/ 114 w 10019"/>
                  <a:gd name="connsiteY3" fmla="*/ 5514 h 9866"/>
                  <a:gd name="connsiteX4" fmla="*/ 4716 w 10019"/>
                  <a:gd name="connsiteY4" fmla="*/ 7226 h 9866"/>
                  <a:gd name="connsiteX5" fmla="*/ 7122 w 10019"/>
                  <a:gd name="connsiteY5" fmla="*/ 9498 h 9866"/>
                  <a:gd name="connsiteX6" fmla="*/ 9532 w 10019"/>
                  <a:gd name="connsiteY6" fmla="*/ 7940 h 9866"/>
                  <a:gd name="connsiteX7" fmla="*/ 9533 w 10019"/>
                  <a:gd name="connsiteY7" fmla="*/ 2693 h 9866"/>
                  <a:gd name="connsiteX8" fmla="*/ 5315 w 10019"/>
                  <a:gd name="connsiteY8" fmla="*/ 831 h 9866"/>
                  <a:gd name="connsiteX9" fmla="*/ 3974 w 10019"/>
                  <a:gd name="connsiteY9" fmla="*/ 598 h 9866"/>
                  <a:gd name="connsiteX0" fmla="*/ 3432 w 9467"/>
                  <a:gd name="connsiteY0" fmla="*/ 606 h 12399"/>
                  <a:gd name="connsiteX1" fmla="*/ 2093 w 9467"/>
                  <a:gd name="connsiteY1" fmla="*/ 2030 h 12399"/>
                  <a:gd name="connsiteX2" fmla="*/ 753 w 9467"/>
                  <a:gd name="connsiteY2" fmla="*/ 2505 h 12399"/>
                  <a:gd name="connsiteX3" fmla="*/ 157 w 9467"/>
                  <a:gd name="connsiteY3" fmla="*/ 12318 h 12399"/>
                  <a:gd name="connsiteX4" fmla="*/ 4173 w 9467"/>
                  <a:gd name="connsiteY4" fmla="*/ 7324 h 12399"/>
                  <a:gd name="connsiteX5" fmla="*/ 6574 w 9467"/>
                  <a:gd name="connsiteY5" fmla="*/ 9627 h 12399"/>
                  <a:gd name="connsiteX6" fmla="*/ 8980 w 9467"/>
                  <a:gd name="connsiteY6" fmla="*/ 8048 h 12399"/>
                  <a:gd name="connsiteX7" fmla="*/ 8981 w 9467"/>
                  <a:gd name="connsiteY7" fmla="*/ 2730 h 12399"/>
                  <a:gd name="connsiteX8" fmla="*/ 4771 w 9467"/>
                  <a:gd name="connsiteY8" fmla="*/ 842 h 12399"/>
                  <a:gd name="connsiteX9" fmla="*/ 3432 w 9467"/>
                  <a:gd name="connsiteY9" fmla="*/ 606 h 12399"/>
                  <a:gd name="connsiteX0" fmla="*/ 5344 w 11719"/>
                  <a:gd name="connsiteY0" fmla="*/ 488 h 9962"/>
                  <a:gd name="connsiteX1" fmla="*/ 3930 w 11719"/>
                  <a:gd name="connsiteY1" fmla="*/ 1636 h 9962"/>
                  <a:gd name="connsiteX2" fmla="*/ 0 w 11719"/>
                  <a:gd name="connsiteY2" fmla="*/ 3447 h 9962"/>
                  <a:gd name="connsiteX3" fmla="*/ 1885 w 11719"/>
                  <a:gd name="connsiteY3" fmla="*/ 9934 h 9962"/>
                  <a:gd name="connsiteX4" fmla="*/ 6127 w 11719"/>
                  <a:gd name="connsiteY4" fmla="*/ 5906 h 9962"/>
                  <a:gd name="connsiteX5" fmla="*/ 8663 w 11719"/>
                  <a:gd name="connsiteY5" fmla="*/ 7763 h 9962"/>
                  <a:gd name="connsiteX6" fmla="*/ 11205 w 11719"/>
                  <a:gd name="connsiteY6" fmla="*/ 6490 h 9962"/>
                  <a:gd name="connsiteX7" fmla="*/ 11206 w 11719"/>
                  <a:gd name="connsiteY7" fmla="*/ 2201 h 9962"/>
                  <a:gd name="connsiteX8" fmla="*/ 6759 w 11719"/>
                  <a:gd name="connsiteY8" fmla="*/ 678 h 9962"/>
                  <a:gd name="connsiteX9" fmla="*/ 5344 w 11719"/>
                  <a:gd name="connsiteY9" fmla="*/ 488 h 9962"/>
                  <a:gd name="connsiteX0" fmla="*/ 4560 w 10000"/>
                  <a:gd name="connsiteY0" fmla="*/ 490 h 10000"/>
                  <a:gd name="connsiteX1" fmla="*/ 3354 w 10000"/>
                  <a:gd name="connsiteY1" fmla="*/ 1642 h 10000"/>
                  <a:gd name="connsiteX2" fmla="*/ 0 w 10000"/>
                  <a:gd name="connsiteY2" fmla="*/ 3460 h 10000"/>
                  <a:gd name="connsiteX3" fmla="*/ 1608 w 10000"/>
                  <a:gd name="connsiteY3" fmla="*/ 9972 h 10000"/>
                  <a:gd name="connsiteX4" fmla="*/ 5228 w 10000"/>
                  <a:gd name="connsiteY4" fmla="*/ 5929 h 10000"/>
                  <a:gd name="connsiteX5" fmla="*/ 7392 w 10000"/>
                  <a:gd name="connsiteY5" fmla="*/ 7793 h 10000"/>
                  <a:gd name="connsiteX6" fmla="*/ 9561 w 10000"/>
                  <a:gd name="connsiteY6" fmla="*/ 6515 h 10000"/>
                  <a:gd name="connsiteX7" fmla="*/ 9562 w 10000"/>
                  <a:gd name="connsiteY7" fmla="*/ 2209 h 10000"/>
                  <a:gd name="connsiteX8" fmla="*/ 5768 w 10000"/>
                  <a:gd name="connsiteY8" fmla="*/ 681 h 10000"/>
                  <a:gd name="connsiteX9" fmla="*/ 4560 w 10000"/>
                  <a:gd name="connsiteY9" fmla="*/ 490 h 10000"/>
                  <a:gd name="connsiteX0" fmla="*/ 4982 w 10422"/>
                  <a:gd name="connsiteY0" fmla="*/ 490 h 9973"/>
                  <a:gd name="connsiteX1" fmla="*/ 3776 w 10422"/>
                  <a:gd name="connsiteY1" fmla="*/ 1642 h 9973"/>
                  <a:gd name="connsiteX2" fmla="*/ 0 w 10422"/>
                  <a:gd name="connsiteY2" fmla="*/ 5385 h 9973"/>
                  <a:gd name="connsiteX3" fmla="*/ 2030 w 10422"/>
                  <a:gd name="connsiteY3" fmla="*/ 9972 h 9973"/>
                  <a:gd name="connsiteX4" fmla="*/ 5650 w 10422"/>
                  <a:gd name="connsiteY4" fmla="*/ 5929 h 9973"/>
                  <a:gd name="connsiteX5" fmla="*/ 7814 w 10422"/>
                  <a:gd name="connsiteY5" fmla="*/ 7793 h 9973"/>
                  <a:gd name="connsiteX6" fmla="*/ 9983 w 10422"/>
                  <a:gd name="connsiteY6" fmla="*/ 6515 h 9973"/>
                  <a:gd name="connsiteX7" fmla="*/ 9984 w 10422"/>
                  <a:gd name="connsiteY7" fmla="*/ 2209 h 9973"/>
                  <a:gd name="connsiteX8" fmla="*/ 6190 w 10422"/>
                  <a:gd name="connsiteY8" fmla="*/ 681 h 9973"/>
                  <a:gd name="connsiteX9" fmla="*/ 4982 w 10422"/>
                  <a:gd name="connsiteY9" fmla="*/ 490 h 9973"/>
                  <a:gd name="connsiteX0" fmla="*/ 4780 w 10000"/>
                  <a:gd name="connsiteY0" fmla="*/ 491 h 10000"/>
                  <a:gd name="connsiteX1" fmla="*/ 1159 w 10000"/>
                  <a:gd name="connsiteY1" fmla="*/ 1276 h 10000"/>
                  <a:gd name="connsiteX2" fmla="*/ 0 w 10000"/>
                  <a:gd name="connsiteY2" fmla="*/ 5400 h 10000"/>
                  <a:gd name="connsiteX3" fmla="*/ 1948 w 10000"/>
                  <a:gd name="connsiteY3" fmla="*/ 9999 h 10000"/>
                  <a:gd name="connsiteX4" fmla="*/ 5421 w 10000"/>
                  <a:gd name="connsiteY4" fmla="*/ 5945 h 10000"/>
                  <a:gd name="connsiteX5" fmla="*/ 7498 w 10000"/>
                  <a:gd name="connsiteY5" fmla="*/ 7814 h 10000"/>
                  <a:gd name="connsiteX6" fmla="*/ 9579 w 10000"/>
                  <a:gd name="connsiteY6" fmla="*/ 6533 h 10000"/>
                  <a:gd name="connsiteX7" fmla="*/ 9580 w 10000"/>
                  <a:gd name="connsiteY7" fmla="*/ 2215 h 10000"/>
                  <a:gd name="connsiteX8" fmla="*/ 5939 w 10000"/>
                  <a:gd name="connsiteY8" fmla="*/ 683 h 10000"/>
                  <a:gd name="connsiteX9" fmla="*/ 4780 w 10000"/>
                  <a:gd name="connsiteY9" fmla="*/ 491 h 10000"/>
                  <a:gd name="connsiteX0" fmla="*/ 4032 w 10000"/>
                  <a:gd name="connsiteY0" fmla="*/ 240 h 10817"/>
                  <a:gd name="connsiteX1" fmla="*/ 1159 w 10000"/>
                  <a:gd name="connsiteY1" fmla="*/ 2093 h 10817"/>
                  <a:gd name="connsiteX2" fmla="*/ 0 w 10000"/>
                  <a:gd name="connsiteY2" fmla="*/ 6217 h 10817"/>
                  <a:gd name="connsiteX3" fmla="*/ 1948 w 10000"/>
                  <a:gd name="connsiteY3" fmla="*/ 10816 h 10817"/>
                  <a:gd name="connsiteX4" fmla="*/ 5421 w 10000"/>
                  <a:gd name="connsiteY4" fmla="*/ 6762 h 10817"/>
                  <a:gd name="connsiteX5" fmla="*/ 7498 w 10000"/>
                  <a:gd name="connsiteY5" fmla="*/ 8631 h 10817"/>
                  <a:gd name="connsiteX6" fmla="*/ 9579 w 10000"/>
                  <a:gd name="connsiteY6" fmla="*/ 7350 h 10817"/>
                  <a:gd name="connsiteX7" fmla="*/ 9580 w 10000"/>
                  <a:gd name="connsiteY7" fmla="*/ 3032 h 10817"/>
                  <a:gd name="connsiteX8" fmla="*/ 5939 w 10000"/>
                  <a:gd name="connsiteY8" fmla="*/ 1500 h 10817"/>
                  <a:gd name="connsiteX9" fmla="*/ 4032 w 10000"/>
                  <a:gd name="connsiteY9" fmla="*/ 240 h 10817"/>
                  <a:gd name="connsiteX0" fmla="*/ 4032 w 10000"/>
                  <a:gd name="connsiteY0" fmla="*/ 507 h 11084"/>
                  <a:gd name="connsiteX1" fmla="*/ 1159 w 10000"/>
                  <a:gd name="connsiteY1" fmla="*/ 2360 h 11084"/>
                  <a:gd name="connsiteX2" fmla="*/ 0 w 10000"/>
                  <a:gd name="connsiteY2" fmla="*/ 6484 h 11084"/>
                  <a:gd name="connsiteX3" fmla="*/ 1948 w 10000"/>
                  <a:gd name="connsiteY3" fmla="*/ 11083 h 11084"/>
                  <a:gd name="connsiteX4" fmla="*/ 5421 w 10000"/>
                  <a:gd name="connsiteY4" fmla="*/ 7029 h 11084"/>
                  <a:gd name="connsiteX5" fmla="*/ 7498 w 10000"/>
                  <a:gd name="connsiteY5" fmla="*/ 8898 h 11084"/>
                  <a:gd name="connsiteX6" fmla="*/ 9579 w 10000"/>
                  <a:gd name="connsiteY6" fmla="*/ 7617 h 11084"/>
                  <a:gd name="connsiteX7" fmla="*/ 9580 w 10000"/>
                  <a:gd name="connsiteY7" fmla="*/ 3299 h 11084"/>
                  <a:gd name="connsiteX8" fmla="*/ 8340 w 10000"/>
                  <a:gd name="connsiteY8" fmla="*/ 658 h 11084"/>
                  <a:gd name="connsiteX9" fmla="*/ 4032 w 10000"/>
                  <a:gd name="connsiteY9" fmla="*/ 507 h 11084"/>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67"/>
                  <a:gd name="connsiteX1" fmla="*/ 1159 w 10000"/>
                  <a:gd name="connsiteY1" fmla="*/ 2309 h 11067"/>
                  <a:gd name="connsiteX2" fmla="*/ 0 w 10000"/>
                  <a:gd name="connsiteY2" fmla="*/ 6433 h 11067"/>
                  <a:gd name="connsiteX3" fmla="*/ 1948 w 10000"/>
                  <a:gd name="connsiteY3" fmla="*/ 11032 h 11067"/>
                  <a:gd name="connsiteX4" fmla="*/ 4641 w 10000"/>
                  <a:gd name="connsiteY4" fmla="*/ 8580 h 11067"/>
                  <a:gd name="connsiteX5" fmla="*/ 7498 w 10000"/>
                  <a:gd name="connsiteY5" fmla="*/ 8847 h 11067"/>
                  <a:gd name="connsiteX6" fmla="*/ 9579 w 10000"/>
                  <a:gd name="connsiteY6" fmla="*/ 7566 h 11067"/>
                  <a:gd name="connsiteX7" fmla="*/ 9580 w 10000"/>
                  <a:gd name="connsiteY7" fmla="*/ 3248 h 11067"/>
                  <a:gd name="connsiteX8" fmla="*/ 8340 w 10000"/>
                  <a:gd name="connsiteY8" fmla="*/ 607 h 11067"/>
                  <a:gd name="connsiteX9" fmla="*/ 4032 w 10000"/>
                  <a:gd name="connsiteY9" fmla="*/ 456 h 11067"/>
                  <a:gd name="connsiteX0" fmla="*/ 4032 w 10000"/>
                  <a:gd name="connsiteY0" fmla="*/ 456 h 11053"/>
                  <a:gd name="connsiteX1" fmla="*/ 1159 w 10000"/>
                  <a:gd name="connsiteY1" fmla="*/ 2309 h 11053"/>
                  <a:gd name="connsiteX2" fmla="*/ 0 w 10000"/>
                  <a:gd name="connsiteY2" fmla="*/ 6433 h 11053"/>
                  <a:gd name="connsiteX3" fmla="*/ 1948 w 10000"/>
                  <a:gd name="connsiteY3" fmla="*/ 11032 h 11053"/>
                  <a:gd name="connsiteX4" fmla="*/ 4641 w 10000"/>
                  <a:gd name="connsiteY4" fmla="*/ 8580 h 11053"/>
                  <a:gd name="connsiteX5" fmla="*/ 7498 w 10000"/>
                  <a:gd name="connsiteY5" fmla="*/ 8847 h 11053"/>
                  <a:gd name="connsiteX6" fmla="*/ 9579 w 10000"/>
                  <a:gd name="connsiteY6" fmla="*/ 7566 h 11053"/>
                  <a:gd name="connsiteX7" fmla="*/ 9580 w 10000"/>
                  <a:gd name="connsiteY7" fmla="*/ 3248 h 11053"/>
                  <a:gd name="connsiteX8" fmla="*/ 8340 w 10000"/>
                  <a:gd name="connsiteY8" fmla="*/ 607 h 11053"/>
                  <a:gd name="connsiteX9" fmla="*/ 4032 w 10000"/>
                  <a:gd name="connsiteY9" fmla="*/ 456 h 11053"/>
                  <a:gd name="connsiteX0" fmla="*/ 4032 w 10000"/>
                  <a:gd name="connsiteY0" fmla="*/ 456 h 11130"/>
                  <a:gd name="connsiteX1" fmla="*/ 1159 w 10000"/>
                  <a:gd name="connsiteY1" fmla="*/ 2309 h 11130"/>
                  <a:gd name="connsiteX2" fmla="*/ 0 w 10000"/>
                  <a:gd name="connsiteY2" fmla="*/ 6433 h 11130"/>
                  <a:gd name="connsiteX3" fmla="*/ 1948 w 10000"/>
                  <a:gd name="connsiteY3" fmla="*/ 11032 h 11130"/>
                  <a:gd name="connsiteX4" fmla="*/ 4641 w 10000"/>
                  <a:gd name="connsiteY4" fmla="*/ 8580 h 11130"/>
                  <a:gd name="connsiteX5" fmla="*/ 7498 w 10000"/>
                  <a:gd name="connsiteY5" fmla="*/ 8847 h 11130"/>
                  <a:gd name="connsiteX6" fmla="*/ 9579 w 10000"/>
                  <a:gd name="connsiteY6" fmla="*/ 7566 h 11130"/>
                  <a:gd name="connsiteX7" fmla="*/ 9580 w 10000"/>
                  <a:gd name="connsiteY7" fmla="*/ 3248 h 11130"/>
                  <a:gd name="connsiteX8" fmla="*/ 8340 w 10000"/>
                  <a:gd name="connsiteY8" fmla="*/ 607 h 11130"/>
                  <a:gd name="connsiteX9" fmla="*/ 4032 w 10000"/>
                  <a:gd name="connsiteY9" fmla="*/ 456 h 11130"/>
                  <a:gd name="connsiteX0" fmla="*/ 4662 w 10630"/>
                  <a:gd name="connsiteY0" fmla="*/ 456 h 11130"/>
                  <a:gd name="connsiteX1" fmla="*/ 1789 w 10630"/>
                  <a:gd name="connsiteY1" fmla="*/ 2309 h 11130"/>
                  <a:gd name="connsiteX2" fmla="*/ 630 w 10630"/>
                  <a:gd name="connsiteY2" fmla="*/ 6433 h 11130"/>
                  <a:gd name="connsiteX3" fmla="*/ 2578 w 10630"/>
                  <a:gd name="connsiteY3" fmla="*/ 11032 h 11130"/>
                  <a:gd name="connsiteX4" fmla="*/ 5271 w 10630"/>
                  <a:gd name="connsiteY4" fmla="*/ 8580 h 11130"/>
                  <a:gd name="connsiteX5" fmla="*/ 8128 w 10630"/>
                  <a:gd name="connsiteY5" fmla="*/ 8847 h 11130"/>
                  <a:gd name="connsiteX6" fmla="*/ 10209 w 10630"/>
                  <a:gd name="connsiteY6" fmla="*/ 7566 h 11130"/>
                  <a:gd name="connsiteX7" fmla="*/ 10210 w 10630"/>
                  <a:gd name="connsiteY7" fmla="*/ 3248 h 11130"/>
                  <a:gd name="connsiteX8" fmla="*/ 8970 w 10630"/>
                  <a:gd name="connsiteY8" fmla="*/ 607 h 11130"/>
                  <a:gd name="connsiteX9" fmla="*/ 4662 w 10630"/>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2836"/>
                  <a:gd name="connsiteX1" fmla="*/ 2266 w 11107"/>
                  <a:gd name="connsiteY1" fmla="*/ 2309 h 12836"/>
                  <a:gd name="connsiteX2" fmla="*/ 546 w 11107"/>
                  <a:gd name="connsiteY2" fmla="*/ 6228 h 12836"/>
                  <a:gd name="connsiteX3" fmla="*/ 3055 w 11107"/>
                  <a:gd name="connsiteY3" fmla="*/ 11032 h 12836"/>
                  <a:gd name="connsiteX4" fmla="*/ 5748 w 11107"/>
                  <a:gd name="connsiteY4" fmla="*/ 8580 h 12836"/>
                  <a:gd name="connsiteX5" fmla="*/ 8605 w 11107"/>
                  <a:gd name="connsiteY5" fmla="*/ 8847 h 12836"/>
                  <a:gd name="connsiteX6" fmla="*/ 10686 w 11107"/>
                  <a:gd name="connsiteY6" fmla="*/ 7566 h 12836"/>
                  <a:gd name="connsiteX7" fmla="*/ 10687 w 11107"/>
                  <a:gd name="connsiteY7" fmla="*/ 3248 h 12836"/>
                  <a:gd name="connsiteX8" fmla="*/ 9447 w 11107"/>
                  <a:gd name="connsiteY8" fmla="*/ 607 h 12836"/>
                  <a:gd name="connsiteX9" fmla="*/ 5139 w 11107"/>
                  <a:gd name="connsiteY9" fmla="*/ 456 h 12836"/>
                  <a:gd name="connsiteX0" fmla="*/ 5139 w 11107"/>
                  <a:gd name="connsiteY0" fmla="*/ 456 h 13188"/>
                  <a:gd name="connsiteX1" fmla="*/ 2266 w 11107"/>
                  <a:gd name="connsiteY1" fmla="*/ 2309 h 13188"/>
                  <a:gd name="connsiteX2" fmla="*/ 546 w 11107"/>
                  <a:gd name="connsiteY2" fmla="*/ 6228 h 13188"/>
                  <a:gd name="connsiteX3" fmla="*/ 3055 w 11107"/>
                  <a:gd name="connsiteY3" fmla="*/ 11032 h 13188"/>
                  <a:gd name="connsiteX4" fmla="*/ 5748 w 11107"/>
                  <a:gd name="connsiteY4" fmla="*/ 8580 h 13188"/>
                  <a:gd name="connsiteX5" fmla="*/ 8886 w 11107"/>
                  <a:gd name="connsiteY5" fmla="*/ 9792 h 13188"/>
                  <a:gd name="connsiteX6" fmla="*/ 10686 w 11107"/>
                  <a:gd name="connsiteY6" fmla="*/ 7566 h 13188"/>
                  <a:gd name="connsiteX7" fmla="*/ 10687 w 11107"/>
                  <a:gd name="connsiteY7" fmla="*/ 3248 h 13188"/>
                  <a:gd name="connsiteX8" fmla="*/ 9447 w 11107"/>
                  <a:gd name="connsiteY8" fmla="*/ 607 h 13188"/>
                  <a:gd name="connsiteX9" fmla="*/ 5139 w 11107"/>
                  <a:gd name="connsiteY9" fmla="*/ 456 h 13188"/>
                  <a:gd name="connsiteX0" fmla="*/ 5139 w 11107"/>
                  <a:gd name="connsiteY0" fmla="*/ 922 h 13654"/>
                  <a:gd name="connsiteX1" fmla="*/ 2266 w 11107"/>
                  <a:gd name="connsiteY1" fmla="*/ 2775 h 13654"/>
                  <a:gd name="connsiteX2" fmla="*/ 546 w 11107"/>
                  <a:gd name="connsiteY2" fmla="*/ 6694 h 13654"/>
                  <a:gd name="connsiteX3" fmla="*/ 3055 w 11107"/>
                  <a:gd name="connsiteY3" fmla="*/ 11498 h 13654"/>
                  <a:gd name="connsiteX4" fmla="*/ 5748 w 11107"/>
                  <a:gd name="connsiteY4" fmla="*/ 9046 h 13654"/>
                  <a:gd name="connsiteX5" fmla="*/ 8886 w 11107"/>
                  <a:gd name="connsiteY5" fmla="*/ 10258 h 13654"/>
                  <a:gd name="connsiteX6" fmla="*/ 10686 w 11107"/>
                  <a:gd name="connsiteY6" fmla="*/ 8032 h 13654"/>
                  <a:gd name="connsiteX7" fmla="*/ 10687 w 11107"/>
                  <a:gd name="connsiteY7" fmla="*/ 3714 h 13654"/>
                  <a:gd name="connsiteX8" fmla="*/ 9447 w 11107"/>
                  <a:gd name="connsiteY8" fmla="*/ 1073 h 13654"/>
                  <a:gd name="connsiteX9" fmla="*/ 5139 w 11107"/>
                  <a:gd name="connsiteY9" fmla="*/ 922 h 13654"/>
                  <a:gd name="connsiteX0" fmla="*/ 5139 w 11107"/>
                  <a:gd name="connsiteY0" fmla="*/ 1423 h 14155"/>
                  <a:gd name="connsiteX1" fmla="*/ 2266 w 11107"/>
                  <a:gd name="connsiteY1" fmla="*/ 3276 h 14155"/>
                  <a:gd name="connsiteX2" fmla="*/ 546 w 11107"/>
                  <a:gd name="connsiteY2" fmla="*/ 7195 h 14155"/>
                  <a:gd name="connsiteX3" fmla="*/ 3055 w 11107"/>
                  <a:gd name="connsiteY3" fmla="*/ 11999 h 14155"/>
                  <a:gd name="connsiteX4" fmla="*/ 5748 w 11107"/>
                  <a:gd name="connsiteY4" fmla="*/ 9547 h 14155"/>
                  <a:gd name="connsiteX5" fmla="*/ 8886 w 11107"/>
                  <a:gd name="connsiteY5" fmla="*/ 10759 h 14155"/>
                  <a:gd name="connsiteX6" fmla="*/ 10686 w 11107"/>
                  <a:gd name="connsiteY6" fmla="*/ 8533 h 14155"/>
                  <a:gd name="connsiteX7" fmla="*/ 10687 w 11107"/>
                  <a:gd name="connsiteY7" fmla="*/ 4215 h 14155"/>
                  <a:gd name="connsiteX8" fmla="*/ 9728 w 11107"/>
                  <a:gd name="connsiteY8" fmla="*/ 835 h 14155"/>
                  <a:gd name="connsiteX9" fmla="*/ 5139 w 11107"/>
                  <a:gd name="connsiteY9" fmla="*/ 1423 h 14155"/>
                  <a:gd name="connsiteX0" fmla="*/ 5139 w 12384"/>
                  <a:gd name="connsiteY0" fmla="*/ 1423 h 14155"/>
                  <a:gd name="connsiteX1" fmla="*/ 2266 w 12384"/>
                  <a:gd name="connsiteY1" fmla="*/ 3276 h 14155"/>
                  <a:gd name="connsiteX2" fmla="*/ 546 w 12384"/>
                  <a:gd name="connsiteY2" fmla="*/ 7195 h 14155"/>
                  <a:gd name="connsiteX3" fmla="*/ 3055 w 12384"/>
                  <a:gd name="connsiteY3" fmla="*/ 11999 h 14155"/>
                  <a:gd name="connsiteX4" fmla="*/ 5748 w 12384"/>
                  <a:gd name="connsiteY4" fmla="*/ 9547 h 14155"/>
                  <a:gd name="connsiteX5" fmla="*/ 8886 w 12384"/>
                  <a:gd name="connsiteY5" fmla="*/ 10759 h 14155"/>
                  <a:gd name="connsiteX6" fmla="*/ 10686 w 12384"/>
                  <a:gd name="connsiteY6" fmla="*/ 8533 h 14155"/>
                  <a:gd name="connsiteX7" fmla="*/ 12184 w 12384"/>
                  <a:gd name="connsiteY7" fmla="*/ 3927 h 14155"/>
                  <a:gd name="connsiteX8" fmla="*/ 9728 w 12384"/>
                  <a:gd name="connsiteY8" fmla="*/ 835 h 14155"/>
                  <a:gd name="connsiteX9" fmla="*/ 5139 w 12384"/>
                  <a:gd name="connsiteY9" fmla="*/ 1423 h 14155"/>
                  <a:gd name="connsiteX0" fmla="*/ 5139 w 12562"/>
                  <a:gd name="connsiteY0" fmla="*/ 1423 h 14155"/>
                  <a:gd name="connsiteX1" fmla="*/ 2266 w 12562"/>
                  <a:gd name="connsiteY1" fmla="*/ 3276 h 14155"/>
                  <a:gd name="connsiteX2" fmla="*/ 546 w 12562"/>
                  <a:gd name="connsiteY2" fmla="*/ 7195 h 14155"/>
                  <a:gd name="connsiteX3" fmla="*/ 3055 w 12562"/>
                  <a:gd name="connsiteY3" fmla="*/ 11999 h 14155"/>
                  <a:gd name="connsiteX4" fmla="*/ 5748 w 12562"/>
                  <a:gd name="connsiteY4" fmla="*/ 9547 h 14155"/>
                  <a:gd name="connsiteX5" fmla="*/ 8886 w 12562"/>
                  <a:gd name="connsiteY5" fmla="*/ 10759 h 14155"/>
                  <a:gd name="connsiteX6" fmla="*/ 12027 w 12562"/>
                  <a:gd name="connsiteY6" fmla="*/ 8163 h 14155"/>
                  <a:gd name="connsiteX7" fmla="*/ 12184 w 12562"/>
                  <a:gd name="connsiteY7" fmla="*/ 3927 h 14155"/>
                  <a:gd name="connsiteX8" fmla="*/ 9728 w 12562"/>
                  <a:gd name="connsiteY8" fmla="*/ 835 h 14155"/>
                  <a:gd name="connsiteX9" fmla="*/ 5139 w 12562"/>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53"/>
                  <a:gd name="connsiteY0" fmla="*/ 1423 h 14155"/>
                  <a:gd name="connsiteX1" fmla="*/ 2266 w 14753"/>
                  <a:gd name="connsiteY1" fmla="*/ 3276 h 14155"/>
                  <a:gd name="connsiteX2" fmla="*/ 546 w 14753"/>
                  <a:gd name="connsiteY2" fmla="*/ 7195 h 14155"/>
                  <a:gd name="connsiteX3" fmla="*/ 3055 w 14753"/>
                  <a:gd name="connsiteY3" fmla="*/ 11999 h 14155"/>
                  <a:gd name="connsiteX4" fmla="*/ 5748 w 14753"/>
                  <a:gd name="connsiteY4" fmla="*/ 9547 h 14155"/>
                  <a:gd name="connsiteX5" fmla="*/ 8886 w 14753"/>
                  <a:gd name="connsiteY5" fmla="*/ 10759 h 14155"/>
                  <a:gd name="connsiteX6" fmla="*/ 11965 w 14753"/>
                  <a:gd name="connsiteY6" fmla="*/ 8779 h 14155"/>
                  <a:gd name="connsiteX7" fmla="*/ 12184 w 14753"/>
                  <a:gd name="connsiteY7" fmla="*/ 3927 h 14155"/>
                  <a:gd name="connsiteX8" fmla="*/ 9728 w 14753"/>
                  <a:gd name="connsiteY8" fmla="*/ 835 h 14155"/>
                  <a:gd name="connsiteX9" fmla="*/ 5139 w 14753"/>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661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69"/>
                  <a:gd name="connsiteX1" fmla="*/ 2697 w 16991"/>
                  <a:gd name="connsiteY1" fmla="*/ 3276 h 14169"/>
                  <a:gd name="connsiteX2" fmla="*/ 1039 w 16991"/>
                  <a:gd name="connsiteY2" fmla="*/ 6661 h 14169"/>
                  <a:gd name="connsiteX3" fmla="*/ 2831 w 16991"/>
                  <a:gd name="connsiteY3" fmla="*/ 11547 h 14169"/>
                  <a:gd name="connsiteX4" fmla="*/ 6179 w 16991"/>
                  <a:gd name="connsiteY4" fmla="*/ 9547 h 14169"/>
                  <a:gd name="connsiteX5" fmla="*/ 9317 w 16991"/>
                  <a:gd name="connsiteY5" fmla="*/ 10759 h 14169"/>
                  <a:gd name="connsiteX6" fmla="*/ 12396 w 16991"/>
                  <a:gd name="connsiteY6" fmla="*/ 8779 h 14169"/>
                  <a:gd name="connsiteX7" fmla="*/ 12615 w 16991"/>
                  <a:gd name="connsiteY7" fmla="*/ 3927 h 14169"/>
                  <a:gd name="connsiteX8" fmla="*/ 10159 w 16991"/>
                  <a:gd name="connsiteY8" fmla="*/ 835 h 14169"/>
                  <a:gd name="connsiteX9" fmla="*/ 5570 w 16991"/>
                  <a:gd name="connsiteY9" fmla="*/ 1423 h 14169"/>
                  <a:gd name="connsiteX0" fmla="*/ 5570 w 16991"/>
                  <a:gd name="connsiteY0" fmla="*/ 1423 h 14319"/>
                  <a:gd name="connsiteX1" fmla="*/ 2697 w 16991"/>
                  <a:gd name="connsiteY1" fmla="*/ 3276 h 14319"/>
                  <a:gd name="connsiteX2" fmla="*/ 1039 w 16991"/>
                  <a:gd name="connsiteY2" fmla="*/ 6661 h 14319"/>
                  <a:gd name="connsiteX3" fmla="*/ 2831 w 16991"/>
                  <a:gd name="connsiteY3" fmla="*/ 11547 h 14319"/>
                  <a:gd name="connsiteX4" fmla="*/ 6241 w 16991"/>
                  <a:gd name="connsiteY4" fmla="*/ 10204 h 14319"/>
                  <a:gd name="connsiteX5" fmla="*/ 9317 w 16991"/>
                  <a:gd name="connsiteY5" fmla="*/ 10759 h 14319"/>
                  <a:gd name="connsiteX6" fmla="*/ 12396 w 16991"/>
                  <a:gd name="connsiteY6" fmla="*/ 8779 h 14319"/>
                  <a:gd name="connsiteX7" fmla="*/ 12615 w 16991"/>
                  <a:gd name="connsiteY7" fmla="*/ 3927 h 14319"/>
                  <a:gd name="connsiteX8" fmla="*/ 10159 w 16991"/>
                  <a:gd name="connsiteY8" fmla="*/ 835 h 14319"/>
                  <a:gd name="connsiteX9" fmla="*/ 5570 w 16991"/>
                  <a:gd name="connsiteY9" fmla="*/ 1423 h 14319"/>
                  <a:gd name="connsiteX0" fmla="*/ 5570 w 16991"/>
                  <a:gd name="connsiteY0" fmla="*/ 1423 h 14440"/>
                  <a:gd name="connsiteX1" fmla="*/ 2697 w 16991"/>
                  <a:gd name="connsiteY1" fmla="*/ 3276 h 14440"/>
                  <a:gd name="connsiteX2" fmla="*/ 1039 w 16991"/>
                  <a:gd name="connsiteY2" fmla="*/ 6661 h 14440"/>
                  <a:gd name="connsiteX3" fmla="*/ 2831 w 16991"/>
                  <a:gd name="connsiteY3" fmla="*/ 11547 h 14440"/>
                  <a:gd name="connsiteX4" fmla="*/ 6241 w 16991"/>
                  <a:gd name="connsiteY4" fmla="*/ 10204 h 14440"/>
                  <a:gd name="connsiteX5" fmla="*/ 9317 w 16991"/>
                  <a:gd name="connsiteY5" fmla="*/ 10759 h 14440"/>
                  <a:gd name="connsiteX6" fmla="*/ 12396 w 16991"/>
                  <a:gd name="connsiteY6" fmla="*/ 8779 h 14440"/>
                  <a:gd name="connsiteX7" fmla="*/ 12615 w 16991"/>
                  <a:gd name="connsiteY7" fmla="*/ 3927 h 14440"/>
                  <a:gd name="connsiteX8" fmla="*/ 10159 w 16991"/>
                  <a:gd name="connsiteY8" fmla="*/ 835 h 14440"/>
                  <a:gd name="connsiteX9" fmla="*/ 5570 w 16991"/>
                  <a:gd name="connsiteY9" fmla="*/ 1423 h 14440"/>
                  <a:gd name="connsiteX0" fmla="*/ 5570 w 16991"/>
                  <a:gd name="connsiteY0" fmla="*/ 1423 h 14549"/>
                  <a:gd name="connsiteX1" fmla="*/ 2697 w 16991"/>
                  <a:gd name="connsiteY1" fmla="*/ 3276 h 14549"/>
                  <a:gd name="connsiteX2" fmla="*/ 1039 w 16991"/>
                  <a:gd name="connsiteY2" fmla="*/ 6661 h 14549"/>
                  <a:gd name="connsiteX3" fmla="*/ 2831 w 16991"/>
                  <a:gd name="connsiteY3" fmla="*/ 11547 h 14549"/>
                  <a:gd name="connsiteX4" fmla="*/ 6241 w 16991"/>
                  <a:gd name="connsiteY4" fmla="*/ 10204 h 14549"/>
                  <a:gd name="connsiteX5" fmla="*/ 9317 w 16991"/>
                  <a:gd name="connsiteY5" fmla="*/ 10759 h 14549"/>
                  <a:gd name="connsiteX6" fmla="*/ 12396 w 16991"/>
                  <a:gd name="connsiteY6" fmla="*/ 8779 h 14549"/>
                  <a:gd name="connsiteX7" fmla="*/ 12615 w 16991"/>
                  <a:gd name="connsiteY7" fmla="*/ 3927 h 14549"/>
                  <a:gd name="connsiteX8" fmla="*/ 10159 w 16991"/>
                  <a:gd name="connsiteY8" fmla="*/ 835 h 14549"/>
                  <a:gd name="connsiteX9" fmla="*/ 5570 w 16991"/>
                  <a:gd name="connsiteY9" fmla="*/ 1423 h 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991" h="14549">
                    <a:moveTo>
                      <a:pt x="5570" y="1423"/>
                    </a:moveTo>
                    <a:cubicBezTo>
                      <a:pt x="5570" y="1423"/>
                      <a:pt x="3130" y="3084"/>
                      <a:pt x="2697" y="3276"/>
                    </a:cubicBezTo>
                    <a:cubicBezTo>
                      <a:pt x="2116" y="3276"/>
                      <a:pt x="-1842" y="6053"/>
                      <a:pt x="1039" y="6661"/>
                    </a:cubicBezTo>
                    <a:cubicBezTo>
                      <a:pt x="7088" y="4584"/>
                      <a:pt x="1964" y="10957"/>
                      <a:pt x="2831" y="11547"/>
                    </a:cubicBezTo>
                    <a:cubicBezTo>
                      <a:pt x="3698" y="12137"/>
                      <a:pt x="5378" y="9267"/>
                      <a:pt x="6241" y="10204"/>
                    </a:cubicBezTo>
                    <a:cubicBezTo>
                      <a:pt x="7104" y="11141"/>
                      <a:pt x="8518" y="19143"/>
                      <a:pt x="9317" y="10759"/>
                    </a:cubicBezTo>
                    <a:cubicBezTo>
                      <a:pt x="9836" y="7618"/>
                      <a:pt x="10455" y="8698"/>
                      <a:pt x="12396" y="8779"/>
                    </a:cubicBezTo>
                    <a:cubicBezTo>
                      <a:pt x="22146" y="14045"/>
                      <a:pt x="13484" y="5276"/>
                      <a:pt x="12615" y="3927"/>
                    </a:cubicBezTo>
                    <a:cubicBezTo>
                      <a:pt x="11601" y="2772"/>
                      <a:pt x="11853" y="1347"/>
                      <a:pt x="10159" y="835"/>
                    </a:cubicBezTo>
                    <a:cubicBezTo>
                      <a:pt x="8883" y="-1003"/>
                      <a:pt x="5715" y="652"/>
                      <a:pt x="5570" y="1423"/>
                    </a:cubicBezTo>
                    <a:close/>
                  </a:path>
                </a:pathLst>
              </a:custGeom>
              <a:solidFill>
                <a:srgbClr val="FFC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36" name="Oval 284">
                <a:extLst>
                  <a:ext uri="{FF2B5EF4-FFF2-40B4-BE49-F238E27FC236}">
                    <a16:creationId xmlns:a16="http://schemas.microsoft.com/office/drawing/2014/main" id="{1CB40B8C-82FF-43A8-9E2E-A26BA49E315B}"/>
                  </a:ext>
                </a:extLst>
              </p:cNvPr>
              <p:cNvSpPr>
                <a:spLocks noChangeArrowheads="1"/>
              </p:cNvSpPr>
              <p:nvPr/>
            </p:nvSpPr>
            <p:spPr bwMode="auto">
              <a:xfrm rot="15772157">
                <a:off x="8188752" y="2258212"/>
                <a:ext cx="63039" cy="160334"/>
              </a:xfrm>
              <a:prstGeom prst="ellipse">
                <a:avLst/>
              </a:prstGeom>
              <a:solidFill>
                <a:srgbClr val="E2A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22" name="Group 21">
              <a:extLst>
                <a:ext uri="{FF2B5EF4-FFF2-40B4-BE49-F238E27FC236}">
                  <a16:creationId xmlns:a16="http://schemas.microsoft.com/office/drawing/2014/main" id="{327DCFB1-5412-4E51-992B-EA318A85B076}"/>
                </a:ext>
              </a:extLst>
            </p:cNvPr>
            <p:cNvGrpSpPr/>
            <p:nvPr/>
          </p:nvGrpSpPr>
          <p:grpSpPr>
            <a:xfrm rot="15400128">
              <a:off x="4186978" y="4039108"/>
              <a:ext cx="614395" cy="302314"/>
              <a:chOff x="7815272" y="2280892"/>
              <a:chExt cx="817760" cy="302314"/>
            </a:xfrm>
          </p:grpSpPr>
          <p:sp>
            <p:nvSpPr>
              <p:cNvPr id="233" name="Freeform 283">
                <a:extLst>
                  <a:ext uri="{FF2B5EF4-FFF2-40B4-BE49-F238E27FC236}">
                    <a16:creationId xmlns:a16="http://schemas.microsoft.com/office/drawing/2014/main" id="{9C434306-3A48-43B7-A58D-17716AC816A8}"/>
                  </a:ext>
                </a:extLst>
              </p:cNvPr>
              <p:cNvSpPr>
                <a:spLocks/>
              </p:cNvSpPr>
              <p:nvPr/>
            </p:nvSpPr>
            <p:spPr bwMode="auto">
              <a:xfrm rot="21172157">
                <a:off x="7815272" y="2280892"/>
                <a:ext cx="817760" cy="302314"/>
              </a:xfrm>
              <a:custGeom>
                <a:avLst/>
                <a:gdLst>
                  <a:gd name="T0" fmla="*/ 26 w 52"/>
                  <a:gd name="T1" fmla="*/ 4 h 51"/>
                  <a:gd name="T2" fmla="*/ 18 w 52"/>
                  <a:gd name="T3" fmla="*/ 10 h 51"/>
                  <a:gd name="T4" fmla="*/ 10 w 52"/>
                  <a:gd name="T5" fmla="*/ 12 h 51"/>
                  <a:gd name="T6" fmla="*/ 3 w 52"/>
                  <a:gd name="T7" fmla="*/ 25 h 51"/>
                  <a:gd name="T8" fmla="*/ 16 w 52"/>
                  <a:gd name="T9" fmla="*/ 37 h 51"/>
                  <a:gd name="T10" fmla="*/ 34 w 52"/>
                  <a:gd name="T11" fmla="*/ 45 h 51"/>
                  <a:gd name="T12" fmla="*/ 46 w 52"/>
                  <a:gd name="T13" fmla="*/ 36 h 51"/>
                  <a:gd name="T14" fmla="*/ 46 w 52"/>
                  <a:gd name="T15" fmla="*/ 17 h 51"/>
                  <a:gd name="T16" fmla="*/ 34 w 52"/>
                  <a:gd name="T17" fmla="*/ 5 h 51"/>
                  <a:gd name="T18" fmla="*/ 26 w 52"/>
                  <a:gd name="T19" fmla="*/ 4 h 51"/>
                  <a:gd name="connsiteX0" fmla="*/ 4531 w 11136"/>
                  <a:gd name="connsiteY0" fmla="*/ 500 h 9017"/>
                  <a:gd name="connsiteX1" fmla="*/ 2993 w 11136"/>
                  <a:gd name="connsiteY1" fmla="*/ 1677 h 9017"/>
                  <a:gd name="connsiteX2" fmla="*/ 1454 w 11136"/>
                  <a:gd name="connsiteY2" fmla="*/ 2069 h 9017"/>
                  <a:gd name="connsiteX3" fmla="*/ 108 w 11136"/>
                  <a:gd name="connsiteY3" fmla="*/ 4618 h 9017"/>
                  <a:gd name="connsiteX4" fmla="*/ 2608 w 11136"/>
                  <a:gd name="connsiteY4" fmla="*/ 6971 h 9017"/>
                  <a:gd name="connsiteX5" fmla="*/ 6069 w 11136"/>
                  <a:gd name="connsiteY5" fmla="*/ 8540 h 9017"/>
                  <a:gd name="connsiteX6" fmla="*/ 8377 w 11136"/>
                  <a:gd name="connsiteY6" fmla="*/ 6775 h 9017"/>
                  <a:gd name="connsiteX7" fmla="*/ 10903 w 11136"/>
                  <a:gd name="connsiteY7" fmla="*/ 2255 h 9017"/>
                  <a:gd name="connsiteX8" fmla="*/ 6069 w 11136"/>
                  <a:gd name="connsiteY8" fmla="*/ 696 h 9017"/>
                  <a:gd name="connsiteX9" fmla="*/ 4531 w 11136"/>
                  <a:gd name="connsiteY9" fmla="*/ 500 h 9017"/>
                  <a:gd name="connsiteX0" fmla="*/ 4069 w 10292"/>
                  <a:gd name="connsiteY0" fmla="*/ 555 h 10000"/>
                  <a:gd name="connsiteX1" fmla="*/ 2688 w 10292"/>
                  <a:gd name="connsiteY1" fmla="*/ 1860 h 10000"/>
                  <a:gd name="connsiteX2" fmla="*/ 1306 w 10292"/>
                  <a:gd name="connsiteY2" fmla="*/ 2295 h 10000"/>
                  <a:gd name="connsiteX3" fmla="*/ 97 w 10292"/>
                  <a:gd name="connsiteY3" fmla="*/ 5121 h 10000"/>
                  <a:gd name="connsiteX4" fmla="*/ 2342 w 10292"/>
                  <a:gd name="connsiteY4" fmla="*/ 7731 h 10000"/>
                  <a:gd name="connsiteX5" fmla="*/ 5450 w 10292"/>
                  <a:gd name="connsiteY5" fmla="*/ 9471 h 10000"/>
                  <a:gd name="connsiteX6" fmla="*/ 9790 w 10292"/>
                  <a:gd name="connsiteY6" fmla="*/ 7375 h 10000"/>
                  <a:gd name="connsiteX7" fmla="*/ 9791 w 10292"/>
                  <a:gd name="connsiteY7" fmla="*/ 2501 h 10000"/>
                  <a:gd name="connsiteX8" fmla="*/ 5450 w 10292"/>
                  <a:gd name="connsiteY8" fmla="*/ 772 h 10000"/>
                  <a:gd name="connsiteX9" fmla="*/ 4069 w 10292"/>
                  <a:gd name="connsiteY9" fmla="*/ 555 h 10000"/>
                  <a:gd name="connsiteX0" fmla="*/ 4069 w 10292"/>
                  <a:gd name="connsiteY0" fmla="*/ 555 h 9288"/>
                  <a:gd name="connsiteX1" fmla="*/ 2688 w 10292"/>
                  <a:gd name="connsiteY1" fmla="*/ 1860 h 9288"/>
                  <a:gd name="connsiteX2" fmla="*/ 1306 w 10292"/>
                  <a:gd name="connsiteY2" fmla="*/ 2295 h 9288"/>
                  <a:gd name="connsiteX3" fmla="*/ 97 w 10292"/>
                  <a:gd name="connsiteY3" fmla="*/ 5121 h 9288"/>
                  <a:gd name="connsiteX4" fmla="*/ 2342 w 10292"/>
                  <a:gd name="connsiteY4" fmla="*/ 7731 h 9288"/>
                  <a:gd name="connsiteX5" fmla="*/ 7309 w 10292"/>
                  <a:gd name="connsiteY5" fmla="*/ 8822 h 9288"/>
                  <a:gd name="connsiteX6" fmla="*/ 9790 w 10292"/>
                  <a:gd name="connsiteY6" fmla="*/ 7375 h 9288"/>
                  <a:gd name="connsiteX7" fmla="*/ 9791 w 10292"/>
                  <a:gd name="connsiteY7" fmla="*/ 2501 h 9288"/>
                  <a:gd name="connsiteX8" fmla="*/ 5450 w 10292"/>
                  <a:gd name="connsiteY8" fmla="*/ 772 h 9288"/>
                  <a:gd name="connsiteX9" fmla="*/ 4069 w 10292"/>
                  <a:gd name="connsiteY9" fmla="*/ 555 h 9288"/>
                  <a:gd name="connsiteX0" fmla="*/ 3974 w 10019"/>
                  <a:gd name="connsiteY0" fmla="*/ 598 h 9866"/>
                  <a:gd name="connsiteX1" fmla="*/ 2632 w 10019"/>
                  <a:gd name="connsiteY1" fmla="*/ 2003 h 9866"/>
                  <a:gd name="connsiteX2" fmla="*/ 1289 w 10019"/>
                  <a:gd name="connsiteY2" fmla="*/ 2471 h 9866"/>
                  <a:gd name="connsiteX3" fmla="*/ 114 w 10019"/>
                  <a:gd name="connsiteY3" fmla="*/ 5514 h 9866"/>
                  <a:gd name="connsiteX4" fmla="*/ 4716 w 10019"/>
                  <a:gd name="connsiteY4" fmla="*/ 7226 h 9866"/>
                  <a:gd name="connsiteX5" fmla="*/ 7122 w 10019"/>
                  <a:gd name="connsiteY5" fmla="*/ 9498 h 9866"/>
                  <a:gd name="connsiteX6" fmla="*/ 9532 w 10019"/>
                  <a:gd name="connsiteY6" fmla="*/ 7940 h 9866"/>
                  <a:gd name="connsiteX7" fmla="*/ 9533 w 10019"/>
                  <a:gd name="connsiteY7" fmla="*/ 2693 h 9866"/>
                  <a:gd name="connsiteX8" fmla="*/ 5315 w 10019"/>
                  <a:gd name="connsiteY8" fmla="*/ 831 h 9866"/>
                  <a:gd name="connsiteX9" fmla="*/ 3974 w 10019"/>
                  <a:gd name="connsiteY9" fmla="*/ 598 h 9866"/>
                  <a:gd name="connsiteX0" fmla="*/ 3432 w 9467"/>
                  <a:gd name="connsiteY0" fmla="*/ 606 h 12399"/>
                  <a:gd name="connsiteX1" fmla="*/ 2093 w 9467"/>
                  <a:gd name="connsiteY1" fmla="*/ 2030 h 12399"/>
                  <a:gd name="connsiteX2" fmla="*/ 753 w 9467"/>
                  <a:gd name="connsiteY2" fmla="*/ 2505 h 12399"/>
                  <a:gd name="connsiteX3" fmla="*/ 157 w 9467"/>
                  <a:gd name="connsiteY3" fmla="*/ 12318 h 12399"/>
                  <a:gd name="connsiteX4" fmla="*/ 4173 w 9467"/>
                  <a:gd name="connsiteY4" fmla="*/ 7324 h 12399"/>
                  <a:gd name="connsiteX5" fmla="*/ 6574 w 9467"/>
                  <a:gd name="connsiteY5" fmla="*/ 9627 h 12399"/>
                  <a:gd name="connsiteX6" fmla="*/ 8980 w 9467"/>
                  <a:gd name="connsiteY6" fmla="*/ 8048 h 12399"/>
                  <a:gd name="connsiteX7" fmla="*/ 8981 w 9467"/>
                  <a:gd name="connsiteY7" fmla="*/ 2730 h 12399"/>
                  <a:gd name="connsiteX8" fmla="*/ 4771 w 9467"/>
                  <a:gd name="connsiteY8" fmla="*/ 842 h 12399"/>
                  <a:gd name="connsiteX9" fmla="*/ 3432 w 9467"/>
                  <a:gd name="connsiteY9" fmla="*/ 606 h 12399"/>
                  <a:gd name="connsiteX0" fmla="*/ 5344 w 11719"/>
                  <a:gd name="connsiteY0" fmla="*/ 488 h 9962"/>
                  <a:gd name="connsiteX1" fmla="*/ 3930 w 11719"/>
                  <a:gd name="connsiteY1" fmla="*/ 1636 h 9962"/>
                  <a:gd name="connsiteX2" fmla="*/ 0 w 11719"/>
                  <a:gd name="connsiteY2" fmla="*/ 3447 h 9962"/>
                  <a:gd name="connsiteX3" fmla="*/ 1885 w 11719"/>
                  <a:gd name="connsiteY3" fmla="*/ 9934 h 9962"/>
                  <a:gd name="connsiteX4" fmla="*/ 6127 w 11719"/>
                  <a:gd name="connsiteY4" fmla="*/ 5906 h 9962"/>
                  <a:gd name="connsiteX5" fmla="*/ 8663 w 11719"/>
                  <a:gd name="connsiteY5" fmla="*/ 7763 h 9962"/>
                  <a:gd name="connsiteX6" fmla="*/ 11205 w 11719"/>
                  <a:gd name="connsiteY6" fmla="*/ 6490 h 9962"/>
                  <a:gd name="connsiteX7" fmla="*/ 11206 w 11719"/>
                  <a:gd name="connsiteY7" fmla="*/ 2201 h 9962"/>
                  <a:gd name="connsiteX8" fmla="*/ 6759 w 11719"/>
                  <a:gd name="connsiteY8" fmla="*/ 678 h 9962"/>
                  <a:gd name="connsiteX9" fmla="*/ 5344 w 11719"/>
                  <a:gd name="connsiteY9" fmla="*/ 488 h 9962"/>
                  <a:gd name="connsiteX0" fmla="*/ 4560 w 10000"/>
                  <a:gd name="connsiteY0" fmla="*/ 490 h 10000"/>
                  <a:gd name="connsiteX1" fmla="*/ 3354 w 10000"/>
                  <a:gd name="connsiteY1" fmla="*/ 1642 h 10000"/>
                  <a:gd name="connsiteX2" fmla="*/ 0 w 10000"/>
                  <a:gd name="connsiteY2" fmla="*/ 3460 h 10000"/>
                  <a:gd name="connsiteX3" fmla="*/ 1608 w 10000"/>
                  <a:gd name="connsiteY3" fmla="*/ 9972 h 10000"/>
                  <a:gd name="connsiteX4" fmla="*/ 5228 w 10000"/>
                  <a:gd name="connsiteY4" fmla="*/ 5929 h 10000"/>
                  <a:gd name="connsiteX5" fmla="*/ 7392 w 10000"/>
                  <a:gd name="connsiteY5" fmla="*/ 7793 h 10000"/>
                  <a:gd name="connsiteX6" fmla="*/ 9561 w 10000"/>
                  <a:gd name="connsiteY6" fmla="*/ 6515 h 10000"/>
                  <a:gd name="connsiteX7" fmla="*/ 9562 w 10000"/>
                  <a:gd name="connsiteY7" fmla="*/ 2209 h 10000"/>
                  <a:gd name="connsiteX8" fmla="*/ 5768 w 10000"/>
                  <a:gd name="connsiteY8" fmla="*/ 681 h 10000"/>
                  <a:gd name="connsiteX9" fmla="*/ 4560 w 10000"/>
                  <a:gd name="connsiteY9" fmla="*/ 490 h 10000"/>
                  <a:gd name="connsiteX0" fmla="*/ 4982 w 10422"/>
                  <a:gd name="connsiteY0" fmla="*/ 490 h 9973"/>
                  <a:gd name="connsiteX1" fmla="*/ 3776 w 10422"/>
                  <a:gd name="connsiteY1" fmla="*/ 1642 h 9973"/>
                  <a:gd name="connsiteX2" fmla="*/ 0 w 10422"/>
                  <a:gd name="connsiteY2" fmla="*/ 5385 h 9973"/>
                  <a:gd name="connsiteX3" fmla="*/ 2030 w 10422"/>
                  <a:gd name="connsiteY3" fmla="*/ 9972 h 9973"/>
                  <a:gd name="connsiteX4" fmla="*/ 5650 w 10422"/>
                  <a:gd name="connsiteY4" fmla="*/ 5929 h 9973"/>
                  <a:gd name="connsiteX5" fmla="*/ 7814 w 10422"/>
                  <a:gd name="connsiteY5" fmla="*/ 7793 h 9973"/>
                  <a:gd name="connsiteX6" fmla="*/ 9983 w 10422"/>
                  <a:gd name="connsiteY6" fmla="*/ 6515 h 9973"/>
                  <a:gd name="connsiteX7" fmla="*/ 9984 w 10422"/>
                  <a:gd name="connsiteY7" fmla="*/ 2209 h 9973"/>
                  <a:gd name="connsiteX8" fmla="*/ 6190 w 10422"/>
                  <a:gd name="connsiteY8" fmla="*/ 681 h 9973"/>
                  <a:gd name="connsiteX9" fmla="*/ 4982 w 10422"/>
                  <a:gd name="connsiteY9" fmla="*/ 490 h 9973"/>
                  <a:gd name="connsiteX0" fmla="*/ 4780 w 10000"/>
                  <a:gd name="connsiteY0" fmla="*/ 491 h 10000"/>
                  <a:gd name="connsiteX1" fmla="*/ 1159 w 10000"/>
                  <a:gd name="connsiteY1" fmla="*/ 1276 h 10000"/>
                  <a:gd name="connsiteX2" fmla="*/ 0 w 10000"/>
                  <a:gd name="connsiteY2" fmla="*/ 5400 h 10000"/>
                  <a:gd name="connsiteX3" fmla="*/ 1948 w 10000"/>
                  <a:gd name="connsiteY3" fmla="*/ 9999 h 10000"/>
                  <a:gd name="connsiteX4" fmla="*/ 5421 w 10000"/>
                  <a:gd name="connsiteY4" fmla="*/ 5945 h 10000"/>
                  <a:gd name="connsiteX5" fmla="*/ 7498 w 10000"/>
                  <a:gd name="connsiteY5" fmla="*/ 7814 h 10000"/>
                  <a:gd name="connsiteX6" fmla="*/ 9579 w 10000"/>
                  <a:gd name="connsiteY6" fmla="*/ 6533 h 10000"/>
                  <a:gd name="connsiteX7" fmla="*/ 9580 w 10000"/>
                  <a:gd name="connsiteY7" fmla="*/ 2215 h 10000"/>
                  <a:gd name="connsiteX8" fmla="*/ 5939 w 10000"/>
                  <a:gd name="connsiteY8" fmla="*/ 683 h 10000"/>
                  <a:gd name="connsiteX9" fmla="*/ 4780 w 10000"/>
                  <a:gd name="connsiteY9" fmla="*/ 491 h 10000"/>
                  <a:gd name="connsiteX0" fmla="*/ 4032 w 10000"/>
                  <a:gd name="connsiteY0" fmla="*/ 240 h 10817"/>
                  <a:gd name="connsiteX1" fmla="*/ 1159 w 10000"/>
                  <a:gd name="connsiteY1" fmla="*/ 2093 h 10817"/>
                  <a:gd name="connsiteX2" fmla="*/ 0 w 10000"/>
                  <a:gd name="connsiteY2" fmla="*/ 6217 h 10817"/>
                  <a:gd name="connsiteX3" fmla="*/ 1948 w 10000"/>
                  <a:gd name="connsiteY3" fmla="*/ 10816 h 10817"/>
                  <a:gd name="connsiteX4" fmla="*/ 5421 w 10000"/>
                  <a:gd name="connsiteY4" fmla="*/ 6762 h 10817"/>
                  <a:gd name="connsiteX5" fmla="*/ 7498 w 10000"/>
                  <a:gd name="connsiteY5" fmla="*/ 8631 h 10817"/>
                  <a:gd name="connsiteX6" fmla="*/ 9579 w 10000"/>
                  <a:gd name="connsiteY6" fmla="*/ 7350 h 10817"/>
                  <a:gd name="connsiteX7" fmla="*/ 9580 w 10000"/>
                  <a:gd name="connsiteY7" fmla="*/ 3032 h 10817"/>
                  <a:gd name="connsiteX8" fmla="*/ 5939 w 10000"/>
                  <a:gd name="connsiteY8" fmla="*/ 1500 h 10817"/>
                  <a:gd name="connsiteX9" fmla="*/ 4032 w 10000"/>
                  <a:gd name="connsiteY9" fmla="*/ 240 h 10817"/>
                  <a:gd name="connsiteX0" fmla="*/ 4032 w 10000"/>
                  <a:gd name="connsiteY0" fmla="*/ 507 h 11084"/>
                  <a:gd name="connsiteX1" fmla="*/ 1159 w 10000"/>
                  <a:gd name="connsiteY1" fmla="*/ 2360 h 11084"/>
                  <a:gd name="connsiteX2" fmla="*/ 0 w 10000"/>
                  <a:gd name="connsiteY2" fmla="*/ 6484 h 11084"/>
                  <a:gd name="connsiteX3" fmla="*/ 1948 w 10000"/>
                  <a:gd name="connsiteY3" fmla="*/ 11083 h 11084"/>
                  <a:gd name="connsiteX4" fmla="*/ 5421 w 10000"/>
                  <a:gd name="connsiteY4" fmla="*/ 7029 h 11084"/>
                  <a:gd name="connsiteX5" fmla="*/ 7498 w 10000"/>
                  <a:gd name="connsiteY5" fmla="*/ 8898 h 11084"/>
                  <a:gd name="connsiteX6" fmla="*/ 9579 w 10000"/>
                  <a:gd name="connsiteY6" fmla="*/ 7617 h 11084"/>
                  <a:gd name="connsiteX7" fmla="*/ 9580 w 10000"/>
                  <a:gd name="connsiteY7" fmla="*/ 3299 h 11084"/>
                  <a:gd name="connsiteX8" fmla="*/ 8340 w 10000"/>
                  <a:gd name="connsiteY8" fmla="*/ 658 h 11084"/>
                  <a:gd name="connsiteX9" fmla="*/ 4032 w 10000"/>
                  <a:gd name="connsiteY9" fmla="*/ 507 h 11084"/>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67"/>
                  <a:gd name="connsiteX1" fmla="*/ 1159 w 10000"/>
                  <a:gd name="connsiteY1" fmla="*/ 2309 h 11067"/>
                  <a:gd name="connsiteX2" fmla="*/ 0 w 10000"/>
                  <a:gd name="connsiteY2" fmla="*/ 6433 h 11067"/>
                  <a:gd name="connsiteX3" fmla="*/ 1948 w 10000"/>
                  <a:gd name="connsiteY3" fmla="*/ 11032 h 11067"/>
                  <a:gd name="connsiteX4" fmla="*/ 4641 w 10000"/>
                  <a:gd name="connsiteY4" fmla="*/ 8580 h 11067"/>
                  <a:gd name="connsiteX5" fmla="*/ 7498 w 10000"/>
                  <a:gd name="connsiteY5" fmla="*/ 8847 h 11067"/>
                  <a:gd name="connsiteX6" fmla="*/ 9579 w 10000"/>
                  <a:gd name="connsiteY6" fmla="*/ 7566 h 11067"/>
                  <a:gd name="connsiteX7" fmla="*/ 9580 w 10000"/>
                  <a:gd name="connsiteY7" fmla="*/ 3248 h 11067"/>
                  <a:gd name="connsiteX8" fmla="*/ 8340 w 10000"/>
                  <a:gd name="connsiteY8" fmla="*/ 607 h 11067"/>
                  <a:gd name="connsiteX9" fmla="*/ 4032 w 10000"/>
                  <a:gd name="connsiteY9" fmla="*/ 456 h 11067"/>
                  <a:gd name="connsiteX0" fmla="*/ 4032 w 10000"/>
                  <a:gd name="connsiteY0" fmla="*/ 456 h 11053"/>
                  <a:gd name="connsiteX1" fmla="*/ 1159 w 10000"/>
                  <a:gd name="connsiteY1" fmla="*/ 2309 h 11053"/>
                  <a:gd name="connsiteX2" fmla="*/ 0 w 10000"/>
                  <a:gd name="connsiteY2" fmla="*/ 6433 h 11053"/>
                  <a:gd name="connsiteX3" fmla="*/ 1948 w 10000"/>
                  <a:gd name="connsiteY3" fmla="*/ 11032 h 11053"/>
                  <a:gd name="connsiteX4" fmla="*/ 4641 w 10000"/>
                  <a:gd name="connsiteY4" fmla="*/ 8580 h 11053"/>
                  <a:gd name="connsiteX5" fmla="*/ 7498 w 10000"/>
                  <a:gd name="connsiteY5" fmla="*/ 8847 h 11053"/>
                  <a:gd name="connsiteX6" fmla="*/ 9579 w 10000"/>
                  <a:gd name="connsiteY6" fmla="*/ 7566 h 11053"/>
                  <a:gd name="connsiteX7" fmla="*/ 9580 w 10000"/>
                  <a:gd name="connsiteY7" fmla="*/ 3248 h 11053"/>
                  <a:gd name="connsiteX8" fmla="*/ 8340 w 10000"/>
                  <a:gd name="connsiteY8" fmla="*/ 607 h 11053"/>
                  <a:gd name="connsiteX9" fmla="*/ 4032 w 10000"/>
                  <a:gd name="connsiteY9" fmla="*/ 456 h 11053"/>
                  <a:gd name="connsiteX0" fmla="*/ 4032 w 10000"/>
                  <a:gd name="connsiteY0" fmla="*/ 456 h 11130"/>
                  <a:gd name="connsiteX1" fmla="*/ 1159 w 10000"/>
                  <a:gd name="connsiteY1" fmla="*/ 2309 h 11130"/>
                  <a:gd name="connsiteX2" fmla="*/ 0 w 10000"/>
                  <a:gd name="connsiteY2" fmla="*/ 6433 h 11130"/>
                  <a:gd name="connsiteX3" fmla="*/ 1948 w 10000"/>
                  <a:gd name="connsiteY3" fmla="*/ 11032 h 11130"/>
                  <a:gd name="connsiteX4" fmla="*/ 4641 w 10000"/>
                  <a:gd name="connsiteY4" fmla="*/ 8580 h 11130"/>
                  <a:gd name="connsiteX5" fmla="*/ 7498 w 10000"/>
                  <a:gd name="connsiteY5" fmla="*/ 8847 h 11130"/>
                  <a:gd name="connsiteX6" fmla="*/ 9579 w 10000"/>
                  <a:gd name="connsiteY6" fmla="*/ 7566 h 11130"/>
                  <a:gd name="connsiteX7" fmla="*/ 9580 w 10000"/>
                  <a:gd name="connsiteY7" fmla="*/ 3248 h 11130"/>
                  <a:gd name="connsiteX8" fmla="*/ 8340 w 10000"/>
                  <a:gd name="connsiteY8" fmla="*/ 607 h 11130"/>
                  <a:gd name="connsiteX9" fmla="*/ 4032 w 10000"/>
                  <a:gd name="connsiteY9" fmla="*/ 456 h 11130"/>
                  <a:gd name="connsiteX0" fmla="*/ 4662 w 10630"/>
                  <a:gd name="connsiteY0" fmla="*/ 456 h 11130"/>
                  <a:gd name="connsiteX1" fmla="*/ 1789 w 10630"/>
                  <a:gd name="connsiteY1" fmla="*/ 2309 h 11130"/>
                  <a:gd name="connsiteX2" fmla="*/ 630 w 10630"/>
                  <a:gd name="connsiteY2" fmla="*/ 6433 h 11130"/>
                  <a:gd name="connsiteX3" fmla="*/ 2578 w 10630"/>
                  <a:gd name="connsiteY3" fmla="*/ 11032 h 11130"/>
                  <a:gd name="connsiteX4" fmla="*/ 5271 w 10630"/>
                  <a:gd name="connsiteY4" fmla="*/ 8580 h 11130"/>
                  <a:gd name="connsiteX5" fmla="*/ 8128 w 10630"/>
                  <a:gd name="connsiteY5" fmla="*/ 8847 h 11130"/>
                  <a:gd name="connsiteX6" fmla="*/ 10209 w 10630"/>
                  <a:gd name="connsiteY6" fmla="*/ 7566 h 11130"/>
                  <a:gd name="connsiteX7" fmla="*/ 10210 w 10630"/>
                  <a:gd name="connsiteY7" fmla="*/ 3248 h 11130"/>
                  <a:gd name="connsiteX8" fmla="*/ 8970 w 10630"/>
                  <a:gd name="connsiteY8" fmla="*/ 607 h 11130"/>
                  <a:gd name="connsiteX9" fmla="*/ 4662 w 10630"/>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2836"/>
                  <a:gd name="connsiteX1" fmla="*/ 2266 w 11107"/>
                  <a:gd name="connsiteY1" fmla="*/ 2309 h 12836"/>
                  <a:gd name="connsiteX2" fmla="*/ 546 w 11107"/>
                  <a:gd name="connsiteY2" fmla="*/ 6228 h 12836"/>
                  <a:gd name="connsiteX3" fmla="*/ 3055 w 11107"/>
                  <a:gd name="connsiteY3" fmla="*/ 11032 h 12836"/>
                  <a:gd name="connsiteX4" fmla="*/ 5748 w 11107"/>
                  <a:gd name="connsiteY4" fmla="*/ 8580 h 12836"/>
                  <a:gd name="connsiteX5" fmla="*/ 8605 w 11107"/>
                  <a:gd name="connsiteY5" fmla="*/ 8847 h 12836"/>
                  <a:gd name="connsiteX6" fmla="*/ 10686 w 11107"/>
                  <a:gd name="connsiteY6" fmla="*/ 7566 h 12836"/>
                  <a:gd name="connsiteX7" fmla="*/ 10687 w 11107"/>
                  <a:gd name="connsiteY7" fmla="*/ 3248 h 12836"/>
                  <a:gd name="connsiteX8" fmla="*/ 9447 w 11107"/>
                  <a:gd name="connsiteY8" fmla="*/ 607 h 12836"/>
                  <a:gd name="connsiteX9" fmla="*/ 5139 w 11107"/>
                  <a:gd name="connsiteY9" fmla="*/ 456 h 12836"/>
                  <a:gd name="connsiteX0" fmla="*/ 5139 w 11107"/>
                  <a:gd name="connsiteY0" fmla="*/ 456 h 13188"/>
                  <a:gd name="connsiteX1" fmla="*/ 2266 w 11107"/>
                  <a:gd name="connsiteY1" fmla="*/ 2309 h 13188"/>
                  <a:gd name="connsiteX2" fmla="*/ 546 w 11107"/>
                  <a:gd name="connsiteY2" fmla="*/ 6228 h 13188"/>
                  <a:gd name="connsiteX3" fmla="*/ 3055 w 11107"/>
                  <a:gd name="connsiteY3" fmla="*/ 11032 h 13188"/>
                  <a:gd name="connsiteX4" fmla="*/ 5748 w 11107"/>
                  <a:gd name="connsiteY4" fmla="*/ 8580 h 13188"/>
                  <a:gd name="connsiteX5" fmla="*/ 8886 w 11107"/>
                  <a:gd name="connsiteY5" fmla="*/ 9792 h 13188"/>
                  <a:gd name="connsiteX6" fmla="*/ 10686 w 11107"/>
                  <a:gd name="connsiteY6" fmla="*/ 7566 h 13188"/>
                  <a:gd name="connsiteX7" fmla="*/ 10687 w 11107"/>
                  <a:gd name="connsiteY7" fmla="*/ 3248 h 13188"/>
                  <a:gd name="connsiteX8" fmla="*/ 9447 w 11107"/>
                  <a:gd name="connsiteY8" fmla="*/ 607 h 13188"/>
                  <a:gd name="connsiteX9" fmla="*/ 5139 w 11107"/>
                  <a:gd name="connsiteY9" fmla="*/ 456 h 13188"/>
                  <a:gd name="connsiteX0" fmla="*/ 5139 w 11107"/>
                  <a:gd name="connsiteY0" fmla="*/ 922 h 13654"/>
                  <a:gd name="connsiteX1" fmla="*/ 2266 w 11107"/>
                  <a:gd name="connsiteY1" fmla="*/ 2775 h 13654"/>
                  <a:gd name="connsiteX2" fmla="*/ 546 w 11107"/>
                  <a:gd name="connsiteY2" fmla="*/ 6694 h 13654"/>
                  <a:gd name="connsiteX3" fmla="*/ 3055 w 11107"/>
                  <a:gd name="connsiteY3" fmla="*/ 11498 h 13654"/>
                  <a:gd name="connsiteX4" fmla="*/ 5748 w 11107"/>
                  <a:gd name="connsiteY4" fmla="*/ 9046 h 13654"/>
                  <a:gd name="connsiteX5" fmla="*/ 8886 w 11107"/>
                  <a:gd name="connsiteY5" fmla="*/ 10258 h 13654"/>
                  <a:gd name="connsiteX6" fmla="*/ 10686 w 11107"/>
                  <a:gd name="connsiteY6" fmla="*/ 8032 h 13654"/>
                  <a:gd name="connsiteX7" fmla="*/ 10687 w 11107"/>
                  <a:gd name="connsiteY7" fmla="*/ 3714 h 13654"/>
                  <a:gd name="connsiteX8" fmla="*/ 9447 w 11107"/>
                  <a:gd name="connsiteY8" fmla="*/ 1073 h 13654"/>
                  <a:gd name="connsiteX9" fmla="*/ 5139 w 11107"/>
                  <a:gd name="connsiteY9" fmla="*/ 922 h 13654"/>
                  <a:gd name="connsiteX0" fmla="*/ 5139 w 11107"/>
                  <a:gd name="connsiteY0" fmla="*/ 1423 h 14155"/>
                  <a:gd name="connsiteX1" fmla="*/ 2266 w 11107"/>
                  <a:gd name="connsiteY1" fmla="*/ 3276 h 14155"/>
                  <a:gd name="connsiteX2" fmla="*/ 546 w 11107"/>
                  <a:gd name="connsiteY2" fmla="*/ 7195 h 14155"/>
                  <a:gd name="connsiteX3" fmla="*/ 3055 w 11107"/>
                  <a:gd name="connsiteY3" fmla="*/ 11999 h 14155"/>
                  <a:gd name="connsiteX4" fmla="*/ 5748 w 11107"/>
                  <a:gd name="connsiteY4" fmla="*/ 9547 h 14155"/>
                  <a:gd name="connsiteX5" fmla="*/ 8886 w 11107"/>
                  <a:gd name="connsiteY5" fmla="*/ 10759 h 14155"/>
                  <a:gd name="connsiteX6" fmla="*/ 10686 w 11107"/>
                  <a:gd name="connsiteY6" fmla="*/ 8533 h 14155"/>
                  <a:gd name="connsiteX7" fmla="*/ 10687 w 11107"/>
                  <a:gd name="connsiteY7" fmla="*/ 4215 h 14155"/>
                  <a:gd name="connsiteX8" fmla="*/ 9728 w 11107"/>
                  <a:gd name="connsiteY8" fmla="*/ 835 h 14155"/>
                  <a:gd name="connsiteX9" fmla="*/ 5139 w 11107"/>
                  <a:gd name="connsiteY9" fmla="*/ 1423 h 14155"/>
                  <a:gd name="connsiteX0" fmla="*/ 5139 w 12384"/>
                  <a:gd name="connsiteY0" fmla="*/ 1423 h 14155"/>
                  <a:gd name="connsiteX1" fmla="*/ 2266 w 12384"/>
                  <a:gd name="connsiteY1" fmla="*/ 3276 h 14155"/>
                  <a:gd name="connsiteX2" fmla="*/ 546 w 12384"/>
                  <a:gd name="connsiteY2" fmla="*/ 7195 h 14155"/>
                  <a:gd name="connsiteX3" fmla="*/ 3055 w 12384"/>
                  <a:gd name="connsiteY3" fmla="*/ 11999 h 14155"/>
                  <a:gd name="connsiteX4" fmla="*/ 5748 w 12384"/>
                  <a:gd name="connsiteY4" fmla="*/ 9547 h 14155"/>
                  <a:gd name="connsiteX5" fmla="*/ 8886 w 12384"/>
                  <a:gd name="connsiteY5" fmla="*/ 10759 h 14155"/>
                  <a:gd name="connsiteX6" fmla="*/ 10686 w 12384"/>
                  <a:gd name="connsiteY6" fmla="*/ 8533 h 14155"/>
                  <a:gd name="connsiteX7" fmla="*/ 12184 w 12384"/>
                  <a:gd name="connsiteY7" fmla="*/ 3927 h 14155"/>
                  <a:gd name="connsiteX8" fmla="*/ 9728 w 12384"/>
                  <a:gd name="connsiteY8" fmla="*/ 835 h 14155"/>
                  <a:gd name="connsiteX9" fmla="*/ 5139 w 12384"/>
                  <a:gd name="connsiteY9" fmla="*/ 1423 h 14155"/>
                  <a:gd name="connsiteX0" fmla="*/ 5139 w 12562"/>
                  <a:gd name="connsiteY0" fmla="*/ 1423 h 14155"/>
                  <a:gd name="connsiteX1" fmla="*/ 2266 w 12562"/>
                  <a:gd name="connsiteY1" fmla="*/ 3276 h 14155"/>
                  <a:gd name="connsiteX2" fmla="*/ 546 w 12562"/>
                  <a:gd name="connsiteY2" fmla="*/ 7195 h 14155"/>
                  <a:gd name="connsiteX3" fmla="*/ 3055 w 12562"/>
                  <a:gd name="connsiteY3" fmla="*/ 11999 h 14155"/>
                  <a:gd name="connsiteX4" fmla="*/ 5748 w 12562"/>
                  <a:gd name="connsiteY4" fmla="*/ 9547 h 14155"/>
                  <a:gd name="connsiteX5" fmla="*/ 8886 w 12562"/>
                  <a:gd name="connsiteY5" fmla="*/ 10759 h 14155"/>
                  <a:gd name="connsiteX6" fmla="*/ 12027 w 12562"/>
                  <a:gd name="connsiteY6" fmla="*/ 8163 h 14155"/>
                  <a:gd name="connsiteX7" fmla="*/ 12184 w 12562"/>
                  <a:gd name="connsiteY7" fmla="*/ 3927 h 14155"/>
                  <a:gd name="connsiteX8" fmla="*/ 9728 w 12562"/>
                  <a:gd name="connsiteY8" fmla="*/ 835 h 14155"/>
                  <a:gd name="connsiteX9" fmla="*/ 5139 w 12562"/>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53"/>
                  <a:gd name="connsiteY0" fmla="*/ 1423 h 14155"/>
                  <a:gd name="connsiteX1" fmla="*/ 2266 w 14753"/>
                  <a:gd name="connsiteY1" fmla="*/ 3276 h 14155"/>
                  <a:gd name="connsiteX2" fmla="*/ 546 w 14753"/>
                  <a:gd name="connsiteY2" fmla="*/ 7195 h 14155"/>
                  <a:gd name="connsiteX3" fmla="*/ 3055 w 14753"/>
                  <a:gd name="connsiteY3" fmla="*/ 11999 h 14155"/>
                  <a:gd name="connsiteX4" fmla="*/ 5748 w 14753"/>
                  <a:gd name="connsiteY4" fmla="*/ 9547 h 14155"/>
                  <a:gd name="connsiteX5" fmla="*/ 8886 w 14753"/>
                  <a:gd name="connsiteY5" fmla="*/ 10759 h 14155"/>
                  <a:gd name="connsiteX6" fmla="*/ 11965 w 14753"/>
                  <a:gd name="connsiteY6" fmla="*/ 8779 h 14155"/>
                  <a:gd name="connsiteX7" fmla="*/ 12184 w 14753"/>
                  <a:gd name="connsiteY7" fmla="*/ 3927 h 14155"/>
                  <a:gd name="connsiteX8" fmla="*/ 9728 w 14753"/>
                  <a:gd name="connsiteY8" fmla="*/ 835 h 14155"/>
                  <a:gd name="connsiteX9" fmla="*/ 5139 w 14753"/>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661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69"/>
                  <a:gd name="connsiteX1" fmla="*/ 2697 w 16991"/>
                  <a:gd name="connsiteY1" fmla="*/ 3276 h 14169"/>
                  <a:gd name="connsiteX2" fmla="*/ 1039 w 16991"/>
                  <a:gd name="connsiteY2" fmla="*/ 6661 h 14169"/>
                  <a:gd name="connsiteX3" fmla="*/ 2831 w 16991"/>
                  <a:gd name="connsiteY3" fmla="*/ 11547 h 14169"/>
                  <a:gd name="connsiteX4" fmla="*/ 6179 w 16991"/>
                  <a:gd name="connsiteY4" fmla="*/ 9547 h 14169"/>
                  <a:gd name="connsiteX5" fmla="*/ 9317 w 16991"/>
                  <a:gd name="connsiteY5" fmla="*/ 10759 h 14169"/>
                  <a:gd name="connsiteX6" fmla="*/ 12396 w 16991"/>
                  <a:gd name="connsiteY6" fmla="*/ 8779 h 14169"/>
                  <a:gd name="connsiteX7" fmla="*/ 12615 w 16991"/>
                  <a:gd name="connsiteY7" fmla="*/ 3927 h 14169"/>
                  <a:gd name="connsiteX8" fmla="*/ 10159 w 16991"/>
                  <a:gd name="connsiteY8" fmla="*/ 835 h 14169"/>
                  <a:gd name="connsiteX9" fmla="*/ 5570 w 16991"/>
                  <a:gd name="connsiteY9" fmla="*/ 1423 h 14169"/>
                  <a:gd name="connsiteX0" fmla="*/ 5570 w 16991"/>
                  <a:gd name="connsiteY0" fmla="*/ 1423 h 14319"/>
                  <a:gd name="connsiteX1" fmla="*/ 2697 w 16991"/>
                  <a:gd name="connsiteY1" fmla="*/ 3276 h 14319"/>
                  <a:gd name="connsiteX2" fmla="*/ 1039 w 16991"/>
                  <a:gd name="connsiteY2" fmla="*/ 6661 h 14319"/>
                  <a:gd name="connsiteX3" fmla="*/ 2831 w 16991"/>
                  <a:gd name="connsiteY3" fmla="*/ 11547 h 14319"/>
                  <a:gd name="connsiteX4" fmla="*/ 6241 w 16991"/>
                  <a:gd name="connsiteY4" fmla="*/ 10204 h 14319"/>
                  <a:gd name="connsiteX5" fmla="*/ 9317 w 16991"/>
                  <a:gd name="connsiteY5" fmla="*/ 10759 h 14319"/>
                  <a:gd name="connsiteX6" fmla="*/ 12396 w 16991"/>
                  <a:gd name="connsiteY6" fmla="*/ 8779 h 14319"/>
                  <a:gd name="connsiteX7" fmla="*/ 12615 w 16991"/>
                  <a:gd name="connsiteY7" fmla="*/ 3927 h 14319"/>
                  <a:gd name="connsiteX8" fmla="*/ 10159 w 16991"/>
                  <a:gd name="connsiteY8" fmla="*/ 835 h 14319"/>
                  <a:gd name="connsiteX9" fmla="*/ 5570 w 16991"/>
                  <a:gd name="connsiteY9" fmla="*/ 1423 h 14319"/>
                  <a:gd name="connsiteX0" fmla="*/ 5570 w 16991"/>
                  <a:gd name="connsiteY0" fmla="*/ 1423 h 14440"/>
                  <a:gd name="connsiteX1" fmla="*/ 2697 w 16991"/>
                  <a:gd name="connsiteY1" fmla="*/ 3276 h 14440"/>
                  <a:gd name="connsiteX2" fmla="*/ 1039 w 16991"/>
                  <a:gd name="connsiteY2" fmla="*/ 6661 h 14440"/>
                  <a:gd name="connsiteX3" fmla="*/ 2831 w 16991"/>
                  <a:gd name="connsiteY3" fmla="*/ 11547 h 14440"/>
                  <a:gd name="connsiteX4" fmla="*/ 6241 w 16991"/>
                  <a:gd name="connsiteY4" fmla="*/ 10204 h 14440"/>
                  <a:gd name="connsiteX5" fmla="*/ 9317 w 16991"/>
                  <a:gd name="connsiteY5" fmla="*/ 10759 h 14440"/>
                  <a:gd name="connsiteX6" fmla="*/ 12396 w 16991"/>
                  <a:gd name="connsiteY6" fmla="*/ 8779 h 14440"/>
                  <a:gd name="connsiteX7" fmla="*/ 12615 w 16991"/>
                  <a:gd name="connsiteY7" fmla="*/ 3927 h 14440"/>
                  <a:gd name="connsiteX8" fmla="*/ 10159 w 16991"/>
                  <a:gd name="connsiteY8" fmla="*/ 835 h 14440"/>
                  <a:gd name="connsiteX9" fmla="*/ 5570 w 16991"/>
                  <a:gd name="connsiteY9" fmla="*/ 1423 h 14440"/>
                  <a:gd name="connsiteX0" fmla="*/ 5570 w 16991"/>
                  <a:gd name="connsiteY0" fmla="*/ 1423 h 14549"/>
                  <a:gd name="connsiteX1" fmla="*/ 2697 w 16991"/>
                  <a:gd name="connsiteY1" fmla="*/ 3276 h 14549"/>
                  <a:gd name="connsiteX2" fmla="*/ 1039 w 16991"/>
                  <a:gd name="connsiteY2" fmla="*/ 6661 h 14549"/>
                  <a:gd name="connsiteX3" fmla="*/ 2831 w 16991"/>
                  <a:gd name="connsiteY3" fmla="*/ 11547 h 14549"/>
                  <a:gd name="connsiteX4" fmla="*/ 6241 w 16991"/>
                  <a:gd name="connsiteY4" fmla="*/ 10204 h 14549"/>
                  <a:gd name="connsiteX5" fmla="*/ 9317 w 16991"/>
                  <a:gd name="connsiteY5" fmla="*/ 10759 h 14549"/>
                  <a:gd name="connsiteX6" fmla="*/ 12396 w 16991"/>
                  <a:gd name="connsiteY6" fmla="*/ 8779 h 14549"/>
                  <a:gd name="connsiteX7" fmla="*/ 12615 w 16991"/>
                  <a:gd name="connsiteY7" fmla="*/ 3927 h 14549"/>
                  <a:gd name="connsiteX8" fmla="*/ 10159 w 16991"/>
                  <a:gd name="connsiteY8" fmla="*/ 835 h 14549"/>
                  <a:gd name="connsiteX9" fmla="*/ 5570 w 16991"/>
                  <a:gd name="connsiteY9" fmla="*/ 1423 h 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991" h="14549">
                    <a:moveTo>
                      <a:pt x="5570" y="1423"/>
                    </a:moveTo>
                    <a:cubicBezTo>
                      <a:pt x="5570" y="1423"/>
                      <a:pt x="3130" y="3084"/>
                      <a:pt x="2697" y="3276"/>
                    </a:cubicBezTo>
                    <a:cubicBezTo>
                      <a:pt x="2116" y="3276"/>
                      <a:pt x="-1842" y="6053"/>
                      <a:pt x="1039" y="6661"/>
                    </a:cubicBezTo>
                    <a:cubicBezTo>
                      <a:pt x="7088" y="4584"/>
                      <a:pt x="1964" y="10957"/>
                      <a:pt x="2831" y="11547"/>
                    </a:cubicBezTo>
                    <a:cubicBezTo>
                      <a:pt x="3698" y="12137"/>
                      <a:pt x="5378" y="9267"/>
                      <a:pt x="6241" y="10204"/>
                    </a:cubicBezTo>
                    <a:cubicBezTo>
                      <a:pt x="7104" y="11141"/>
                      <a:pt x="8518" y="19143"/>
                      <a:pt x="9317" y="10759"/>
                    </a:cubicBezTo>
                    <a:cubicBezTo>
                      <a:pt x="9836" y="7618"/>
                      <a:pt x="10455" y="8698"/>
                      <a:pt x="12396" y="8779"/>
                    </a:cubicBezTo>
                    <a:cubicBezTo>
                      <a:pt x="22146" y="14045"/>
                      <a:pt x="13484" y="5276"/>
                      <a:pt x="12615" y="3927"/>
                    </a:cubicBezTo>
                    <a:cubicBezTo>
                      <a:pt x="11601" y="2772"/>
                      <a:pt x="11853" y="1347"/>
                      <a:pt x="10159" y="835"/>
                    </a:cubicBezTo>
                    <a:cubicBezTo>
                      <a:pt x="8883" y="-1003"/>
                      <a:pt x="5715" y="652"/>
                      <a:pt x="5570" y="1423"/>
                    </a:cubicBezTo>
                    <a:close/>
                  </a:path>
                </a:pathLst>
              </a:custGeom>
              <a:solidFill>
                <a:srgbClr val="FFC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34" name="Oval 284">
                <a:extLst>
                  <a:ext uri="{FF2B5EF4-FFF2-40B4-BE49-F238E27FC236}">
                    <a16:creationId xmlns:a16="http://schemas.microsoft.com/office/drawing/2014/main" id="{93DAB86F-2ABA-4264-9ED1-C73E38BB2ABF}"/>
                  </a:ext>
                </a:extLst>
              </p:cNvPr>
              <p:cNvSpPr>
                <a:spLocks noChangeArrowheads="1"/>
              </p:cNvSpPr>
              <p:nvPr/>
            </p:nvSpPr>
            <p:spPr bwMode="auto">
              <a:xfrm rot="15772157">
                <a:off x="8188752" y="2258212"/>
                <a:ext cx="63039" cy="160334"/>
              </a:xfrm>
              <a:prstGeom prst="ellipse">
                <a:avLst/>
              </a:prstGeom>
              <a:solidFill>
                <a:srgbClr val="E2A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23" name="Group 22">
              <a:extLst>
                <a:ext uri="{FF2B5EF4-FFF2-40B4-BE49-F238E27FC236}">
                  <a16:creationId xmlns:a16="http://schemas.microsoft.com/office/drawing/2014/main" id="{24DE53C8-E042-4FDC-911F-0D83AA946FA0}"/>
                </a:ext>
              </a:extLst>
            </p:cNvPr>
            <p:cNvGrpSpPr/>
            <p:nvPr/>
          </p:nvGrpSpPr>
          <p:grpSpPr>
            <a:xfrm>
              <a:off x="4249608" y="3469360"/>
              <a:ext cx="483947" cy="479296"/>
              <a:chOff x="5291138" y="5000625"/>
              <a:chExt cx="165100" cy="163513"/>
            </a:xfrm>
          </p:grpSpPr>
          <p:sp>
            <p:nvSpPr>
              <p:cNvPr id="231" name="Freeform 283">
                <a:extLst>
                  <a:ext uri="{FF2B5EF4-FFF2-40B4-BE49-F238E27FC236}">
                    <a16:creationId xmlns:a16="http://schemas.microsoft.com/office/drawing/2014/main" id="{8484AD31-0A52-447A-8E26-2A078B31FF4C}"/>
                  </a:ext>
                </a:extLst>
              </p:cNvPr>
              <p:cNvSpPr>
                <a:spLocks/>
              </p:cNvSpPr>
              <p:nvPr/>
            </p:nvSpPr>
            <p:spPr bwMode="auto">
              <a:xfrm>
                <a:off x="5291138" y="5000625"/>
                <a:ext cx="165100" cy="163513"/>
              </a:xfrm>
              <a:custGeom>
                <a:avLst/>
                <a:gdLst>
                  <a:gd name="T0" fmla="*/ 26 w 52"/>
                  <a:gd name="T1" fmla="*/ 4 h 51"/>
                  <a:gd name="T2" fmla="*/ 18 w 52"/>
                  <a:gd name="T3" fmla="*/ 10 h 51"/>
                  <a:gd name="T4" fmla="*/ 10 w 52"/>
                  <a:gd name="T5" fmla="*/ 12 h 51"/>
                  <a:gd name="T6" fmla="*/ 3 w 52"/>
                  <a:gd name="T7" fmla="*/ 25 h 51"/>
                  <a:gd name="T8" fmla="*/ 16 w 52"/>
                  <a:gd name="T9" fmla="*/ 37 h 51"/>
                  <a:gd name="T10" fmla="*/ 34 w 52"/>
                  <a:gd name="T11" fmla="*/ 45 h 51"/>
                  <a:gd name="T12" fmla="*/ 46 w 52"/>
                  <a:gd name="T13" fmla="*/ 36 h 51"/>
                  <a:gd name="T14" fmla="*/ 46 w 52"/>
                  <a:gd name="T15" fmla="*/ 17 h 51"/>
                  <a:gd name="T16" fmla="*/ 34 w 52"/>
                  <a:gd name="T17" fmla="*/ 5 h 51"/>
                  <a:gd name="T18" fmla="*/ 26 w 52"/>
                  <a:gd name="T19"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1">
                    <a:moveTo>
                      <a:pt x="26" y="4"/>
                    </a:moveTo>
                    <a:cubicBezTo>
                      <a:pt x="26" y="4"/>
                      <a:pt x="21" y="9"/>
                      <a:pt x="18" y="10"/>
                    </a:cubicBezTo>
                    <a:cubicBezTo>
                      <a:pt x="14" y="10"/>
                      <a:pt x="11" y="8"/>
                      <a:pt x="10" y="12"/>
                    </a:cubicBezTo>
                    <a:cubicBezTo>
                      <a:pt x="10" y="17"/>
                      <a:pt x="0" y="15"/>
                      <a:pt x="3" y="25"/>
                    </a:cubicBezTo>
                    <a:cubicBezTo>
                      <a:pt x="6" y="35"/>
                      <a:pt x="11" y="29"/>
                      <a:pt x="16" y="37"/>
                    </a:cubicBezTo>
                    <a:cubicBezTo>
                      <a:pt x="21" y="45"/>
                      <a:pt x="33" y="51"/>
                      <a:pt x="34" y="45"/>
                    </a:cubicBezTo>
                    <a:cubicBezTo>
                      <a:pt x="35" y="40"/>
                      <a:pt x="44" y="39"/>
                      <a:pt x="46" y="36"/>
                    </a:cubicBezTo>
                    <a:cubicBezTo>
                      <a:pt x="47" y="32"/>
                      <a:pt x="52" y="24"/>
                      <a:pt x="46" y="17"/>
                    </a:cubicBezTo>
                    <a:cubicBezTo>
                      <a:pt x="39" y="11"/>
                      <a:pt x="36" y="10"/>
                      <a:pt x="34" y="5"/>
                    </a:cubicBezTo>
                    <a:cubicBezTo>
                      <a:pt x="31" y="1"/>
                      <a:pt x="27" y="0"/>
                      <a:pt x="26" y="4"/>
                    </a:cubicBezTo>
                    <a:close/>
                  </a:path>
                </a:pathLst>
              </a:custGeom>
              <a:solidFill>
                <a:srgbClr val="ABC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32" name="Oval 284">
                <a:extLst>
                  <a:ext uri="{FF2B5EF4-FFF2-40B4-BE49-F238E27FC236}">
                    <a16:creationId xmlns:a16="http://schemas.microsoft.com/office/drawing/2014/main" id="{884011E0-65FC-4C2E-91B9-CF9177657390}"/>
                  </a:ext>
                </a:extLst>
              </p:cNvPr>
              <p:cNvSpPr>
                <a:spLocks noChangeArrowheads="1"/>
              </p:cNvSpPr>
              <p:nvPr/>
            </p:nvSpPr>
            <p:spPr bwMode="auto">
              <a:xfrm>
                <a:off x="5357813" y="5048250"/>
                <a:ext cx="76200" cy="73025"/>
              </a:xfrm>
              <a:prstGeom prst="ellipse">
                <a:avLst/>
              </a:prstGeom>
              <a:solidFill>
                <a:srgbClr val="759C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24" name="Group 23">
              <a:extLst>
                <a:ext uri="{FF2B5EF4-FFF2-40B4-BE49-F238E27FC236}">
                  <a16:creationId xmlns:a16="http://schemas.microsoft.com/office/drawing/2014/main" id="{832A4E73-A27C-4381-907D-83CD650536A6}"/>
                </a:ext>
              </a:extLst>
            </p:cNvPr>
            <p:cNvGrpSpPr/>
            <p:nvPr/>
          </p:nvGrpSpPr>
          <p:grpSpPr>
            <a:xfrm rot="7443783">
              <a:off x="5135856" y="2229372"/>
              <a:ext cx="483947" cy="479296"/>
              <a:chOff x="5291138" y="5000625"/>
              <a:chExt cx="165100" cy="163513"/>
            </a:xfrm>
          </p:grpSpPr>
          <p:sp>
            <p:nvSpPr>
              <p:cNvPr id="229" name="Freeform 283">
                <a:extLst>
                  <a:ext uri="{FF2B5EF4-FFF2-40B4-BE49-F238E27FC236}">
                    <a16:creationId xmlns:a16="http://schemas.microsoft.com/office/drawing/2014/main" id="{A8B227B4-7679-4CC1-AB08-85D1DC4D342B}"/>
                  </a:ext>
                </a:extLst>
              </p:cNvPr>
              <p:cNvSpPr>
                <a:spLocks/>
              </p:cNvSpPr>
              <p:nvPr/>
            </p:nvSpPr>
            <p:spPr bwMode="auto">
              <a:xfrm>
                <a:off x="5291138" y="5000625"/>
                <a:ext cx="165100" cy="163513"/>
              </a:xfrm>
              <a:custGeom>
                <a:avLst/>
                <a:gdLst>
                  <a:gd name="T0" fmla="*/ 26 w 52"/>
                  <a:gd name="T1" fmla="*/ 4 h 51"/>
                  <a:gd name="T2" fmla="*/ 18 w 52"/>
                  <a:gd name="T3" fmla="*/ 10 h 51"/>
                  <a:gd name="T4" fmla="*/ 10 w 52"/>
                  <a:gd name="T5" fmla="*/ 12 h 51"/>
                  <a:gd name="T6" fmla="*/ 3 w 52"/>
                  <a:gd name="T7" fmla="*/ 25 h 51"/>
                  <a:gd name="T8" fmla="*/ 16 w 52"/>
                  <a:gd name="T9" fmla="*/ 37 h 51"/>
                  <a:gd name="T10" fmla="*/ 34 w 52"/>
                  <a:gd name="T11" fmla="*/ 45 h 51"/>
                  <a:gd name="T12" fmla="*/ 46 w 52"/>
                  <a:gd name="T13" fmla="*/ 36 h 51"/>
                  <a:gd name="T14" fmla="*/ 46 w 52"/>
                  <a:gd name="T15" fmla="*/ 17 h 51"/>
                  <a:gd name="T16" fmla="*/ 34 w 52"/>
                  <a:gd name="T17" fmla="*/ 5 h 51"/>
                  <a:gd name="T18" fmla="*/ 26 w 52"/>
                  <a:gd name="T19"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1">
                    <a:moveTo>
                      <a:pt x="26" y="4"/>
                    </a:moveTo>
                    <a:cubicBezTo>
                      <a:pt x="26" y="4"/>
                      <a:pt x="21" y="9"/>
                      <a:pt x="18" y="10"/>
                    </a:cubicBezTo>
                    <a:cubicBezTo>
                      <a:pt x="14" y="10"/>
                      <a:pt x="11" y="8"/>
                      <a:pt x="10" y="12"/>
                    </a:cubicBezTo>
                    <a:cubicBezTo>
                      <a:pt x="10" y="17"/>
                      <a:pt x="0" y="15"/>
                      <a:pt x="3" y="25"/>
                    </a:cubicBezTo>
                    <a:cubicBezTo>
                      <a:pt x="6" y="35"/>
                      <a:pt x="11" y="29"/>
                      <a:pt x="16" y="37"/>
                    </a:cubicBezTo>
                    <a:cubicBezTo>
                      <a:pt x="21" y="45"/>
                      <a:pt x="33" y="51"/>
                      <a:pt x="34" y="45"/>
                    </a:cubicBezTo>
                    <a:cubicBezTo>
                      <a:pt x="35" y="40"/>
                      <a:pt x="44" y="39"/>
                      <a:pt x="46" y="36"/>
                    </a:cubicBezTo>
                    <a:cubicBezTo>
                      <a:pt x="47" y="32"/>
                      <a:pt x="52" y="24"/>
                      <a:pt x="46" y="17"/>
                    </a:cubicBezTo>
                    <a:cubicBezTo>
                      <a:pt x="39" y="11"/>
                      <a:pt x="36" y="10"/>
                      <a:pt x="34" y="5"/>
                    </a:cubicBezTo>
                    <a:cubicBezTo>
                      <a:pt x="31" y="1"/>
                      <a:pt x="27" y="0"/>
                      <a:pt x="26" y="4"/>
                    </a:cubicBezTo>
                    <a:close/>
                  </a:path>
                </a:pathLst>
              </a:custGeom>
              <a:solidFill>
                <a:srgbClr val="ABC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30" name="Oval 284">
                <a:extLst>
                  <a:ext uri="{FF2B5EF4-FFF2-40B4-BE49-F238E27FC236}">
                    <a16:creationId xmlns:a16="http://schemas.microsoft.com/office/drawing/2014/main" id="{00C67B62-56D9-4584-9901-F1BCFE1171A6}"/>
                  </a:ext>
                </a:extLst>
              </p:cNvPr>
              <p:cNvSpPr>
                <a:spLocks noChangeArrowheads="1"/>
              </p:cNvSpPr>
              <p:nvPr/>
            </p:nvSpPr>
            <p:spPr bwMode="auto">
              <a:xfrm>
                <a:off x="5357813" y="5048250"/>
                <a:ext cx="76200" cy="73025"/>
              </a:xfrm>
              <a:prstGeom prst="ellipse">
                <a:avLst/>
              </a:prstGeom>
              <a:solidFill>
                <a:srgbClr val="759C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25" name="Group 24">
              <a:extLst>
                <a:ext uri="{FF2B5EF4-FFF2-40B4-BE49-F238E27FC236}">
                  <a16:creationId xmlns:a16="http://schemas.microsoft.com/office/drawing/2014/main" id="{694905E7-FCD7-48B1-AD1A-4A45B4D4FAC4}"/>
                </a:ext>
              </a:extLst>
            </p:cNvPr>
            <p:cNvGrpSpPr/>
            <p:nvPr/>
          </p:nvGrpSpPr>
          <p:grpSpPr>
            <a:xfrm rot="7443783">
              <a:off x="6887270" y="4285605"/>
              <a:ext cx="483947" cy="479296"/>
              <a:chOff x="5291138" y="5000625"/>
              <a:chExt cx="165100" cy="163513"/>
            </a:xfrm>
          </p:grpSpPr>
          <p:sp>
            <p:nvSpPr>
              <p:cNvPr id="227" name="Freeform 283">
                <a:extLst>
                  <a:ext uri="{FF2B5EF4-FFF2-40B4-BE49-F238E27FC236}">
                    <a16:creationId xmlns:a16="http://schemas.microsoft.com/office/drawing/2014/main" id="{9186E73C-B83C-440B-AEE6-1A29355A762A}"/>
                  </a:ext>
                </a:extLst>
              </p:cNvPr>
              <p:cNvSpPr>
                <a:spLocks/>
              </p:cNvSpPr>
              <p:nvPr/>
            </p:nvSpPr>
            <p:spPr bwMode="auto">
              <a:xfrm>
                <a:off x="5291138" y="5000625"/>
                <a:ext cx="165100" cy="163513"/>
              </a:xfrm>
              <a:custGeom>
                <a:avLst/>
                <a:gdLst>
                  <a:gd name="T0" fmla="*/ 26 w 52"/>
                  <a:gd name="T1" fmla="*/ 4 h 51"/>
                  <a:gd name="T2" fmla="*/ 18 w 52"/>
                  <a:gd name="T3" fmla="*/ 10 h 51"/>
                  <a:gd name="T4" fmla="*/ 10 w 52"/>
                  <a:gd name="T5" fmla="*/ 12 h 51"/>
                  <a:gd name="T6" fmla="*/ 3 w 52"/>
                  <a:gd name="T7" fmla="*/ 25 h 51"/>
                  <a:gd name="T8" fmla="*/ 16 w 52"/>
                  <a:gd name="T9" fmla="*/ 37 h 51"/>
                  <a:gd name="T10" fmla="*/ 34 w 52"/>
                  <a:gd name="T11" fmla="*/ 45 h 51"/>
                  <a:gd name="T12" fmla="*/ 46 w 52"/>
                  <a:gd name="T13" fmla="*/ 36 h 51"/>
                  <a:gd name="T14" fmla="*/ 46 w 52"/>
                  <a:gd name="T15" fmla="*/ 17 h 51"/>
                  <a:gd name="T16" fmla="*/ 34 w 52"/>
                  <a:gd name="T17" fmla="*/ 5 h 51"/>
                  <a:gd name="T18" fmla="*/ 26 w 52"/>
                  <a:gd name="T19"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1">
                    <a:moveTo>
                      <a:pt x="26" y="4"/>
                    </a:moveTo>
                    <a:cubicBezTo>
                      <a:pt x="26" y="4"/>
                      <a:pt x="21" y="9"/>
                      <a:pt x="18" y="10"/>
                    </a:cubicBezTo>
                    <a:cubicBezTo>
                      <a:pt x="14" y="10"/>
                      <a:pt x="11" y="8"/>
                      <a:pt x="10" y="12"/>
                    </a:cubicBezTo>
                    <a:cubicBezTo>
                      <a:pt x="10" y="17"/>
                      <a:pt x="0" y="15"/>
                      <a:pt x="3" y="25"/>
                    </a:cubicBezTo>
                    <a:cubicBezTo>
                      <a:pt x="6" y="35"/>
                      <a:pt x="11" y="29"/>
                      <a:pt x="16" y="37"/>
                    </a:cubicBezTo>
                    <a:cubicBezTo>
                      <a:pt x="21" y="45"/>
                      <a:pt x="33" y="51"/>
                      <a:pt x="34" y="45"/>
                    </a:cubicBezTo>
                    <a:cubicBezTo>
                      <a:pt x="35" y="40"/>
                      <a:pt x="44" y="39"/>
                      <a:pt x="46" y="36"/>
                    </a:cubicBezTo>
                    <a:cubicBezTo>
                      <a:pt x="47" y="32"/>
                      <a:pt x="52" y="24"/>
                      <a:pt x="46" y="17"/>
                    </a:cubicBezTo>
                    <a:cubicBezTo>
                      <a:pt x="39" y="11"/>
                      <a:pt x="36" y="10"/>
                      <a:pt x="34" y="5"/>
                    </a:cubicBezTo>
                    <a:cubicBezTo>
                      <a:pt x="31" y="1"/>
                      <a:pt x="27" y="0"/>
                      <a:pt x="26" y="4"/>
                    </a:cubicBezTo>
                    <a:close/>
                  </a:path>
                </a:pathLst>
              </a:custGeom>
              <a:solidFill>
                <a:srgbClr val="ABC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28" name="Oval 284">
                <a:extLst>
                  <a:ext uri="{FF2B5EF4-FFF2-40B4-BE49-F238E27FC236}">
                    <a16:creationId xmlns:a16="http://schemas.microsoft.com/office/drawing/2014/main" id="{BBFC7ED0-9438-4D5E-95A5-47A1C2A17C49}"/>
                  </a:ext>
                </a:extLst>
              </p:cNvPr>
              <p:cNvSpPr>
                <a:spLocks noChangeArrowheads="1"/>
              </p:cNvSpPr>
              <p:nvPr/>
            </p:nvSpPr>
            <p:spPr bwMode="auto">
              <a:xfrm>
                <a:off x="5357813" y="5048250"/>
                <a:ext cx="76200" cy="73025"/>
              </a:xfrm>
              <a:prstGeom prst="ellipse">
                <a:avLst/>
              </a:prstGeom>
              <a:solidFill>
                <a:srgbClr val="759C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26" name="Group 25">
              <a:extLst>
                <a:ext uri="{FF2B5EF4-FFF2-40B4-BE49-F238E27FC236}">
                  <a16:creationId xmlns:a16="http://schemas.microsoft.com/office/drawing/2014/main" id="{8BA84C7B-FC1C-4C28-AE39-33B012650E11}"/>
                </a:ext>
              </a:extLst>
            </p:cNvPr>
            <p:cNvGrpSpPr/>
            <p:nvPr/>
          </p:nvGrpSpPr>
          <p:grpSpPr>
            <a:xfrm rot="1101021">
              <a:off x="5721315" y="2610827"/>
              <a:ext cx="394605" cy="519232"/>
              <a:chOff x="3438781" y="1619441"/>
              <a:chExt cx="525219" cy="519232"/>
            </a:xfrm>
          </p:grpSpPr>
          <p:sp>
            <p:nvSpPr>
              <p:cNvPr id="225" name="Freeform 117">
                <a:extLst>
                  <a:ext uri="{FF2B5EF4-FFF2-40B4-BE49-F238E27FC236}">
                    <a16:creationId xmlns:a16="http://schemas.microsoft.com/office/drawing/2014/main" id="{894695AC-A6FA-4B4D-ACB0-6DA53732B51A}"/>
                  </a:ext>
                </a:extLst>
              </p:cNvPr>
              <p:cNvSpPr>
                <a:spLocks/>
              </p:cNvSpPr>
              <p:nvPr/>
            </p:nvSpPr>
            <p:spPr bwMode="auto">
              <a:xfrm rot="18629394">
                <a:off x="3441775" y="1616447"/>
                <a:ext cx="519232" cy="525219"/>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26" name="Freeform 118">
                <a:extLst>
                  <a:ext uri="{FF2B5EF4-FFF2-40B4-BE49-F238E27FC236}">
                    <a16:creationId xmlns:a16="http://schemas.microsoft.com/office/drawing/2014/main" id="{70AEAAA0-B103-45F4-90B3-2AA998DEA1BC}"/>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27" name="Group 26">
              <a:extLst>
                <a:ext uri="{FF2B5EF4-FFF2-40B4-BE49-F238E27FC236}">
                  <a16:creationId xmlns:a16="http://schemas.microsoft.com/office/drawing/2014/main" id="{F7E250FC-6050-4F6F-A43C-82CA9EC5C564}"/>
                </a:ext>
              </a:extLst>
            </p:cNvPr>
            <p:cNvGrpSpPr/>
            <p:nvPr/>
          </p:nvGrpSpPr>
          <p:grpSpPr>
            <a:xfrm rot="2768054">
              <a:off x="6231918" y="2730216"/>
              <a:ext cx="394605" cy="572518"/>
              <a:chOff x="3438781" y="1619441"/>
              <a:chExt cx="525219" cy="519232"/>
            </a:xfrm>
          </p:grpSpPr>
          <p:sp>
            <p:nvSpPr>
              <p:cNvPr id="223" name="Freeform 117">
                <a:extLst>
                  <a:ext uri="{FF2B5EF4-FFF2-40B4-BE49-F238E27FC236}">
                    <a16:creationId xmlns:a16="http://schemas.microsoft.com/office/drawing/2014/main" id="{DAE4DD3E-1329-4AFF-9998-4AC2DD9F2E93}"/>
                  </a:ext>
                </a:extLst>
              </p:cNvPr>
              <p:cNvSpPr>
                <a:spLocks/>
              </p:cNvSpPr>
              <p:nvPr/>
            </p:nvSpPr>
            <p:spPr bwMode="auto">
              <a:xfrm rot="18629394">
                <a:off x="3441775" y="1616447"/>
                <a:ext cx="519232" cy="525219"/>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24" name="Freeform 118">
                <a:extLst>
                  <a:ext uri="{FF2B5EF4-FFF2-40B4-BE49-F238E27FC236}">
                    <a16:creationId xmlns:a16="http://schemas.microsoft.com/office/drawing/2014/main" id="{F19EEF31-D4C6-4CE7-976B-A258AE6EE4A8}"/>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28" name="Group 27">
              <a:extLst>
                <a:ext uri="{FF2B5EF4-FFF2-40B4-BE49-F238E27FC236}">
                  <a16:creationId xmlns:a16="http://schemas.microsoft.com/office/drawing/2014/main" id="{FEEF85D6-34F1-4774-8D7C-B820B282ADA5}"/>
                </a:ext>
              </a:extLst>
            </p:cNvPr>
            <p:cNvGrpSpPr/>
            <p:nvPr/>
          </p:nvGrpSpPr>
          <p:grpSpPr>
            <a:xfrm rot="4795592">
              <a:off x="6582874" y="3092750"/>
              <a:ext cx="365427" cy="514485"/>
              <a:chOff x="3438781" y="1619441"/>
              <a:chExt cx="525219" cy="519232"/>
            </a:xfrm>
          </p:grpSpPr>
          <p:sp>
            <p:nvSpPr>
              <p:cNvPr id="221" name="Freeform 117">
                <a:extLst>
                  <a:ext uri="{FF2B5EF4-FFF2-40B4-BE49-F238E27FC236}">
                    <a16:creationId xmlns:a16="http://schemas.microsoft.com/office/drawing/2014/main" id="{8A3D7E7A-7C8F-4ACB-84DD-E95F7545D67C}"/>
                  </a:ext>
                </a:extLst>
              </p:cNvPr>
              <p:cNvSpPr>
                <a:spLocks/>
              </p:cNvSpPr>
              <p:nvPr/>
            </p:nvSpPr>
            <p:spPr bwMode="auto">
              <a:xfrm rot="18629394">
                <a:off x="3441775" y="1616447"/>
                <a:ext cx="519232" cy="525219"/>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22" name="Freeform 118">
                <a:extLst>
                  <a:ext uri="{FF2B5EF4-FFF2-40B4-BE49-F238E27FC236}">
                    <a16:creationId xmlns:a16="http://schemas.microsoft.com/office/drawing/2014/main" id="{1D3918F4-7141-438B-B0CB-19997FDD14CA}"/>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29" name="Group 28">
              <a:extLst>
                <a:ext uri="{FF2B5EF4-FFF2-40B4-BE49-F238E27FC236}">
                  <a16:creationId xmlns:a16="http://schemas.microsoft.com/office/drawing/2014/main" id="{A3CD5B31-FD6F-45FB-8FE2-23D187BCABF1}"/>
                </a:ext>
              </a:extLst>
            </p:cNvPr>
            <p:cNvGrpSpPr/>
            <p:nvPr/>
          </p:nvGrpSpPr>
          <p:grpSpPr>
            <a:xfrm rot="3013472">
              <a:off x="6314045" y="2945724"/>
              <a:ext cx="355174" cy="547261"/>
              <a:chOff x="3438781" y="1619441"/>
              <a:chExt cx="525219" cy="519232"/>
            </a:xfrm>
          </p:grpSpPr>
          <p:sp>
            <p:nvSpPr>
              <p:cNvPr id="219" name="Freeform 117">
                <a:extLst>
                  <a:ext uri="{FF2B5EF4-FFF2-40B4-BE49-F238E27FC236}">
                    <a16:creationId xmlns:a16="http://schemas.microsoft.com/office/drawing/2014/main" id="{27C4CF98-3690-4E94-80DD-47BA835F6883}"/>
                  </a:ext>
                </a:extLst>
              </p:cNvPr>
              <p:cNvSpPr>
                <a:spLocks/>
              </p:cNvSpPr>
              <p:nvPr/>
            </p:nvSpPr>
            <p:spPr bwMode="auto">
              <a:xfrm rot="18629394">
                <a:off x="3441775" y="1616447"/>
                <a:ext cx="519232" cy="525219"/>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20" name="Freeform 118">
                <a:extLst>
                  <a:ext uri="{FF2B5EF4-FFF2-40B4-BE49-F238E27FC236}">
                    <a16:creationId xmlns:a16="http://schemas.microsoft.com/office/drawing/2014/main" id="{EBD9764F-F5BF-4280-93C9-DFDC31DEC9D0}"/>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30" name="Group 29">
              <a:extLst>
                <a:ext uri="{FF2B5EF4-FFF2-40B4-BE49-F238E27FC236}">
                  <a16:creationId xmlns:a16="http://schemas.microsoft.com/office/drawing/2014/main" id="{69FCEEC6-7FEA-4172-8183-9245E2E1E47D}"/>
                </a:ext>
              </a:extLst>
            </p:cNvPr>
            <p:cNvGrpSpPr/>
            <p:nvPr/>
          </p:nvGrpSpPr>
          <p:grpSpPr>
            <a:xfrm rot="6036496">
              <a:off x="6704621" y="3624273"/>
              <a:ext cx="371831" cy="449659"/>
              <a:chOff x="3454982" y="1623694"/>
              <a:chExt cx="522226" cy="488747"/>
            </a:xfrm>
          </p:grpSpPr>
          <p:sp>
            <p:nvSpPr>
              <p:cNvPr id="217" name="Freeform 117">
                <a:extLst>
                  <a:ext uri="{FF2B5EF4-FFF2-40B4-BE49-F238E27FC236}">
                    <a16:creationId xmlns:a16="http://schemas.microsoft.com/office/drawing/2014/main" id="{F0474898-BFE0-4547-977F-1F2921B98EFF}"/>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18" name="Freeform 118">
                <a:extLst>
                  <a:ext uri="{FF2B5EF4-FFF2-40B4-BE49-F238E27FC236}">
                    <a16:creationId xmlns:a16="http://schemas.microsoft.com/office/drawing/2014/main" id="{CBE72043-9B61-48C9-A144-0627656B7FE2}"/>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31" name="Group 30">
              <a:extLst>
                <a:ext uri="{FF2B5EF4-FFF2-40B4-BE49-F238E27FC236}">
                  <a16:creationId xmlns:a16="http://schemas.microsoft.com/office/drawing/2014/main" id="{02F7AA58-EE7A-4B1A-9ACC-4F5910B2F6DE}"/>
                </a:ext>
              </a:extLst>
            </p:cNvPr>
            <p:cNvGrpSpPr/>
            <p:nvPr/>
          </p:nvGrpSpPr>
          <p:grpSpPr>
            <a:xfrm rot="5212282">
              <a:off x="6567842" y="3383948"/>
              <a:ext cx="371831" cy="449659"/>
              <a:chOff x="3454982" y="1623694"/>
              <a:chExt cx="522226" cy="488747"/>
            </a:xfrm>
          </p:grpSpPr>
          <p:sp>
            <p:nvSpPr>
              <p:cNvPr id="215" name="Freeform 117">
                <a:extLst>
                  <a:ext uri="{FF2B5EF4-FFF2-40B4-BE49-F238E27FC236}">
                    <a16:creationId xmlns:a16="http://schemas.microsoft.com/office/drawing/2014/main" id="{5AAF2D0F-02BC-4D1F-A921-B59178BD6D28}"/>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16" name="Freeform 118">
                <a:extLst>
                  <a:ext uri="{FF2B5EF4-FFF2-40B4-BE49-F238E27FC236}">
                    <a16:creationId xmlns:a16="http://schemas.microsoft.com/office/drawing/2014/main" id="{16CBC65E-B1F2-4FF3-8239-6AAB375CD845}"/>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sp>
          <p:nvSpPr>
            <p:cNvPr id="32" name="Freeform: Shape 31">
              <a:extLst>
                <a:ext uri="{FF2B5EF4-FFF2-40B4-BE49-F238E27FC236}">
                  <a16:creationId xmlns:a16="http://schemas.microsoft.com/office/drawing/2014/main" id="{30444E05-DE3B-4AA3-816A-7DCAEFC70F40}"/>
                </a:ext>
              </a:extLst>
            </p:cNvPr>
            <p:cNvSpPr/>
            <p:nvPr/>
          </p:nvSpPr>
          <p:spPr bwMode="auto">
            <a:xfrm>
              <a:off x="5092065" y="4754880"/>
              <a:ext cx="308610" cy="558165"/>
            </a:xfrm>
            <a:custGeom>
              <a:avLst/>
              <a:gdLst>
                <a:gd name="connsiteX0" fmla="*/ 0 w 308610"/>
                <a:gd name="connsiteY0" fmla="*/ 0 h 558165"/>
                <a:gd name="connsiteX1" fmla="*/ 89535 w 308610"/>
                <a:gd name="connsiteY1" fmla="*/ 66675 h 558165"/>
                <a:gd name="connsiteX2" fmla="*/ 139065 w 308610"/>
                <a:gd name="connsiteY2" fmla="*/ 177165 h 558165"/>
                <a:gd name="connsiteX3" fmla="*/ 186690 w 308610"/>
                <a:gd name="connsiteY3" fmla="*/ 367665 h 558165"/>
                <a:gd name="connsiteX4" fmla="*/ 232410 w 308610"/>
                <a:gd name="connsiteY4" fmla="*/ 491490 h 558165"/>
                <a:gd name="connsiteX5" fmla="*/ 308610 w 308610"/>
                <a:gd name="connsiteY5" fmla="*/ 558165 h 55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610" h="558165">
                  <a:moveTo>
                    <a:pt x="0" y="0"/>
                  </a:moveTo>
                  <a:cubicBezTo>
                    <a:pt x="33179" y="18574"/>
                    <a:pt x="66358" y="37148"/>
                    <a:pt x="89535" y="66675"/>
                  </a:cubicBezTo>
                  <a:cubicBezTo>
                    <a:pt x="112712" y="96202"/>
                    <a:pt x="122873" y="127000"/>
                    <a:pt x="139065" y="177165"/>
                  </a:cubicBezTo>
                  <a:cubicBezTo>
                    <a:pt x="155257" y="227330"/>
                    <a:pt x="171133" y="315278"/>
                    <a:pt x="186690" y="367665"/>
                  </a:cubicBezTo>
                  <a:cubicBezTo>
                    <a:pt x="202247" y="420052"/>
                    <a:pt x="212090" y="459740"/>
                    <a:pt x="232410" y="491490"/>
                  </a:cubicBezTo>
                  <a:cubicBezTo>
                    <a:pt x="252730" y="523240"/>
                    <a:pt x="280670" y="540702"/>
                    <a:pt x="308610" y="558165"/>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33" name="Freeform: Shape 32">
              <a:extLst>
                <a:ext uri="{FF2B5EF4-FFF2-40B4-BE49-F238E27FC236}">
                  <a16:creationId xmlns:a16="http://schemas.microsoft.com/office/drawing/2014/main" id="{8FAC2BCF-15FE-4A07-B98C-EB064A3BF552}"/>
                </a:ext>
              </a:extLst>
            </p:cNvPr>
            <p:cNvSpPr/>
            <p:nvPr/>
          </p:nvSpPr>
          <p:spPr bwMode="auto">
            <a:xfrm>
              <a:off x="5745480" y="5339326"/>
              <a:ext cx="453390" cy="40973"/>
            </a:xfrm>
            <a:custGeom>
              <a:avLst/>
              <a:gdLst>
                <a:gd name="connsiteX0" fmla="*/ 0 w 453390"/>
                <a:gd name="connsiteY0" fmla="*/ 27059 h 40973"/>
                <a:gd name="connsiteX1" fmla="*/ 81915 w 453390"/>
                <a:gd name="connsiteY1" fmla="*/ 15629 h 40973"/>
                <a:gd name="connsiteX2" fmla="*/ 190500 w 453390"/>
                <a:gd name="connsiteY2" fmla="*/ 389 h 40973"/>
                <a:gd name="connsiteX3" fmla="*/ 300990 w 453390"/>
                <a:gd name="connsiteY3" fmla="*/ 32774 h 40973"/>
                <a:gd name="connsiteX4" fmla="*/ 381000 w 453390"/>
                <a:gd name="connsiteY4" fmla="*/ 40394 h 40973"/>
                <a:gd name="connsiteX5" fmla="*/ 453390 w 453390"/>
                <a:gd name="connsiteY5" fmla="*/ 21344 h 40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390" h="40973">
                  <a:moveTo>
                    <a:pt x="0" y="27059"/>
                  </a:moveTo>
                  <a:lnTo>
                    <a:pt x="81915" y="15629"/>
                  </a:lnTo>
                  <a:cubicBezTo>
                    <a:pt x="113665" y="11184"/>
                    <a:pt x="153988" y="-2468"/>
                    <a:pt x="190500" y="389"/>
                  </a:cubicBezTo>
                  <a:cubicBezTo>
                    <a:pt x="227012" y="3246"/>
                    <a:pt x="269240" y="26106"/>
                    <a:pt x="300990" y="32774"/>
                  </a:cubicBezTo>
                  <a:cubicBezTo>
                    <a:pt x="332740" y="39442"/>
                    <a:pt x="355600" y="42299"/>
                    <a:pt x="381000" y="40394"/>
                  </a:cubicBezTo>
                  <a:cubicBezTo>
                    <a:pt x="406400" y="38489"/>
                    <a:pt x="429895" y="29916"/>
                    <a:pt x="453390" y="21344"/>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34" name="Freeform: Shape 33">
              <a:extLst>
                <a:ext uri="{FF2B5EF4-FFF2-40B4-BE49-F238E27FC236}">
                  <a16:creationId xmlns:a16="http://schemas.microsoft.com/office/drawing/2014/main" id="{12A4B420-0A5E-4587-96DF-B8EC5CCB2E5A}"/>
                </a:ext>
              </a:extLst>
            </p:cNvPr>
            <p:cNvSpPr/>
            <p:nvPr/>
          </p:nvSpPr>
          <p:spPr bwMode="auto">
            <a:xfrm>
              <a:off x="5147310" y="4949190"/>
              <a:ext cx="220980" cy="51435"/>
            </a:xfrm>
            <a:custGeom>
              <a:avLst/>
              <a:gdLst>
                <a:gd name="connsiteX0" fmla="*/ 220980 w 220980"/>
                <a:gd name="connsiteY0" fmla="*/ 0 h 51435"/>
                <a:gd name="connsiteX1" fmla="*/ 125730 w 220980"/>
                <a:gd name="connsiteY1" fmla="*/ 13335 h 51435"/>
                <a:gd name="connsiteX2" fmla="*/ 0 w 220980"/>
                <a:gd name="connsiteY2" fmla="*/ 51435 h 51435"/>
              </a:gdLst>
              <a:ahLst/>
              <a:cxnLst>
                <a:cxn ang="0">
                  <a:pos x="connsiteX0" y="connsiteY0"/>
                </a:cxn>
                <a:cxn ang="0">
                  <a:pos x="connsiteX1" y="connsiteY1"/>
                </a:cxn>
                <a:cxn ang="0">
                  <a:pos x="connsiteX2" y="connsiteY2"/>
                </a:cxn>
              </a:cxnLst>
              <a:rect l="l" t="t" r="r" b="b"/>
              <a:pathLst>
                <a:path w="220980" h="51435">
                  <a:moveTo>
                    <a:pt x="220980" y="0"/>
                  </a:moveTo>
                  <a:cubicBezTo>
                    <a:pt x="191770" y="2381"/>
                    <a:pt x="162560" y="4763"/>
                    <a:pt x="125730" y="13335"/>
                  </a:cubicBezTo>
                  <a:cubicBezTo>
                    <a:pt x="88900" y="21908"/>
                    <a:pt x="44450" y="36671"/>
                    <a:pt x="0" y="51435"/>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35" name="Freeform: Shape 34">
              <a:extLst>
                <a:ext uri="{FF2B5EF4-FFF2-40B4-BE49-F238E27FC236}">
                  <a16:creationId xmlns:a16="http://schemas.microsoft.com/office/drawing/2014/main" id="{45CCB68B-E3B4-475C-B4F9-0F6307DF2A76}"/>
                </a:ext>
              </a:extLst>
            </p:cNvPr>
            <p:cNvSpPr/>
            <p:nvPr/>
          </p:nvSpPr>
          <p:spPr bwMode="auto">
            <a:xfrm>
              <a:off x="5528310" y="4975860"/>
              <a:ext cx="836295" cy="130105"/>
            </a:xfrm>
            <a:custGeom>
              <a:avLst/>
              <a:gdLst>
                <a:gd name="connsiteX0" fmla="*/ 0 w 836295"/>
                <a:gd name="connsiteY0" fmla="*/ 0 h 130105"/>
                <a:gd name="connsiteX1" fmla="*/ 219075 w 836295"/>
                <a:gd name="connsiteY1" fmla="*/ 53340 h 130105"/>
                <a:gd name="connsiteX2" fmla="*/ 280035 w 836295"/>
                <a:gd name="connsiteY2" fmla="*/ 91440 h 130105"/>
                <a:gd name="connsiteX3" fmla="*/ 373380 w 836295"/>
                <a:gd name="connsiteY3" fmla="*/ 127635 h 130105"/>
                <a:gd name="connsiteX4" fmla="*/ 474345 w 836295"/>
                <a:gd name="connsiteY4" fmla="*/ 123825 h 130105"/>
                <a:gd name="connsiteX5" fmla="*/ 556260 w 836295"/>
                <a:gd name="connsiteY5" fmla="*/ 99060 h 130105"/>
                <a:gd name="connsiteX6" fmla="*/ 758190 w 836295"/>
                <a:gd name="connsiteY6" fmla="*/ 17145 h 130105"/>
                <a:gd name="connsiteX7" fmla="*/ 836295 w 836295"/>
                <a:gd name="connsiteY7" fmla="*/ 7620 h 130105"/>
                <a:gd name="connsiteX8" fmla="*/ 836295 w 836295"/>
                <a:gd name="connsiteY8" fmla="*/ 7620 h 130105"/>
                <a:gd name="connsiteX9" fmla="*/ 836295 w 836295"/>
                <a:gd name="connsiteY9" fmla="*/ 7620 h 13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6295" h="130105">
                  <a:moveTo>
                    <a:pt x="0" y="0"/>
                  </a:moveTo>
                  <a:cubicBezTo>
                    <a:pt x="86201" y="19050"/>
                    <a:pt x="172403" y="38100"/>
                    <a:pt x="219075" y="53340"/>
                  </a:cubicBezTo>
                  <a:cubicBezTo>
                    <a:pt x="265747" y="68580"/>
                    <a:pt x="254317" y="79057"/>
                    <a:pt x="280035" y="91440"/>
                  </a:cubicBezTo>
                  <a:cubicBezTo>
                    <a:pt x="305753" y="103823"/>
                    <a:pt x="340995" y="122237"/>
                    <a:pt x="373380" y="127635"/>
                  </a:cubicBezTo>
                  <a:cubicBezTo>
                    <a:pt x="405765" y="133033"/>
                    <a:pt x="443865" y="128587"/>
                    <a:pt x="474345" y="123825"/>
                  </a:cubicBezTo>
                  <a:cubicBezTo>
                    <a:pt x="504825" y="119063"/>
                    <a:pt x="508953" y="116840"/>
                    <a:pt x="556260" y="99060"/>
                  </a:cubicBezTo>
                  <a:cubicBezTo>
                    <a:pt x="603567" y="81280"/>
                    <a:pt x="711518" y="32385"/>
                    <a:pt x="758190" y="17145"/>
                  </a:cubicBezTo>
                  <a:cubicBezTo>
                    <a:pt x="804862" y="1905"/>
                    <a:pt x="836295" y="7620"/>
                    <a:pt x="836295" y="7620"/>
                  </a:cubicBezTo>
                  <a:lnTo>
                    <a:pt x="836295" y="7620"/>
                  </a:lnTo>
                  <a:lnTo>
                    <a:pt x="836295" y="7620"/>
                  </a:ln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36" name="Freeform: Shape 35">
              <a:extLst>
                <a:ext uri="{FF2B5EF4-FFF2-40B4-BE49-F238E27FC236}">
                  <a16:creationId xmlns:a16="http://schemas.microsoft.com/office/drawing/2014/main" id="{653AE2A6-DCC9-4B09-B622-E3A72D3A1AC3}"/>
                </a:ext>
              </a:extLst>
            </p:cNvPr>
            <p:cNvSpPr/>
            <p:nvPr/>
          </p:nvSpPr>
          <p:spPr bwMode="auto">
            <a:xfrm>
              <a:off x="4831080" y="4918710"/>
              <a:ext cx="575310" cy="320040"/>
            </a:xfrm>
            <a:custGeom>
              <a:avLst/>
              <a:gdLst>
                <a:gd name="connsiteX0" fmla="*/ 0 w 575310"/>
                <a:gd name="connsiteY0" fmla="*/ 0 h 320040"/>
                <a:gd name="connsiteX1" fmla="*/ 76200 w 575310"/>
                <a:gd name="connsiteY1" fmla="*/ 80010 h 320040"/>
                <a:gd name="connsiteX2" fmla="*/ 304800 w 575310"/>
                <a:gd name="connsiteY2" fmla="*/ 203835 h 320040"/>
                <a:gd name="connsiteX3" fmla="*/ 344805 w 575310"/>
                <a:gd name="connsiteY3" fmla="*/ 215265 h 320040"/>
                <a:gd name="connsiteX4" fmla="*/ 388620 w 575310"/>
                <a:gd name="connsiteY4" fmla="*/ 217170 h 320040"/>
                <a:gd name="connsiteX5" fmla="*/ 575310 w 575310"/>
                <a:gd name="connsiteY5" fmla="*/ 320040 h 32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310" h="320040">
                  <a:moveTo>
                    <a:pt x="0" y="0"/>
                  </a:moveTo>
                  <a:cubicBezTo>
                    <a:pt x="12700" y="23019"/>
                    <a:pt x="25400" y="46038"/>
                    <a:pt x="76200" y="80010"/>
                  </a:cubicBezTo>
                  <a:cubicBezTo>
                    <a:pt x="127000" y="113982"/>
                    <a:pt x="260033" y="181293"/>
                    <a:pt x="304800" y="203835"/>
                  </a:cubicBezTo>
                  <a:cubicBezTo>
                    <a:pt x="349567" y="226377"/>
                    <a:pt x="330835" y="213043"/>
                    <a:pt x="344805" y="215265"/>
                  </a:cubicBezTo>
                  <a:cubicBezTo>
                    <a:pt x="358775" y="217487"/>
                    <a:pt x="350203" y="199708"/>
                    <a:pt x="388620" y="217170"/>
                  </a:cubicBezTo>
                  <a:cubicBezTo>
                    <a:pt x="427038" y="234633"/>
                    <a:pt x="501174" y="277336"/>
                    <a:pt x="575310" y="320040"/>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37" name="Freeform: Shape 36">
              <a:extLst>
                <a:ext uri="{FF2B5EF4-FFF2-40B4-BE49-F238E27FC236}">
                  <a16:creationId xmlns:a16="http://schemas.microsoft.com/office/drawing/2014/main" id="{D38E57A3-0524-47C3-BE64-5D9AB756E040}"/>
                </a:ext>
              </a:extLst>
            </p:cNvPr>
            <p:cNvSpPr/>
            <p:nvPr/>
          </p:nvSpPr>
          <p:spPr bwMode="auto">
            <a:xfrm>
              <a:off x="5539740" y="5292090"/>
              <a:ext cx="807720" cy="150798"/>
            </a:xfrm>
            <a:custGeom>
              <a:avLst/>
              <a:gdLst>
                <a:gd name="connsiteX0" fmla="*/ 0 w 807720"/>
                <a:gd name="connsiteY0" fmla="*/ 114300 h 150798"/>
                <a:gd name="connsiteX1" fmla="*/ 224790 w 807720"/>
                <a:gd name="connsiteY1" fmla="*/ 148590 h 150798"/>
                <a:gd name="connsiteX2" fmla="*/ 449580 w 807720"/>
                <a:gd name="connsiteY2" fmla="*/ 146685 h 150798"/>
                <a:gd name="connsiteX3" fmla="*/ 630555 w 807720"/>
                <a:gd name="connsiteY3" fmla="*/ 140970 h 150798"/>
                <a:gd name="connsiteX4" fmla="*/ 771525 w 807720"/>
                <a:gd name="connsiteY4" fmla="*/ 76200 h 150798"/>
                <a:gd name="connsiteX5" fmla="*/ 807720 w 807720"/>
                <a:gd name="connsiteY5" fmla="*/ 0 h 15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7720" h="150798">
                  <a:moveTo>
                    <a:pt x="0" y="114300"/>
                  </a:moveTo>
                  <a:cubicBezTo>
                    <a:pt x="74930" y="128746"/>
                    <a:pt x="149860" y="143193"/>
                    <a:pt x="224790" y="148590"/>
                  </a:cubicBezTo>
                  <a:cubicBezTo>
                    <a:pt x="299720" y="153987"/>
                    <a:pt x="381953" y="147955"/>
                    <a:pt x="449580" y="146685"/>
                  </a:cubicBezTo>
                  <a:cubicBezTo>
                    <a:pt x="517207" y="145415"/>
                    <a:pt x="576898" y="152718"/>
                    <a:pt x="630555" y="140970"/>
                  </a:cubicBezTo>
                  <a:cubicBezTo>
                    <a:pt x="684213" y="129223"/>
                    <a:pt x="741998" y="99695"/>
                    <a:pt x="771525" y="76200"/>
                  </a:cubicBezTo>
                  <a:cubicBezTo>
                    <a:pt x="801052" y="52705"/>
                    <a:pt x="804386" y="26352"/>
                    <a:pt x="807720" y="0"/>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38" name="Freeform: Shape 37">
              <a:extLst>
                <a:ext uri="{FF2B5EF4-FFF2-40B4-BE49-F238E27FC236}">
                  <a16:creationId xmlns:a16="http://schemas.microsoft.com/office/drawing/2014/main" id="{BB6C5B39-7E12-469B-8C37-74D6EA570AD1}"/>
                </a:ext>
              </a:extLst>
            </p:cNvPr>
            <p:cNvSpPr/>
            <p:nvPr/>
          </p:nvSpPr>
          <p:spPr bwMode="auto">
            <a:xfrm>
              <a:off x="6728460" y="4478655"/>
              <a:ext cx="194310" cy="247650"/>
            </a:xfrm>
            <a:custGeom>
              <a:avLst/>
              <a:gdLst>
                <a:gd name="connsiteX0" fmla="*/ 194310 w 194310"/>
                <a:gd name="connsiteY0" fmla="*/ 0 h 247650"/>
                <a:gd name="connsiteX1" fmla="*/ 150495 w 194310"/>
                <a:gd name="connsiteY1" fmla="*/ 99060 h 247650"/>
                <a:gd name="connsiteX2" fmla="*/ 0 w 194310"/>
                <a:gd name="connsiteY2" fmla="*/ 247650 h 247650"/>
              </a:gdLst>
              <a:ahLst/>
              <a:cxnLst>
                <a:cxn ang="0">
                  <a:pos x="connsiteX0" y="connsiteY0"/>
                </a:cxn>
                <a:cxn ang="0">
                  <a:pos x="connsiteX1" y="connsiteY1"/>
                </a:cxn>
                <a:cxn ang="0">
                  <a:pos x="connsiteX2" y="connsiteY2"/>
                </a:cxn>
              </a:cxnLst>
              <a:rect l="l" t="t" r="r" b="b"/>
              <a:pathLst>
                <a:path w="194310" h="247650">
                  <a:moveTo>
                    <a:pt x="194310" y="0"/>
                  </a:moveTo>
                  <a:cubicBezTo>
                    <a:pt x="188595" y="28892"/>
                    <a:pt x="182880" y="57785"/>
                    <a:pt x="150495" y="99060"/>
                  </a:cubicBezTo>
                  <a:cubicBezTo>
                    <a:pt x="118110" y="140335"/>
                    <a:pt x="59055" y="193992"/>
                    <a:pt x="0" y="247650"/>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39" name="Freeform: Shape 38">
              <a:extLst>
                <a:ext uri="{FF2B5EF4-FFF2-40B4-BE49-F238E27FC236}">
                  <a16:creationId xmlns:a16="http://schemas.microsoft.com/office/drawing/2014/main" id="{DA57AF35-712D-4308-A5B3-9453FDA55E83}"/>
                </a:ext>
              </a:extLst>
            </p:cNvPr>
            <p:cNvSpPr/>
            <p:nvPr/>
          </p:nvSpPr>
          <p:spPr bwMode="auto">
            <a:xfrm>
              <a:off x="6560820" y="5052060"/>
              <a:ext cx="329565" cy="201930"/>
            </a:xfrm>
            <a:custGeom>
              <a:avLst/>
              <a:gdLst>
                <a:gd name="connsiteX0" fmla="*/ 329565 w 329565"/>
                <a:gd name="connsiteY0" fmla="*/ 0 h 201930"/>
                <a:gd name="connsiteX1" fmla="*/ 219075 w 329565"/>
                <a:gd name="connsiteY1" fmla="*/ 7620 h 201930"/>
                <a:gd name="connsiteX2" fmla="*/ 144780 w 329565"/>
                <a:gd name="connsiteY2" fmla="*/ 11430 h 201930"/>
                <a:gd name="connsiteX3" fmla="*/ 104775 w 329565"/>
                <a:gd name="connsiteY3" fmla="*/ 26670 h 201930"/>
                <a:gd name="connsiteX4" fmla="*/ 68580 w 329565"/>
                <a:gd name="connsiteY4" fmla="*/ 112395 h 201930"/>
                <a:gd name="connsiteX5" fmla="*/ 36195 w 329565"/>
                <a:gd name="connsiteY5" fmla="*/ 177165 h 201930"/>
                <a:gd name="connsiteX6" fmla="*/ 0 w 329565"/>
                <a:gd name="connsiteY6" fmla="*/ 201930 h 20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565" h="201930">
                  <a:moveTo>
                    <a:pt x="329565" y="0"/>
                  </a:moveTo>
                  <a:lnTo>
                    <a:pt x="219075" y="7620"/>
                  </a:lnTo>
                  <a:cubicBezTo>
                    <a:pt x="188277" y="9525"/>
                    <a:pt x="163830" y="8255"/>
                    <a:pt x="144780" y="11430"/>
                  </a:cubicBezTo>
                  <a:cubicBezTo>
                    <a:pt x="125730" y="14605"/>
                    <a:pt x="117475" y="9843"/>
                    <a:pt x="104775" y="26670"/>
                  </a:cubicBezTo>
                  <a:cubicBezTo>
                    <a:pt x="92075" y="43498"/>
                    <a:pt x="80010" y="87312"/>
                    <a:pt x="68580" y="112395"/>
                  </a:cubicBezTo>
                  <a:cubicBezTo>
                    <a:pt x="57150" y="137478"/>
                    <a:pt x="47625" y="162242"/>
                    <a:pt x="36195" y="177165"/>
                  </a:cubicBezTo>
                  <a:cubicBezTo>
                    <a:pt x="24765" y="192088"/>
                    <a:pt x="12382" y="197009"/>
                    <a:pt x="0" y="201930"/>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0" name="Freeform: Shape 39">
              <a:extLst>
                <a:ext uri="{FF2B5EF4-FFF2-40B4-BE49-F238E27FC236}">
                  <a16:creationId xmlns:a16="http://schemas.microsoft.com/office/drawing/2014/main" id="{5082ED0F-FCBA-48EB-BD71-B808BCF43168}"/>
                </a:ext>
              </a:extLst>
            </p:cNvPr>
            <p:cNvSpPr/>
            <p:nvPr/>
          </p:nvSpPr>
          <p:spPr bwMode="auto">
            <a:xfrm>
              <a:off x="6920866" y="4737735"/>
              <a:ext cx="78626" cy="194310"/>
            </a:xfrm>
            <a:custGeom>
              <a:avLst/>
              <a:gdLst>
                <a:gd name="connsiteX0" fmla="*/ 0 w 83221"/>
                <a:gd name="connsiteY0" fmla="*/ 0 h 194310"/>
                <a:gd name="connsiteX1" fmla="*/ 62865 w 83221"/>
                <a:gd name="connsiteY1" fmla="*/ 74295 h 194310"/>
                <a:gd name="connsiteX2" fmla="*/ 81915 w 83221"/>
                <a:gd name="connsiteY2" fmla="*/ 121920 h 194310"/>
                <a:gd name="connsiteX3" fmla="*/ 80010 w 83221"/>
                <a:gd name="connsiteY3" fmla="*/ 194310 h 194310"/>
              </a:gdLst>
              <a:ahLst/>
              <a:cxnLst>
                <a:cxn ang="0">
                  <a:pos x="connsiteX0" y="connsiteY0"/>
                </a:cxn>
                <a:cxn ang="0">
                  <a:pos x="connsiteX1" y="connsiteY1"/>
                </a:cxn>
                <a:cxn ang="0">
                  <a:pos x="connsiteX2" y="connsiteY2"/>
                </a:cxn>
                <a:cxn ang="0">
                  <a:pos x="connsiteX3" y="connsiteY3"/>
                </a:cxn>
              </a:cxnLst>
              <a:rect l="l" t="t" r="r" b="b"/>
              <a:pathLst>
                <a:path w="83221" h="194310">
                  <a:moveTo>
                    <a:pt x="0" y="0"/>
                  </a:moveTo>
                  <a:cubicBezTo>
                    <a:pt x="24606" y="26987"/>
                    <a:pt x="49213" y="53975"/>
                    <a:pt x="62865" y="74295"/>
                  </a:cubicBezTo>
                  <a:cubicBezTo>
                    <a:pt x="76517" y="94615"/>
                    <a:pt x="79058" y="101918"/>
                    <a:pt x="81915" y="121920"/>
                  </a:cubicBezTo>
                  <a:cubicBezTo>
                    <a:pt x="84773" y="141923"/>
                    <a:pt x="82391" y="168116"/>
                    <a:pt x="80010" y="194310"/>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1" name="Freeform: Shape 40">
              <a:extLst>
                <a:ext uri="{FF2B5EF4-FFF2-40B4-BE49-F238E27FC236}">
                  <a16:creationId xmlns:a16="http://schemas.microsoft.com/office/drawing/2014/main" id="{2ADECC1A-0C0B-4940-A9B6-FC4A5CF97259}"/>
                </a:ext>
              </a:extLst>
            </p:cNvPr>
            <p:cNvSpPr/>
            <p:nvPr/>
          </p:nvSpPr>
          <p:spPr bwMode="auto">
            <a:xfrm>
              <a:off x="6673215" y="4802505"/>
              <a:ext cx="542925" cy="440055"/>
            </a:xfrm>
            <a:custGeom>
              <a:avLst/>
              <a:gdLst>
                <a:gd name="connsiteX0" fmla="*/ 542925 w 542925"/>
                <a:gd name="connsiteY0" fmla="*/ 0 h 440055"/>
                <a:gd name="connsiteX1" fmla="*/ 472440 w 542925"/>
                <a:gd name="connsiteY1" fmla="*/ 34290 h 440055"/>
                <a:gd name="connsiteX2" fmla="*/ 426720 w 542925"/>
                <a:gd name="connsiteY2" fmla="*/ 81915 h 440055"/>
                <a:gd name="connsiteX3" fmla="*/ 384810 w 542925"/>
                <a:gd name="connsiteY3" fmla="*/ 123825 h 440055"/>
                <a:gd name="connsiteX4" fmla="*/ 342900 w 542925"/>
                <a:gd name="connsiteY4" fmla="*/ 201930 h 440055"/>
                <a:gd name="connsiteX5" fmla="*/ 291465 w 542925"/>
                <a:gd name="connsiteY5" fmla="*/ 259080 h 440055"/>
                <a:gd name="connsiteX6" fmla="*/ 236220 w 542925"/>
                <a:gd name="connsiteY6" fmla="*/ 306705 h 440055"/>
                <a:gd name="connsiteX7" fmla="*/ 207645 w 542925"/>
                <a:gd name="connsiteY7" fmla="*/ 329565 h 440055"/>
                <a:gd name="connsiteX8" fmla="*/ 139065 w 542925"/>
                <a:gd name="connsiteY8" fmla="*/ 354330 h 440055"/>
                <a:gd name="connsiteX9" fmla="*/ 0 w 542925"/>
                <a:gd name="connsiteY9" fmla="*/ 440055 h 440055"/>
                <a:gd name="connsiteX10" fmla="*/ 0 w 542925"/>
                <a:gd name="connsiteY10" fmla="*/ 440055 h 440055"/>
                <a:gd name="connsiteX11" fmla="*/ 0 w 542925"/>
                <a:gd name="connsiteY11" fmla="*/ 440055 h 440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440055">
                  <a:moveTo>
                    <a:pt x="542925" y="0"/>
                  </a:moveTo>
                  <a:cubicBezTo>
                    <a:pt x="517366" y="10319"/>
                    <a:pt x="491807" y="20638"/>
                    <a:pt x="472440" y="34290"/>
                  </a:cubicBezTo>
                  <a:cubicBezTo>
                    <a:pt x="453073" y="47942"/>
                    <a:pt x="441325" y="66993"/>
                    <a:pt x="426720" y="81915"/>
                  </a:cubicBezTo>
                  <a:cubicBezTo>
                    <a:pt x="412115" y="96837"/>
                    <a:pt x="398780" y="103823"/>
                    <a:pt x="384810" y="123825"/>
                  </a:cubicBezTo>
                  <a:cubicBezTo>
                    <a:pt x="370840" y="143827"/>
                    <a:pt x="358457" y="179388"/>
                    <a:pt x="342900" y="201930"/>
                  </a:cubicBezTo>
                  <a:cubicBezTo>
                    <a:pt x="327343" y="224472"/>
                    <a:pt x="309245" y="241618"/>
                    <a:pt x="291465" y="259080"/>
                  </a:cubicBezTo>
                  <a:cubicBezTo>
                    <a:pt x="273685" y="276542"/>
                    <a:pt x="250190" y="294958"/>
                    <a:pt x="236220" y="306705"/>
                  </a:cubicBezTo>
                  <a:cubicBezTo>
                    <a:pt x="222250" y="318452"/>
                    <a:pt x="223837" y="321628"/>
                    <a:pt x="207645" y="329565"/>
                  </a:cubicBezTo>
                  <a:cubicBezTo>
                    <a:pt x="191452" y="337503"/>
                    <a:pt x="173672" y="335915"/>
                    <a:pt x="139065" y="354330"/>
                  </a:cubicBezTo>
                  <a:cubicBezTo>
                    <a:pt x="104457" y="372745"/>
                    <a:pt x="0" y="440055"/>
                    <a:pt x="0" y="440055"/>
                  </a:cubicBezTo>
                  <a:lnTo>
                    <a:pt x="0" y="440055"/>
                  </a:lnTo>
                  <a:lnTo>
                    <a:pt x="0" y="440055"/>
                  </a:ln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2" name="Freeform: Shape 41">
              <a:extLst>
                <a:ext uri="{FF2B5EF4-FFF2-40B4-BE49-F238E27FC236}">
                  <a16:creationId xmlns:a16="http://schemas.microsoft.com/office/drawing/2014/main" id="{F36EC41B-FBE4-4035-871E-899FC984A571}"/>
                </a:ext>
              </a:extLst>
            </p:cNvPr>
            <p:cNvSpPr/>
            <p:nvPr/>
          </p:nvSpPr>
          <p:spPr bwMode="auto">
            <a:xfrm rot="176958">
              <a:off x="7061835" y="3482340"/>
              <a:ext cx="85725" cy="224790"/>
            </a:xfrm>
            <a:custGeom>
              <a:avLst/>
              <a:gdLst>
                <a:gd name="connsiteX0" fmla="*/ 0 w 85725"/>
                <a:gd name="connsiteY0" fmla="*/ 0 h 224790"/>
                <a:gd name="connsiteX1" fmla="*/ 19050 w 85725"/>
                <a:gd name="connsiteY1" fmla="*/ 83820 h 224790"/>
                <a:gd name="connsiteX2" fmla="*/ 85725 w 85725"/>
                <a:gd name="connsiteY2" fmla="*/ 224790 h 224790"/>
              </a:gdLst>
              <a:ahLst/>
              <a:cxnLst>
                <a:cxn ang="0">
                  <a:pos x="connsiteX0" y="connsiteY0"/>
                </a:cxn>
                <a:cxn ang="0">
                  <a:pos x="connsiteX1" y="connsiteY1"/>
                </a:cxn>
                <a:cxn ang="0">
                  <a:pos x="connsiteX2" y="connsiteY2"/>
                </a:cxn>
              </a:cxnLst>
              <a:rect l="l" t="t" r="r" b="b"/>
              <a:pathLst>
                <a:path w="85725" h="224790">
                  <a:moveTo>
                    <a:pt x="0" y="0"/>
                  </a:moveTo>
                  <a:cubicBezTo>
                    <a:pt x="2381" y="23177"/>
                    <a:pt x="4762" y="46355"/>
                    <a:pt x="19050" y="83820"/>
                  </a:cubicBezTo>
                  <a:cubicBezTo>
                    <a:pt x="33338" y="121285"/>
                    <a:pt x="59531" y="173037"/>
                    <a:pt x="85725" y="224790"/>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3" name="Freeform: Shape 42">
              <a:extLst>
                <a:ext uri="{FF2B5EF4-FFF2-40B4-BE49-F238E27FC236}">
                  <a16:creationId xmlns:a16="http://schemas.microsoft.com/office/drawing/2014/main" id="{07405582-6EDF-4F5D-8862-54128C642A9F}"/>
                </a:ext>
              </a:extLst>
            </p:cNvPr>
            <p:cNvSpPr/>
            <p:nvPr/>
          </p:nvSpPr>
          <p:spPr bwMode="auto">
            <a:xfrm>
              <a:off x="6985635" y="3990975"/>
              <a:ext cx="150770" cy="337185"/>
            </a:xfrm>
            <a:custGeom>
              <a:avLst/>
              <a:gdLst>
                <a:gd name="connsiteX0" fmla="*/ 123825 w 150770"/>
                <a:gd name="connsiteY0" fmla="*/ 0 h 337185"/>
                <a:gd name="connsiteX1" fmla="*/ 150495 w 150770"/>
                <a:gd name="connsiteY1" fmla="*/ 146685 h 337185"/>
                <a:gd name="connsiteX2" fmla="*/ 127635 w 150770"/>
                <a:gd name="connsiteY2" fmla="*/ 249555 h 337185"/>
                <a:gd name="connsiteX3" fmla="*/ 0 w 150770"/>
                <a:gd name="connsiteY3" fmla="*/ 337185 h 337185"/>
              </a:gdLst>
              <a:ahLst/>
              <a:cxnLst>
                <a:cxn ang="0">
                  <a:pos x="connsiteX0" y="connsiteY0"/>
                </a:cxn>
                <a:cxn ang="0">
                  <a:pos x="connsiteX1" y="connsiteY1"/>
                </a:cxn>
                <a:cxn ang="0">
                  <a:pos x="connsiteX2" y="connsiteY2"/>
                </a:cxn>
                <a:cxn ang="0">
                  <a:pos x="connsiteX3" y="connsiteY3"/>
                </a:cxn>
              </a:cxnLst>
              <a:rect l="l" t="t" r="r" b="b"/>
              <a:pathLst>
                <a:path w="150770" h="337185">
                  <a:moveTo>
                    <a:pt x="123825" y="0"/>
                  </a:moveTo>
                  <a:cubicBezTo>
                    <a:pt x="136842" y="52546"/>
                    <a:pt x="149860" y="105093"/>
                    <a:pt x="150495" y="146685"/>
                  </a:cubicBezTo>
                  <a:cubicBezTo>
                    <a:pt x="151130" y="188277"/>
                    <a:pt x="152717" y="217805"/>
                    <a:pt x="127635" y="249555"/>
                  </a:cubicBezTo>
                  <a:cubicBezTo>
                    <a:pt x="102553" y="281305"/>
                    <a:pt x="51276" y="309245"/>
                    <a:pt x="0" y="337185"/>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4" name="Freeform: Shape 43">
              <a:extLst>
                <a:ext uri="{FF2B5EF4-FFF2-40B4-BE49-F238E27FC236}">
                  <a16:creationId xmlns:a16="http://schemas.microsoft.com/office/drawing/2014/main" id="{5613BD18-E965-4240-A81A-CDC6880621BE}"/>
                </a:ext>
              </a:extLst>
            </p:cNvPr>
            <p:cNvSpPr/>
            <p:nvPr/>
          </p:nvSpPr>
          <p:spPr bwMode="auto">
            <a:xfrm>
              <a:off x="7300753" y="3625215"/>
              <a:ext cx="208757" cy="403165"/>
            </a:xfrm>
            <a:custGeom>
              <a:avLst/>
              <a:gdLst>
                <a:gd name="connsiteX0" fmla="*/ 208757 w 208757"/>
                <a:gd name="connsiteY0" fmla="*/ 0 h 403165"/>
                <a:gd name="connsiteX1" fmla="*/ 195422 w 208757"/>
                <a:gd name="connsiteY1" fmla="*/ 64770 h 403165"/>
                <a:gd name="connsiteX2" fmla="*/ 143987 w 208757"/>
                <a:gd name="connsiteY2" fmla="*/ 114300 h 403165"/>
                <a:gd name="connsiteX3" fmla="*/ 10637 w 208757"/>
                <a:gd name="connsiteY3" fmla="*/ 190500 h 403165"/>
                <a:gd name="connsiteX4" fmla="*/ 14447 w 208757"/>
                <a:gd name="connsiteY4" fmla="*/ 224790 h 403165"/>
                <a:gd name="connsiteX5" fmla="*/ 63977 w 208757"/>
                <a:gd name="connsiteY5" fmla="*/ 297180 h 403165"/>
                <a:gd name="connsiteX6" fmla="*/ 107792 w 208757"/>
                <a:gd name="connsiteY6" fmla="*/ 390525 h 403165"/>
                <a:gd name="connsiteX7" fmla="*/ 132557 w 208757"/>
                <a:gd name="connsiteY7" fmla="*/ 400050 h 403165"/>
                <a:gd name="connsiteX8" fmla="*/ 164942 w 208757"/>
                <a:gd name="connsiteY8" fmla="*/ 369570 h 403165"/>
                <a:gd name="connsiteX9" fmla="*/ 176372 w 208757"/>
                <a:gd name="connsiteY9" fmla="*/ 300990 h 403165"/>
                <a:gd name="connsiteX10" fmla="*/ 147797 w 208757"/>
                <a:gd name="connsiteY10" fmla="*/ 249555 h 403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8757" h="403165">
                  <a:moveTo>
                    <a:pt x="208757" y="0"/>
                  </a:moveTo>
                  <a:cubicBezTo>
                    <a:pt x="207487" y="22860"/>
                    <a:pt x="206217" y="45720"/>
                    <a:pt x="195422" y="64770"/>
                  </a:cubicBezTo>
                  <a:cubicBezTo>
                    <a:pt x="184627" y="83820"/>
                    <a:pt x="174784" y="93345"/>
                    <a:pt x="143987" y="114300"/>
                  </a:cubicBezTo>
                  <a:cubicBezTo>
                    <a:pt x="113189" y="135255"/>
                    <a:pt x="32227" y="172085"/>
                    <a:pt x="10637" y="190500"/>
                  </a:cubicBezTo>
                  <a:cubicBezTo>
                    <a:pt x="-10953" y="208915"/>
                    <a:pt x="5557" y="207010"/>
                    <a:pt x="14447" y="224790"/>
                  </a:cubicBezTo>
                  <a:cubicBezTo>
                    <a:pt x="23337" y="242570"/>
                    <a:pt x="48420" y="269558"/>
                    <a:pt x="63977" y="297180"/>
                  </a:cubicBezTo>
                  <a:cubicBezTo>
                    <a:pt x="79534" y="324802"/>
                    <a:pt x="96362" y="373380"/>
                    <a:pt x="107792" y="390525"/>
                  </a:cubicBezTo>
                  <a:cubicBezTo>
                    <a:pt x="119222" y="407670"/>
                    <a:pt x="123032" y="403543"/>
                    <a:pt x="132557" y="400050"/>
                  </a:cubicBezTo>
                  <a:cubicBezTo>
                    <a:pt x="142082" y="396557"/>
                    <a:pt x="157640" y="386080"/>
                    <a:pt x="164942" y="369570"/>
                  </a:cubicBezTo>
                  <a:cubicBezTo>
                    <a:pt x="172244" y="353060"/>
                    <a:pt x="179229" y="320993"/>
                    <a:pt x="176372" y="300990"/>
                  </a:cubicBezTo>
                  <a:cubicBezTo>
                    <a:pt x="173514" y="280988"/>
                    <a:pt x="160655" y="265271"/>
                    <a:pt x="147797" y="249555"/>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5" name="Freeform: Shape 44">
              <a:extLst>
                <a:ext uri="{FF2B5EF4-FFF2-40B4-BE49-F238E27FC236}">
                  <a16:creationId xmlns:a16="http://schemas.microsoft.com/office/drawing/2014/main" id="{254CEFA1-4F3F-4B75-B900-72C6B1A0B6A7}"/>
                </a:ext>
              </a:extLst>
            </p:cNvPr>
            <p:cNvSpPr/>
            <p:nvPr/>
          </p:nvSpPr>
          <p:spPr bwMode="auto">
            <a:xfrm>
              <a:off x="6818552" y="2747010"/>
              <a:ext cx="351868" cy="731520"/>
            </a:xfrm>
            <a:custGeom>
              <a:avLst/>
              <a:gdLst>
                <a:gd name="connsiteX0" fmla="*/ 351868 w 351868"/>
                <a:gd name="connsiteY0" fmla="*/ 123825 h 731520"/>
                <a:gd name="connsiteX1" fmla="*/ 285193 w 351868"/>
                <a:gd name="connsiteY1" fmla="*/ 74295 h 731520"/>
                <a:gd name="connsiteX2" fmla="*/ 155653 w 351868"/>
                <a:gd name="connsiteY2" fmla="*/ 20955 h 731520"/>
                <a:gd name="connsiteX3" fmla="*/ 50878 w 351868"/>
                <a:gd name="connsiteY3" fmla="*/ 0 h 731520"/>
                <a:gd name="connsiteX4" fmla="*/ 7063 w 351868"/>
                <a:gd name="connsiteY4" fmla="*/ 20955 h 731520"/>
                <a:gd name="connsiteX5" fmla="*/ 1348 w 351868"/>
                <a:gd name="connsiteY5" fmla="*/ 99060 h 731520"/>
                <a:gd name="connsiteX6" fmla="*/ 20398 w 351868"/>
                <a:gd name="connsiteY6" fmla="*/ 194310 h 731520"/>
                <a:gd name="connsiteX7" fmla="*/ 92788 w 351868"/>
                <a:gd name="connsiteY7" fmla="*/ 377190 h 731520"/>
                <a:gd name="connsiteX8" fmla="*/ 153748 w 351868"/>
                <a:gd name="connsiteY8" fmla="*/ 493395 h 731520"/>
                <a:gd name="connsiteX9" fmla="*/ 216613 w 351868"/>
                <a:gd name="connsiteY9" fmla="*/ 577215 h 731520"/>
                <a:gd name="connsiteX10" fmla="*/ 311863 w 351868"/>
                <a:gd name="connsiteY10" fmla="*/ 731520 h 731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1868" h="731520">
                  <a:moveTo>
                    <a:pt x="351868" y="123825"/>
                  </a:moveTo>
                  <a:cubicBezTo>
                    <a:pt x="334882" y="107632"/>
                    <a:pt x="317896" y="91440"/>
                    <a:pt x="285193" y="74295"/>
                  </a:cubicBezTo>
                  <a:cubicBezTo>
                    <a:pt x="252490" y="57150"/>
                    <a:pt x="194706" y="33338"/>
                    <a:pt x="155653" y="20955"/>
                  </a:cubicBezTo>
                  <a:cubicBezTo>
                    <a:pt x="116600" y="8572"/>
                    <a:pt x="75643" y="0"/>
                    <a:pt x="50878" y="0"/>
                  </a:cubicBezTo>
                  <a:cubicBezTo>
                    <a:pt x="26113" y="0"/>
                    <a:pt x="15318" y="4445"/>
                    <a:pt x="7063" y="20955"/>
                  </a:cubicBezTo>
                  <a:cubicBezTo>
                    <a:pt x="-1192" y="37465"/>
                    <a:pt x="-874" y="70168"/>
                    <a:pt x="1348" y="99060"/>
                  </a:cubicBezTo>
                  <a:cubicBezTo>
                    <a:pt x="3570" y="127952"/>
                    <a:pt x="5158" y="147955"/>
                    <a:pt x="20398" y="194310"/>
                  </a:cubicBezTo>
                  <a:cubicBezTo>
                    <a:pt x="35638" y="240665"/>
                    <a:pt x="70563" y="327343"/>
                    <a:pt x="92788" y="377190"/>
                  </a:cubicBezTo>
                  <a:cubicBezTo>
                    <a:pt x="115013" y="427037"/>
                    <a:pt x="133110" y="460058"/>
                    <a:pt x="153748" y="493395"/>
                  </a:cubicBezTo>
                  <a:cubicBezTo>
                    <a:pt x="174385" y="526733"/>
                    <a:pt x="190260" y="537528"/>
                    <a:pt x="216613" y="577215"/>
                  </a:cubicBezTo>
                  <a:cubicBezTo>
                    <a:pt x="242965" y="616903"/>
                    <a:pt x="277414" y="674211"/>
                    <a:pt x="311863" y="731520"/>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6" name="Freeform: Shape 45">
              <a:extLst>
                <a:ext uri="{FF2B5EF4-FFF2-40B4-BE49-F238E27FC236}">
                  <a16:creationId xmlns:a16="http://schemas.microsoft.com/office/drawing/2014/main" id="{F08DF3CD-9826-4DE8-996C-2D46154E3B4B}"/>
                </a:ext>
              </a:extLst>
            </p:cNvPr>
            <p:cNvSpPr/>
            <p:nvPr/>
          </p:nvSpPr>
          <p:spPr bwMode="auto">
            <a:xfrm>
              <a:off x="7246620" y="2954655"/>
              <a:ext cx="236380" cy="563838"/>
            </a:xfrm>
            <a:custGeom>
              <a:avLst/>
              <a:gdLst>
                <a:gd name="connsiteX0" fmla="*/ 150495 w 236380"/>
                <a:gd name="connsiteY0" fmla="*/ 421005 h 563838"/>
                <a:gd name="connsiteX1" fmla="*/ 158115 w 236380"/>
                <a:gd name="connsiteY1" fmla="*/ 358140 h 563838"/>
                <a:gd name="connsiteX2" fmla="*/ 203835 w 236380"/>
                <a:gd name="connsiteY2" fmla="*/ 373380 h 563838"/>
                <a:gd name="connsiteX3" fmla="*/ 217170 w 236380"/>
                <a:gd name="connsiteY3" fmla="*/ 421005 h 563838"/>
                <a:gd name="connsiteX4" fmla="*/ 236220 w 236380"/>
                <a:gd name="connsiteY4" fmla="*/ 560070 h 563838"/>
                <a:gd name="connsiteX5" fmla="*/ 205740 w 236380"/>
                <a:gd name="connsiteY5" fmla="*/ 520065 h 563838"/>
                <a:gd name="connsiteX6" fmla="*/ 137160 w 236380"/>
                <a:gd name="connsiteY6" fmla="*/ 474345 h 563838"/>
                <a:gd name="connsiteX7" fmla="*/ 83820 w 236380"/>
                <a:gd name="connsiteY7" fmla="*/ 434340 h 563838"/>
                <a:gd name="connsiteX8" fmla="*/ 72390 w 236380"/>
                <a:gd name="connsiteY8" fmla="*/ 382905 h 563838"/>
                <a:gd name="connsiteX9" fmla="*/ 137160 w 236380"/>
                <a:gd name="connsiteY9" fmla="*/ 262890 h 563838"/>
                <a:gd name="connsiteX10" fmla="*/ 137160 w 236380"/>
                <a:gd name="connsiteY10" fmla="*/ 215265 h 563838"/>
                <a:gd name="connsiteX11" fmla="*/ 0 w 236380"/>
                <a:gd name="connsiteY11" fmla="*/ 0 h 563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380" h="563838">
                  <a:moveTo>
                    <a:pt x="150495" y="421005"/>
                  </a:moveTo>
                  <a:cubicBezTo>
                    <a:pt x="149860" y="393541"/>
                    <a:pt x="149225" y="366077"/>
                    <a:pt x="158115" y="358140"/>
                  </a:cubicBezTo>
                  <a:cubicBezTo>
                    <a:pt x="167005" y="350202"/>
                    <a:pt x="193993" y="362903"/>
                    <a:pt x="203835" y="373380"/>
                  </a:cubicBezTo>
                  <a:cubicBezTo>
                    <a:pt x="213677" y="383857"/>
                    <a:pt x="211773" y="389890"/>
                    <a:pt x="217170" y="421005"/>
                  </a:cubicBezTo>
                  <a:cubicBezTo>
                    <a:pt x="222567" y="452120"/>
                    <a:pt x="238125" y="543560"/>
                    <a:pt x="236220" y="560070"/>
                  </a:cubicBezTo>
                  <a:cubicBezTo>
                    <a:pt x="234315" y="576580"/>
                    <a:pt x="222250" y="534353"/>
                    <a:pt x="205740" y="520065"/>
                  </a:cubicBezTo>
                  <a:cubicBezTo>
                    <a:pt x="189230" y="505778"/>
                    <a:pt x="157480" y="488632"/>
                    <a:pt x="137160" y="474345"/>
                  </a:cubicBezTo>
                  <a:cubicBezTo>
                    <a:pt x="116840" y="460058"/>
                    <a:pt x="94615" y="449580"/>
                    <a:pt x="83820" y="434340"/>
                  </a:cubicBezTo>
                  <a:cubicBezTo>
                    <a:pt x="73025" y="419100"/>
                    <a:pt x="63500" y="411480"/>
                    <a:pt x="72390" y="382905"/>
                  </a:cubicBezTo>
                  <a:cubicBezTo>
                    <a:pt x="81280" y="354330"/>
                    <a:pt x="126365" y="290830"/>
                    <a:pt x="137160" y="262890"/>
                  </a:cubicBezTo>
                  <a:cubicBezTo>
                    <a:pt x="147955" y="234950"/>
                    <a:pt x="160020" y="259080"/>
                    <a:pt x="137160" y="215265"/>
                  </a:cubicBezTo>
                  <a:cubicBezTo>
                    <a:pt x="114300" y="171450"/>
                    <a:pt x="57150" y="85725"/>
                    <a:pt x="0" y="0"/>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7" name="Freeform: Shape 46">
              <a:extLst>
                <a:ext uri="{FF2B5EF4-FFF2-40B4-BE49-F238E27FC236}">
                  <a16:creationId xmlns:a16="http://schemas.microsoft.com/office/drawing/2014/main" id="{DAFD1610-4A01-4645-B845-7CF411372381}"/>
                </a:ext>
              </a:extLst>
            </p:cNvPr>
            <p:cNvSpPr/>
            <p:nvPr/>
          </p:nvSpPr>
          <p:spPr bwMode="auto">
            <a:xfrm>
              <a:off x="6627495" y="2775585"/>
              <a:ext cx="154305" cy="253365"/>
            </a:xfrm>
            <a:custGeom>
              <a:avLst/>
              <a:gdLst>
                <a:gd name="connsiteX0" fmla="*/ 0 w 154305"/>
                <a:gd name="connsiteY0" fmla="*/ 0 h 253365"/>
                <a:gd name="connsiteX1" fmla="*/ 49530 w 154305"/>
                <a:gd name="connsiteY1" fmla="*/ 59055 h 253365"/>
                <a:gd name="connsiteX2" fmla="*/ 66675 w 154305"/>
                <a:gd name="connsiteY2" fmla="*/ 121920 h 253365"/>
                <a:gd name="connsiteX3" fmla="*/ 106680 w 154305"/>
                <a:gd name="connsiteY3" fmla="*/ 201930 h 253365"/>
                <a:gd name="connsiteX4" fmla="*/ 154305 w 154305"/>
                <a:gd name="connsiteY4" fmla="*/ 253365 h 253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305" h="253365">
                  <a:moveTo>
                    <a:pt x="0" y="0"/>
                  </a:moveTo>
                  <a:cubicBezTo>
                    <a:pt x="19209" y="19367"/>
                    <a:pt x="38418" y="38735"/>
                    <a:pt x="49530" y="59055"/>
                  </a:cubicBezTo>
                  <a:cubicBezTo>
                    <a:pt x="60643" y="79375"/>
                    <a:pt x="57150" y="98108"/>
                    <a:pt x="66675" y="121920"/>
                  </a:cubicBezTo>
                  <a:cubicBezTo>
                    <a:pt x="76200" y="145733"/>
                    <a:pt x="92075" y="180023"/>
                    <a:pt x="106680" y="201930"/>
                  </a:cubicBezTo>
                  <a:cubicBezTo>
                    <a:pt x="121285" y="223837"/>
                    <a:pt x="137795" y="238601"/>
                    <a:pt x="154305" y="253365"/>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8" name="Freeform: Shape 47">
              <a:extLst>
                <a:ext uri="{FF2B5EF4-FFF2-40B4-BE49-F238E27FC236}">
                  <a16:creationId xmlns:a16="http://schemas.microsoft.com/office/drawing/2014/main" id="{C5A682B4-7756-4940-992D-2E34FCE6A2FC}"/>
                </a:ext>
              </a:extLst>
            </p:cNvPr>
            <p:cNvSpPr/>
            <p:nvPr/>
          </p:nvSpPr>
          <p:spPr bwMode="auto">
            <a:xfrm>
              <a:off x="6343650" y="2675141"/>
              <a:ext cx="947062" cy="477634"/>
            </a:xfrm>
            <a:custGeom>
              <a:avLst/>
              <a:gdLst>
                <a:gd name="connsiteX0" fmla="*/ 0 w 947062"/>
                <a:gd name="connsiteY0" fmla="*/ 7099 h 477634"/>
                <a:gd name="connsiteX1" fmla="*/ 76200 w 947062"/>
                <a:gd name="connsiteY1" fmla="*/ 1384 h 477634"/>
                <a:gd name="connsiteX2" fmla="*/ 140970 w 947062"/>
                <a:gd name="connsiteY2" fmla="*/ 29959 h 477634"/>
                <a:gd name="connsiteX3" fmla="*/ 201930 w 947062"/>
                <a:gd name="connsiteY3" fmla="*/ 111874 h 477634"/>
                <a:gd name="connsiteX4" fmla="*/ 297180 w 947062"/>
                <a:gd name="connsiteY4" fmla="*/ 174739 h 477634"/>
                <a:gd name="connsiteX5" fmla="*/ 434340 w 947062"/>
                <a:gd name="connsiteY5" fmla="*/ 176644 h 477634"/>
                <a:gd name="connsiteX6" fmla="*/ 567690 w 947062"/>
                <a:gd name="connsiteY6" fmla="*/ 186169 h 477634"/>
                <a:gd name="connsiteX7" fmla="*/ 670560 w 947062"/>
                <a:gd name="connsiteY7" fmla="*/ 224269 h 477634"/>
                <a:gd name="connsiteX8" fmla="*/ 760095 w 947062"/>
                <a:gd name="connsiteY8" fmla="*/ 287134 h 477634"/>
                <a:gd name="connsiteX9" fmla="*/ 870585 w 947062"/>
                <a:gd name="connsiteY9" fmla="*/ 376669 h 477634"/>
                <a:gd name="connsiteX10" fmla="*/ 935355 w 947062"/>
                <a:gd name="connsiteY10" fmla="*/ 445249 h 477634"/>
                <a:gd name="connsiteX11" fmla="*/ 946785 w 947062"/>
                <a:gd name="connsiteY11" fmla="*/ 477634 h 477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47062" h="477634">
                  <a:moveTo>
                    <a:pt x="0" y="7099"/>
                  </a:moveTo>
                  <a:cubicBezTo>
                    <a:pt x="26352" y="2336"/>
                    <a:pt x="52705" y="-2426"/>
                    <a:pt x="76200" y="1384"/>
                  </a:cubicBezTo>
                  <a:cubicBezTo>
                    <a:pt x="99695" y="5194"/>
                    <a:pt x="120015" y="11544"/>
                    <a:pt x="140970" y="29959"/>
                  </a:cubicBezTo>
                  <a:cubicBezTo>
                    <a:pt x="161925" y="48374"/>
                    <a:pt x="175895" y="87744"/>
                    <a:pt x="201930" y="111874"/>
                  </a:cubicBezTo>
                  <a:cubicBezTo>
                    <a:pt x="227965" y="136004"/>
                    <a:pt x="258445" y="163944"/>
                    <a:pt x="297180" y="174739"/>
                  </a:cubicBezTo>
                  <a:cubicBezTo>
                    <a:pt x="335915" y="185534"/>
                    <a:pt x="389255" y="174739"/>
                    <a:pt x="434340" y="176644"/>
                  </a:cubicBezTo>
                  <a:cubicBezTo>
                    <a:pt x="479425" y="178549"/>
                    <a:pt x="528320" y="178232"/>
                    <a:pt x="567690" y="186169"/>
                  </a:cubicBezTo>
                  <a:cubicBezTo>
                    <a:pt x="607060" y="194106"/>
                    <a:pt x="638493" y="207442"/>
                    <a:pt x="670560" y="224269"/>
                  </a:cubicBezTo>
                  <a:cubicBezTo>
                    <a:pt x="702627" y="241096"/>
                    <a:pt x="726758" y="261734"/>
                    <a:pt x="760095" y="287134"/>
                  </a:cubicBezTo>
                  <a:cubicBezTo>
                    <a:pt x="793432" y="312534"/>
                    <a:pt x="841375" y="350317"/>
                    <a:pt x="870585" y="376669"/>
                  </a:cubicBezTo>
                  <a:cubicBezTo>
                    <a:pt x="899795" y="403021"/>
                    <a:pt x="922655" y="428422"/>
                    <a:pt x="935355" y="445249"/>
                  </a:cubicBezTo>
                  <a:cubicBezTo>
                    <a:pt x="948055" y="462077"/>
                    <a:pt x="947420" y="469855"/>
                    <a:pt x="946785" y="477634"/>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9" name="Freeform: Shape 48">
              <a:extLst>
                <a:ext uri="{FF2B5EF4-FFF2-40B4-BE49-F238E27FC236}">
                  <a16:creationId xmlns:a16="http://schemas.microsoft.com/office/drawing/2014/main" id="{FA90963D-840A-43C9-9506-176924A784FA}"/>
                </a:ext>
              </a:extLst>
            </p:cNvPr>
            <p:cNvSpPr/>
            <p:nvPr/>
          </p:nvSpPr>
          <p:spPr bwMode="auto">
            <a:xfrm>
              <a:off x="5911215" y="2322991"/>
              <a:ext cx="552450" cy="329076"/>
            </a:xfrm>
            <a:custGeom>
              <a:avLst/>
              <a:gdLst>
                <a:gd name="connsiteX0" fmla="*/ 552450 w 552450"/>
                <a:gd name="connsiteY0" fmla="*/ 71594 h 329076"/>
                <a:gd name="connsiteX1" fmla="*/ 430530 w 552450"/>
                <a:gd name="connsiteY1" fmla="*/ 31589 h 329076"/>
                <a:gd name="connsiteX2" fmla="*/ 379095 w 552450"/>
                <a:gd name="connsiteY2" fmla="*/ 14444 h 329076"/>
                <a:gd name="connsiteX3" fmla="*/ 302895 w 552450"/>
                <a:gd name="connsiteY3" fmla="*/ 8729 h 329076"/>
                <a:gd name="connsiteX4" fmla="*/ 276225 w 552450"/>
                <a:gd name="connsiteY4" fmla="*/ 140174 h 329076"/>
                <a:gd name="connsiteX5" fmla="*/ 264795 w 552450"/>
                <a:gd name="connsiteY5" fmla="*/ 199229 h 329076"/>
                <a:gd name="connsiteX6" fmla="*/ 230505 w 552450"/>
                <a:gd name="connsiteY6" fmla="*/ 244949 h 329076"/>
                <a:gd name="connsiteX7" fmla="*/ 209550 w 552450"/>
                <a:gd name="connsiteY7" fmla="*/ 290669 h 329076"/>
                <a:gd name="connsiteX8" fmla="*/ 165735 w 552450"/>
                <a:gd name="connsiteY8" fmla="*/ 319244 h 329076"/>
                <a:gd name="connsiteX9" fmla="*/ 93345 w 552450"/>
                <a:gd name="connsiteY9" fmla="*/ 328769 h 329076"/>
                <a:gd name="connsiteX10" fmla="*/ 0 w 552450"/>
                <a:gd name="connsiteY10" fmla="*/ 309719 h 329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2450" h="329076">
                  <a:moveTo>
                    <a:pt x="552450" y="71594"/>
                  </a:moveTo>
                  <a:lnTo>
                    <a:pt x="430530" y="31589"/>
                  </a:lnTo>
                  <a:cubicBezTo>
                    <a:pt x="401637" y="22064"/>
                    <a:pt x="400367" y="18254"/>
                    <a:pt x="379095" y="14444"/>
                  </a:cubicBezTo>
                  <a:cubicBezTo>
                    <a:pt x="357823" y="10634"/>
                    <a:pt x="320040" y="-12226"/>
                    <a:pt x="302895" y="8729"/>
                  </a:cubicBezTo>
                  <a:cubicBezTo>
                    <a:pt x="285750" y="29684"/>
                    <a:pt x="282575" y="108424"/>
                    <a:pt x="276225" y="140174"/>
                  </a:cubicBezTo>
                  <a:cubicBezTo>
                    <a:pt x="269875" y="171924"/>
                    <a:pt x="272415" y="181767"/>
                    <a:pt x="264795" y="199229"/>
                  </a:cubicBezTo>
                  <a:cubicBezTo>
                    <a:pt x="257175" y="216691"/>
                    <a:pt x="239713" y="229709"/>
                    <a:pt x="230505" y="244949"/>
                  </a:cubicBezTo>
                  <a:cubicBezTo>
                    <a:pt x="221297" y="260189"/>
                    <a:pt x="220345" y="278287"/>
                    <a:pt x="209550" y="290669"/>
                  </a:cubicBezTo>
                  <a:cubicBezTo>
                    <a:pt x="198755" y="303051"/>
                    <a:pt x="185102" y="312894"/>
                    <a:pt x="165735" y="319244"/>
                  </a:cubicBezTo>
                  <a:cubicBezTo>
                    <a:pt x="146367" y="325594"/>
                    <a:pt x="120967" y="330356"/>
                    <a:pt x="93345" y="328769"/>
                  </a:cubicBezTo>
                  <a:cubicBezTo>
                    <a:pt x="65723" y="327182"/>
                    <a:pt x="32861" y="318450"/>
                    <a:pt x="0" y="309719"/>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0" name="Freeform: Shape 49">
              <a:extLst>
                <a:ext uri="{FF2B5EF4-FFF2-40B4-BE49-F238E27FC236}">
                  <a16:creationId xmlns:a16="http://schemas.microsoft.com/office/drawing/2014/main" id="{39B739DF-2F02-45E8-A45F-679E340DBD01}"/>
                </a:ext>
              </a:extLst>
            </p:cNvPr>
            <p:cNvSpPr/>
            <p:nvPr/>
          </p:nvSpPr>
          <p:spPr bwMode="auto">
            <a:xfrm>
              <a:off x="5534025" y="2303062"/>
              <a:ext cx="337317" cy="369653"/>
            </a:xfrm>
            <a:custGeom>
              <a:avLst/>
              <a:gdLst>
                <a:gd name="connsiteX0" fmla="*/ 45720 w 337317"/>
                <a:gd name="connsiteY0" fmla="*/ 24848 h 369653"/>
                <a:gd name="connsiteX1" fmla="*/ 180975 w 337317"/>
                <a:gd name="connsiteY1" fmla="*/ 28658 h 369653"/>
                <a:gd name="connsiteX2" fmla="*/ 240030 w 337317"/>
                <a:gd name="connsiteY2" fmla="*/ 22943 h 369653"/>
                <a:gd name="connsiteX3" fmla="*/ 310515 w 337317"/>
                <a:gd name="connsiteY3" fmla="*/ 83 h 369653"/>
                <a:gd name="connsiteX4" fmla="*/ 337185 w 337317"/>
                <a:gd name="connsiteY4" fmla="*/ 17228 h 369653"/>
                <a:gd name="connsiteX5" fmla="*/ 318135 w 337317"/>
                <a:gd name="connsiteY5" fmla="*/ 64853 h 369653"/>
                <a:gd name="connsiteX6" fmla="*/ 262890 w 337317"/>
                <a:gd name="connsiteY6" fmla="*/ 118193 h 369653"/>
                <a:gd name="connsiteX7" fmla="*/ 200025 w 337317"/>
                <a:gd name="connsiteY7" fmla="*/ 171533 h 369653"/>
                <a:gd name="connsiteX8" fmla="*/ 173355 w 337317"/>
                <a:gd name="connsiteY8" fmla="*/ 221063 h 369653"/>
                <a:gd name="connsiteX9" fmla="*/ 104775 w 337317"/>
                <a:gd name="connsiteY9" fmla="*/ 297263 h 369653"/>
                <a:gd name="connsiteX10" fmla="*/ 0 w 337317"/>
                <a:gd name="connsiteY10" fmla="*/ 369653 h 369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317" h="369653">
                  <a:moveTo>
                    <a:pt x="45720" y="24848"/>
                  </a:moveTo>
                  <a:cubicBezTo>
                    <a:pt x="97155" y="26911"/>
                    <a:pt x="148590" y="28975"/>
                    <a:pt x="180975" y="28658"/>
                  </a:cubicBezTo>
                  <a:cubicBezTo>
                    <a:pt x="213360" y="28341"/>
                    <a:pt x="218440" y="27706"/>
                    <a:pt x="240030" y="22943"/>
                  </a:cubicBezTo>
                  <a:cubicBezTo>
                    <a:pt x="261620" y="18180"/>
                    <a:pt x="294323" y="1035"/>
                    <a:pt x="310515" y="83"/>
                  </a:cubicBezTo>
                  <a:cubicBezTo>
                    <a:pt x="326707" y="-869"/>
                    <a:pt x="335915" y="6433"/>
                    <a:pt x="337185" y="17228"/>
                  </a:cubicBezTo>
                  <a:cubicBezTo>
                    <a:pt x="338455" y="28023"/>
                    <a:pt x="330517" y="48026"/>
                    <a:pt x="318135" y="64853"/>
                  </a:cubicBezTo>
                  <a:cubicBezTo>
                    <a:pt x="305753" y="81680"/>
                    <a:pt x="282575" y="100413"/>
                    <a:pt x="262890" y="118193"/>
                  </a:cubicBezTo>
                  <a:cubicBezTo>
                    <a:pt x="243205" y="135973"/>
                    <a:pt x="214948" y="154388"/>
                    <a:pt x="200025" y="171533"/>
                  </a:cubicBezTo>
                  <a:cubicBezTo>
                    <a:pt x="185103" y="188678"/>
                    <a:pt x="189230" y="200108"/>
                    <a:pt x="173355" y="221063"/>
                  </a:cubicBezTo>
                  <a:cubicBezTo>
                    <a:pt x="157480" y="242018"/>
                    <a:pt x="133667" y="272498"/>
                    <a:pt x="104775" y="297263"/>
                  </a:cubicBezTo>
                  <a:cubicBezTo>
                    <a:pt x="75883" y="322028"/>
                    <a:pt x="37941" y="345840"/>
                    <a:pt x="0" y="369653"/>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1" name="Freeform: Shape 50">
              <a:extLst>
                <a:ext uri="{FF2B5EF4-FFF2-40B4-BE49-F238E27FC236}">
                  <a16:creationId xmlns:a16="http://schemas.microsoft.com/office/drawing/2014/main" id="{22242A2A-C218-47DA-86C7-7958349B42F2}"/>
                </a:ext>
              </a:extLst>
            </p:cNvPr>
            <p:cNvSpPr/>
            <p:nvPr/>
          </p:nvSpPr>
          <p:spPr bwMode="auto">
            <a:xfrm>
              <a:off x="6202598" y="2434590"/>
              <a:ext cx="99142" cy="247650"/>
            </a:xfrm>
            <a:custGeom>
              <a:avLst/>
              <a:gdLst>
                <a:gd name="connsiteX0" fmla="*/ 99142 w 99142"/>
                <a:gd name="connsiteY0" fmla="*/ 0 h 247650"/>
                <a:gd name="connsiteX1" fmla="*/ 22942 w 99142"/>
                <a:gd name="connsiteY1" fmla="*/ 102870 h 247650"/>
                <a:gd name="connsiteX2" fmla="*/ 82 w 99142"/>
                <a:gd name="connsiteY2" fmla="*/ 203835 h 247650"/>
                <a:gd name="connsiteX3" fmla="*/ 28657 w 99142"/>
                <a:gd name="connsiteY3" fmla="*/ 247650 h 247650"/>
              </a:gdLst>
              <a:ahLst/>
              <a:cxnLst>
                <a:cxn ang="0">
                  <a:pos x="connsiteX0" y="connsiteY0"/>
                </a:cxn>
                <a:cxn ang="0">
                  <a:pos x="connsiteX1" y="connsiteY1"/>
                </a:cxn>
                <a:cxn ang="0">
                  <a:pos x="connsiteX2" y="connsiteY2"/>
                </a:cxn>
                <a:cxn ang="0">
                  <a:pos x="connsiteX3" y="connsiteY3"/>
                </a:cxn>
              </a:cxnLst>
              <a:rect l="l" t="t" r="r" b="b"/>
              <a:pathLst>
                <a:path w="99142" h="247650">
                  <a:moveTo>
                    <a:pt x="99142" y="0"/>
                  </a:moveTo>
                  <a:cubicBezTo>
                    <a:pt x="69297" y="34449"/>
                    <a:pt x="39452" y="68898"/>
                    <a:pt x="22942" y="102870"/>
                  </a:cubicBezTo>
                  <a:cubicBezTo>
                    <a:pt x="6432" y="136843"/>
                    <a:pt x="-870" y="179705"/>
                    <a:pt x="82" y="203835"/>
                  </a:cubicBezTo>
                  <a:cubicBezTo>
                    <a:pt x="1034" y="227965"/>
                    <a:pt x="14845" y="237807"/>
                    <a:pt x="28657" y="247650"/>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2" name="Freeform: Shape 51">
              <a:extLst>
                <a:ext uri="{FF2B5EF4-FFF2-40B4-BE49-F238E27FC236}">
                  <a16:creationId xmlns:a16="http://schemas.microsoft.com/office/drawing/2014/main" id="{BC834725-FD12-49E8-8E8E-59D71D6A9E88}"/>
                </a:ext>
              </a:extLst>
            </p:cNvPr>
            <p:cNvSpPr/>
            <p:nvPr/>
          </p:nvSpPr>
          <p:spPr bwMode="auto">
            <a:xfrm>
              <a:off x="5663565" y="2222355"/>
              <a:ext cx="1011555" cy="193185"/>
            </a:xfrm>
            <a:custGeom>
              <a:avLst/>
              <a:gdLst>
                <a:gd name="connsiteX0" fmla="*/ 1011555 w 1011555"/>
                <a:gd name="connsiteY0" fmla="*/ 193185 h 193185"/>
                <a:gd name="connsiteX1" fmla="*/ 897255 w 1011555"/>
                <a:gd name="connsiteY1" fmla="*/ 143655 h 193185"/>
                <a:gd name="connsiteX2" fmla="*/ 718185 w 1011555"/>
                <a:gd name="connsiteY2" fmla="*/ 82695 h 193185"/>
                <a:gd name="connsiteX3" fmla="*/ 598170 w 1011555"/>
                <a:gd name="connsiteY3" fmla="*/ 48405 h 193185"/>
                <a:gd name="connsiteX4" fmla="*/ 476250 w 1011555"/>
                <a:gd name="connsiteY4" fmla="*/ 25545 h 193185"/>
                <a:gd name="connsiteX5" fmla="*/ 350520 w 1011555"/>
                <a:gd name="connsiteY5" fmla="*/ 6495 h 193185"/>
                <a:gd name="connsiteX6" fmla="*/ 245745 w 1011555"/>
                <a:gd name="connsiteY6" fmla="*/ 780 h 193185"/>
                <a:gd name="connsiteX7" fmla="*/ 152400 w 1011555"/>
                <a:gd name="connsiteY7" fmla="*/ 21735 h 193185"/>
                <a:gd name="connsiteX8" fmla="*/ 64770 w 1011555"/>
                <a:gd name="connsiteY8" fmla="*/ 61740 h 193185"/>
                <a:gd name="connsiteX9" fmla="*/ 32385 w 1011555"/>
                <a:gd name="connsiteY9" fmla="*/ 143655 h 193185"/>
                <a:gd name="connsiteX10" fmla="*/ 0 w 1011555"/>
                <a:gd name="connsiteY10" fmla="*/ 166515 h 19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1555" h="193185">
                  <a:moveTo>
                    <a:pt x="1011555" y="193185"/>
                  </a:moveTo>
                  <a:cubicBezTo>
                    <a:pt x="978852" y="177627"/>
                    <a:pt x="946150" y="162070"/>
                    <a:pt x="897255" y="143655"/>
                  </a:cubicBezTo>
                  <a:cubicBezTo>
                    <a:pt x="848360" y="125240"/>
                    <a:pt x="768032" y="98570"/>
                    <a:pt x="718185" y="82695"/>
                  </a:cubicBezTo>
                  <a:cubicBezTo>
                    <a:pt x="668338" y="66820"/>
                    <a:pt x="638492" y="57930"/>
                    <a:pt x="598170" y="48405"/>
                  </a:cubicBezTo>
                  <a:cubicBezTo>
                    <a:pt x="557847" y="38880"/>
                    <a:pt x="517525" y="32530"/>
                    <a:pt x="476250" y="25545"/>
                  </a:cubicBezTo>
                  <a:cubicBezTo>
                    <a:pt x="434975" y="18560"/>
                    <a:pt x="388937" y="10622"/>
                    <a:pt x="350520" y="6495"/>
                  </a:cubicBezTo>
                  <a:cubicBezTo>
                    <a:pt x="312102" y="2367"/>
                    <a:pt x="278765" y="-1760"/>
                    <a:pt x="245745" y="780"/>
                  </a:cubicBezTo>
                  <a:cubicBezTo>
                    <a:pt x="212725" y="3320"/>
                    <a:pt x="182562" y="11575"/>
                    <a:pt x="152400" y="21735"/>
                  </a:cubicBezTo>
                  <a:cubicBezTo>
                    <a:pt x="122237" y="31895"/>
                    <a:pt x="84772" y="41420"/>
                    <a:pt x="64770" y="61740"/>
                  </a:cubicBezTo>
                  <a:cubicBezTo>
                    <a:pt x="44768" y="82060"/>
                    <a:pt x="43180" y="126193"/>
                    <a:pt x="32385" y="143655"/>
                  </a:cubicBezTo>
                  <a:cubicBezTo>
                    <a:pt x="21590" y="161117"/>
                    <a:pt x="10795" y="163816"/>
                    <a:pt x="0" y="166515"/>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3" name="Freeform: Shape 52">
              <a:extLst>
                <a:ext uri="{FF2B5EF4-FFF2-40B4-BE49-F238E27FC236}">
                  <a16:creationId xmlns:a16="http://schemas.microsoft.com/office/drawing/2014/main" id="{B3E77967-DC83-462B-A80A-52E455831B33}"/>
                </a:ext>
              </a:extLst>
            </p:cNvPr>
            <p:cNvSpPr/>
            <p:nvPr/>
          </p:nvSpPr>
          <p:spPr bwMode="auto">
            <a:xfrm>
              <a:off x="5709285" y="2510790"/>
              <a:ext cx="316230" cy="131445"/>
            </a:xfrm>
            <a:custGeom>
              <a:avLst/>
              <a:gdLst>
                <a:gd name="connsiteX0" fmla="*/ 316230 w 316230"/>
                <a:gd name="connsiteY0" fmla="*/ 89535 h 131445"/>
                <a:gd name="connsiteX1" fmla="*/ 255270 w 316230"/>
                <a:gd name="connsiteY1" fmla="*/ 83820 h 131445"/>
                <a:gd name="connsiteX2" fmla="*/ 203835 w 316230"/>
                <a:gd name="connsiteY2" fmla="*/ 66675 h 131445"/>
                <a:gd name="connsiteX3" fmla="*/ 156210 w 316230"/>
                <a:gd name="connsiteY3" fmla="*/ 38100 h 131445"/>
                <a:gd name="connsiteX4" fmla="*/ 121920 w 316230"/>
                <a:gd name="connsiteY4" fmla="*/ 11430 h 131445"/>
                <a:gd name="connsiteX5" fmla="*/ 95250 w 316230"/>
                <a:gd name="connsiteY5" fmla="*/ 0 h 131445"/>
                <a:gd name="connsiteX6" fmla="*/ 60960 w 316230"/>
                <a:gd name="connsiteY6" fmla="*/ 22860 h 131445"/>
                <a:gd name="connsiteX7" fmla="*/ 24765 w 316230"/>
                <a:gd name="connsiteY7" fmla="*/ 68580 h 131445"/>
                <a:gd name="connsiteX8" fmla="*/ 0 w 316230"/>
                <a:gd name="connsiteY8" fmla="*/ 102870 h 131445"/>
                <a:gd name="connsiteX9" fmla="*/ 5715 w 316230"/>
                <a:gd name="connsiteY9" fmla="*/ 120015 h 131445"/>
                <a:gd name="connsiteX10" fmla="*/ 28575 w 316230"/>
                <a:gd name="connsiteY10" fmla="*/ 131445 h 13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6230" h="131445">
                  <a:moveTo>
                    <a:pt x="316230" y="89535"/>
                  </a:moveTo>
                  <a:lnTo>
                    <a:pt x="255270" y="83820"/>
                  </a:lnTo>
                  <a:lnTo>
                    <a:pt x="203835" y="66675"/>
                  </a:lnTo>
                  <a:lnTo>
                    <a:pt x="156210" y="38100"/>
                  </a:lnTo>
                  <a:lnTo>
                    <a:pt x="121920" y="11430"/>
                  </a:lnTo>
                  <a:lnTo>
                    <a:pt x="95250" y="0"/>
                  </a:lnTo>
                  <a:lnTo>
                    <a:pt x="60960" y="22860"/>
                  </a:lnTo>
                  <a:lnTo>
                    <a:pt x="24765" y="68580"/>
                  </a:lnTo>
                  <a:lnTo>
                    <a:pt x="0" y="102870"/>
                  </a:lnTo>
                  <a:lnTo>
                    <a:pt x="5715" y="120015"/>
                  </a:lnTo>
                  <a:lnTo>
                    <a:pt x="28575" y="131445"/>
                  </a:ln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4" name="Freeform: Shape 53">
              <a:extLst>
                <a:ext uri="{FF2B5EF4-FFF2-40B4-BE49-F238E27FC236}">
                  <a16:creationId xmlns:a16="http://schemas.microsoft.com/office/drawing/2014/main" id="{0F39ADA3-ED6A-42F5-A9E3-398E4062D45B}"/>
                </a:ext>
              </a:extLst>
            </p:cNvPr>
            <p:cNvSpPr/>
            <p:nvPr/>
          </p:nvSpPr>
          <p:spPr bwMode="auto">
            <a:xfrm>
              <a:off x="4981575" y="2748915"/>
              <a:ext cx="226695" cy="321945"/>
            </a:xfrm>
            <a:custGeom>
              <a:avLst/>
              <a:gdLst>
                <a:gd name="connsiteX0" fmla="*/ 226695 w 226695"/>
                <a:gd name="connsiteY0" fmla="*/ 0 h 321945"/>
                <a:gd name="connsiteX1" fmla="*/ 175260 w 226695"/>
                <a:gd name="connsiteY1" fmla="*/ 26670 h 321945"/>
                <a:gd name="connsiteX2" fmla="*/ 139065 w 226695"/>
                <a:gd name="connsiteY2" fmla="*/ 68580 h 321945"/>
                <a:gd name="connsiteX3" fmla="*/ 114300 w 226695"/>
                <a:gd name="connsiteY3" fmla="*/ 135255 h 321945"/>
                <a:gd name="connsiteX4" fmla="*/ 81915 w 226695"/>
                <a:gd name="connsiteY4" fmla="*/ 228600 h 321945"/>
                <a:gd name="connsiteX5" fmla="*/ 45720 w 226695"/>
                <a:gd name="connsiteY5" fmla="*/ 281940 h 321945"/>
                <a:gd name="connsiteX6" fmla="*/ 0 w 226695"/>
                <a:gd name="connsiteY6" fmla="*/ 321945 h 32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695" h="321945">
                  <a:moveTo>
                    <a:pt x="226695" y="0"/>
                  </a:moveTo>
                  <a:cubicBezTo>
                    <a:pt x="208280" y="7620"/>
                    <a:pt x="189865" y="15240"/>
                    <a:pt x="175260" y="26670"/>
                  </a:cubicBezTo>
                  <a:cubicBezTo>
                    <a:pt x="160655" y="38100"/>
                    <a:pt x="149225" y="50483"/>
                    <a:pt x="139065" y="68580"/>
                  </a:cubicBezTo>
                  <a:cubicBezTo>
                    <a:pt x="128905" y="86677"/>
                    <a:pt x="123825" y="108585"/>
                    <a:pt x="114300" y="135255"/>
                  </a:cubicBezTo>
                  <a:cubicBezTo>
                    <a:pt x="104775" y="161925"/>
                    <a:pt x="93345" y="204153"/>
                    <a:pt x="81915" y="228600"/>
                  </a:cubicBezTo>
                  <a:cubicBezTo>
                    <a:pt x="70485" y="253047"/>
                    <a:pt x="59372" y="266383"/>
                    <a:pt x="45720" y="281940"/>
                  </a:cubicBezTo>
                  <a:cubicBezTo>
                    <a:pt x="32068" y="297497"/>
                    <a:pt x="16034" y="309721"/>
                    <a:pt x="0" y="321945"/>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5" name="Freeform: Shape 54">
              <a:extLst>
                <a:ext uri="{FF2B5EF4-FFF2-40B4-BE49-F238E27FC236}">
                  <a16:creationId xmlns:a16="http://schemas.microsoft.com/office/drawing/2014/main" id="{C49728ED-ABD4-4010-AEDB-F5796B15368F}"/>
                </a:ext>
              </a:extLst>
            </p:cNvPr>
            <p:cNvSpPr/>
            <p:nvPr/>
          </p:nvSpPr>
          <p:spPr bwMode="auto">
            <a:xfrm>
              <a:off x="4608195" y="2766792"/>
              <a:ext cx="600075" cy="284258"/>
            </a:xfrm>
            <a:custGeom>
              <a:avLst/>
              <a:gdLst>
                <a:gd name="connsiteX0" fmla="*/ 0 w 600075"/>
                <a:gd name="connsiteY0" fmla="*/ 212628 h 284258"/>
                <a:gd name="connsiteX1" fmla="*/ 64770 w 600075"/>
                <a:gd name="connsiteY1" fmla="*/ 144048 h 284258"/>
                <a:gd name="connsiteX2" fmla="*/ 152400 w 600075"/>
                <a:gd name="connsiteY2" fmla="*/ 25938 h 284258"/>
                <a:gd name="connsiteX3" fmla="*/ 180975 w 600075"/>
                <a:gd name="connsiteY3" fmla="*/ 1173 h 284258"/>
                <a:gd name="connsiteX4" fmla="*/ 194310 w 600075"/>
                <a:gd name="connsiteY4" fmla="*/ 48798 h 284258"/>
                <a:gd name="connsiteX5" fmla="*/ 188595 w 600075"/>
                <a:gd name="connsiteY5" fmla="*/ 163098 h 284258"/>
                <a:gd name="connsiteX6" fmla="*/ 182880 w 600075"/>
                <a:gd name="connsiteY6" fmla="*/ 241203 h 284258"/>
                <a:gd name="connsiteX7" fmla="*/ 194310 w 600075"/>
                <a:gd name="connsiteY7" fmla="*/ 283113 h 284258"/>
                <a:gd name="connsiteX8" fmla="*/ 230505 w 600075"/>
                <a:gd name="connsiteY8" fmla="*/ 267873 h 284258"/>
                <a:gd name="connsiteX9" fmla="*/ 293370 w 600075"/>
                <a:gd name="connsiteY9" fmla="*/ 220248 h 284258"/>
                <a:gd name="connsiteX10" fmla="*/ 361950 w 600075"/>
                <a:gd name="connsiteY10" fmla="*/ 185958 h 284258"/>
                <a:gd name="connsiteX11" fmla="*/ 445770 w 600075"/>
                <a:gd name="connsiteY11" fmla="*/ 176433 h 284258"/>
                <a:gd name="connsiteX12" fmla="*/ 521970 w 600075"/>
                <a:gd name="connsiteY12" fmla="*/ 145953 h 284258"/>
                <a:gd name="connsiteX13" fmla="*/ 579120 w 600075"/>
                <a:gd name="connsiteY13" fmla="*/ 113568 h 284258"/>
                <a:gd name="connsiteX14" fmla="*/ 600075 w 600075"/>
                <a:gd name="connsiteY14" fmla="*/ 90708 h 284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0075" h="284258">
                  <a:moveTo>
                    <a:pt x="0" y="212628"/>
                  </a:moveTo>
                  <a:cubicBezTo>
                    <a:pt x="19685" y="193895"/>
                    <a:pt x="39370" y="175163"/>
                    <a:pt x="64770" y="144048"/>
                  </a:cubicBezTo>
                  <a:cubicBezTo>
                    <a:pt x="90170" y="112933"/>
                    <a:pt x="133033" y="49750"/>
                    <a:pt x="152400" y="25938"/>
                  </a:cubicBezTo>
                  <a:cubicBezTo>
                    <a:pt x="171767" y="2126"/>
                    <a:pt x="173990" y="-2637"/>
                    <a:pt x="180975" y="1173"/>
                  </a:cubicBezTo>
                  <a:cubicBezTo>
                    <a:pt x="187960" y="4983"/>
                    <a:pt x="193040" y="21811"/>
                    <a:pt x="194310" y="48798"/>
                  </a:cubicBezTo>
                  <a:cubicBezTo>
                    <a:pt x="195580" y="75785"/>
                    <a:pt x="190500" y="131030"/>
                    <a:pt x="188595" y="163098"/>
                  </a:cubicBezTo>
                  <a:cubicBezTo>
                    <a:pt x="186690" y="195165"/>
                    <a:pt x="181928" y="221201"/>
                    <a:pt x="182880" y="241203"/>
                  </a:cubicBezTo>
                  <a:cubicBezTo>
                    <a:pt x="183832" y="261205"/>
                    <a:pt x="186373" y="278668"/>
                    <a:pt x="194310" y="283113"/>
                  </a:cubicBezTo>
                  <a:cubicBezTo>
                    <a:pt x="202247" y="287558"/>
                    <a:pt x="213995" y="278350"/>
                    <a:pt x="230505" y="267873"/>
                  </a:cubicBezTo>
                  <a:cubicBezTo>
                    <a:pt x="247015" y="257396"/>
                    <a:pt x="271462" y="233901"/>
                    <a:pt x="293370" y="220248"/>
                  </a:cubicBezTo>
                  <a:cubicBezTo>
                    <a:pt x="315278" y="206595"/>
                    <a:pt x="336550" y="193260"/>
                    <a:pt x="361950" y="185958"/>
                  </a:cubicBezTo>
                  <a:cubicBezTo>
                    <a:pt x="387350" y="178655"/>
                    <a:pt x="419100" y="183100"/>
                    <a:pt x="445770" y="176433"/>
                  </a:cubicBezTo>
                  <a:cubicBezTo>
                    <a:pt x="472440" y="169766"/>
                    <a:pt x="499745" y="156430"/>
                    <a:pt x="521970" y="145953"/>
                  </a:cubicBezTo>
                  <a:cubicBezTo>
                    <a:pt x="544195" y="135475"/>
                    <a:pt x="566103" y="122775"/>
                    <a:pt x="579120" y="113568"/>
                  </a:cubicBezTo>
                  <a:cubicBezTo>
                    <a:pt x="592137" y="104361"/>
                    <a:pt x="596106" y="97534"/>
                    <a:pt x="600075" y="90708"/>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6" name="Freeform: Shape 55">
              <a:extLst>
                <a:ext uri="{FF2B5EF4-FFF2-40B4-BE49-F238E27FC236}">
                  <a16:creationId xmlns:a16="http://schemas.microsoft.com/office/drawing/2014/main" id="{6B3893E5-9CDC-4C20-9C85-2186870B12BE}"/>
                </a:ext>
              </a:extLst>
            </p:cNvPr>
            <p:cNvSpPr/>
            <p:nvPr/>
          </p:nvSpPr>
          <p:spPr bwMode="auto">
            <a:xfrm>
              <a:off x="4673949" y="3006090"/>
              <a:ext cx="303816" cy="571670"/>
            </a:xfrm>
            <a:custGeom>
              <a:avLst/>
              <a:gdLst>
                <a:gd name="connsiteX0" fmla="*/ 303816 w 303816"/>
                <a:gd name="connsiteY0" fmla="*/ 0 h 571670"/>
                <a:gd name="connsiteX1" fmla="*/ 244761 w 303816"/>
                <a:gd name="connsiteY1" fmla="*/ 57150 h 571670"/>
                <a:gd name="connsiteX2" fmla="*/ 200946 w 303816"/>
                <a:gd name="connsiteY2" fmla="*/ 97155 h 571670"/>
                <a:gd name="connsiteX3" fmla="*/ 168561 w 303816"/>
                <a:gd name="connsiteY3" fmla="*/ 161925 h 571670"/>
                <a:gd name="connsiteX4" fmla="*/ 166656 w 303816"/>
                <a:gd name="connsiteY4" fmla="*/ 207645 h 571670"/>
                <a:gd name="connsiteX5" fmla="*/ 138081 w 303816"/>
                <a:gd name="connsiteY5" fmla="*/ 280035 h 571670"/>
                <a:gd name="connsiteX6" fmla="*/ 80931 w 303816"/>
                <a:gd name="connsiteY6" fmla="*/ 321945 h 571670"/>
                <a:gd name="connsiteX7" fmla="*/ 29496 w 303816"/>
                <a:gd name="connsiteY7" fmla="*/ 371475 h 571670"/>
                <a:gd name="connsiteX8" fmla="*/ 12351 w 303816"/>
                <a:gd name="connsiteY8" fmla="*/ 434340 h 571670"/>
                <a:gd name="connsiteX9" fmla="*/ 921 w 303816"/>
                <a:gd name="connsiteY9" fmla="*/ 518160 h 571670"/>
                <a:gd name="connsiteX10" fmla="*/ 37116 w 303816"/>
                <a:gd name="connsiteY10" fmla="*/ 561975 h 571670"/>
                <a:gd name="connsiteX11" fmla="*/ 67596 w 303816"/>
                <a:gd name="connsiteY11" fmla="*/ 569595 h 571670"/>
                <a:gd name="connsiteX12" fmla="*/ 84741 w 303816"/>
                <a:gd name="connsiteY12" fmla="*/ 533400 h 571670"/>
                <a:gd name="connsiteX13" fmla="*/ 82836 w 303816"/>
                <a:gd name="connsiteY13" fmla="*/ 470535 h 571670"/>
                <a:gd name="connsiteX14" fmla="*/ 119031 w 303816"/>
                <a:gd name="connsiteY14" fmla="*/ 375285 h 571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3816" h="571670">
                  <a:moveTo>
                    <a:pt x="303816" y="0"/>
                  </a:moveTo>
                  <a:lnTo>
                    <a:pt x="244761" y="57150"/>
                  </a:lnTo>
                  <a:cubicBezTo>
                    <a:pt x="227616" y="73343"/>
                    <a:pt x="213646" y="79693"/>
                    <a:pt x="200946" y="97155"/>
                  </a:cubicBezTo>
                  <a:cubicBezTo>
                    <a:pt x="188246" y="114618"/>
                    <a:pt x="174276" y="143510"/>
                    <a:pt x="168561" y="161925"/>
                  </a:cubicBezTo>
                  <a:cubicBezTo>
                    <a:pt x="162846" y="180340"/>
                    <a:pt x="171736" y="187960"/>
                    <a:pt x="166656" y="207645"/>
                  </a:cubicBezTo>
                  <a:cubicBezTo>
                    <a:pt x="161576" y="227330"/>
                    <a:pt x="152368" y="260985"/>
                    <a:pt x="138081" y="280035"/>
                  </a:cubicBezTo>
                  <a:cubicBezTo>
                    <a:pt x="123793" y="299085"/>
                    <a:pt x="99028" y="306705"/>
                    <a:pt x="80931" y="321945"/>
                  </a:cubicBezTo>
                  <a:cubicBezTo>
                    <a:pt x="62834" y="337185"/>
                    <a:pt x="40926" y="352743"/>
                    <a:pt x="29496" y="371475"/>
                  </a:cubicBezTo>
                  <a:cubicBezTo>
                    <a:pt x="18066" y="390207"/>
                    <a:pt x="17113" y="409893"/>
                    <a:pt x="12351" y="434340"/>
                  </a:cubicBezTo>
                  <a:cubicBezTo>
                    <a:pt x="7589" y="458787"/>
                    <a:pt x="-3207" y="496888"/>
                    <a:pt x="921" y="518160"/>
                  </a:cubicBezTo>
                  <a:cubicBezTo>
                    <a:pt x="5048" y="539433"/>
                    <a:pt x="26003" y="553403"/>
                    <a:pt x="37116" y="561975"/>
                  </a:cubicBezTo>
                  <a:cubicBezTo>
                    <a:pt x="48228" y="570548"/>
                    <a:pt x="59658" y="574358"/>
                    <a:pt x="67596" y="569595"/>
                  </a:cubicBezTo>
                  <a:cubicBezTo>
                    <a:pt x="75533" y="564833"/>
                    <a:pt x="82201" y="549910"/>
                    <a:pt x="84741" y="533400"/>
                  </a:cubicBezTo>
                  <a:cubicBezTo>
                    <a:pt x="87281" y="516890"/>
                    <a:pt x="77121" y="496888"/>
                    <a:pt x="82836" y="470535"/>
                  </a:cubicBezTo>
                  <a:cubicBezTo>
                    <a:pt x="88551" y="444183"/>
                    <a:pt x="103791" y="409734"/>
                    <a:pt x="119031" y="375285"/>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7" name="Freeform: Shape 56">
              <a:extLst>
                <a:ext uri="{FF2B5EF4-FFF2-40B4-BE49-F238E27FC236}">
                  <a16:creationId xmlns:a16="http://schemas.microsoft.com/office/drawing/2014/main" id="{4A4D0F4A-86F2-4650-8C7F-BDB64AC7DFD2}"/>
                </a:ext>
              </a:extLst>
            </p:cNvPr>
            <p:cNvSpPr/>
            <p:nvPr/>
          </p:nvSpPr>
          <p:spPr bwMode="auto">
            <a:xfrm>
              <a:off x="4649655" y="3918585"/>
              <a:ext cx="296741" cy="629205"/>
            </a:xfrm>
            <a:custGeom>
              <a:avLst/>
              <a:gdLst>
                <a:gd name="connsiteX0" fmla="*/ 80460 w 296741"/>
                <a:gd name="connsiteY0" fmla="*/ 0 h 629205"/>
                <a:gd name="connsiteX1" fmla="*/ 34740 w 296741"/>
                <a:gd name="connsiteY1" fmla="*/ 32385 h 629205"/>
                <a:gd name="connsiteX2" fmla="*/ 6165 w 296741"/>
                <a:gd name="connsiteY2" fmla="*/ 93345 h 629205"/>
                <a:gd name="connsiteX3" fmla="*/ 450 w 296741"/>
                <a:gd name="connsiteY3" fmla="*/ 140970 h 629205"/>
                <a:gd name="connsiteX4" fmla="*/ 13785 w 296741"/>
                <a:gd name="connsiteY4" fmla="*/ 243840 h 629205"/>
                <a:gd name="connsiteX5" fmla="*/ 30930 w 296741"/>
                <a:gd name="connsiteY5" fmla="*/ 335280 h 629205"/>
                <a:gd name="connsiteX6" fmla="*/ 25215 w 296741"/>
                <a:gd name="connsiteY6" fmla="*/ 411480 h 629205"/>
                <a:gd name="connsiteX7" fmla="*/ 34740 w 296741"/>
                <a:gd name="connsiteY7" fmla="*/ 493395 h 629205"/>
                <a:gd name="connsiteX8" fmla="*/ 63315 w 296741"/>
                <a:gd name="connsiteY8" fmla="*/ 541020 h 629205"/>
                <a:gd name="connsiteX9" fmla="*/ 120465 w 296741"/>
                <a:gd name="connsiteY9" fmla="*/ 560070 h 629205"/>
                <a:gd name="connsiteX10" fmla="*/ 183330 w 296741"/>
                <a:gd name="connsiteY10" fmla="*/ 573405 h 629205"/>
                <a:gd name="connsiteX11" fmla="*/ 286200 w 296741"/>
                <a:gd name="connsiteY11" fmla="*/ 624840 h 629205"/>
                <a:gd name="connsiteX12" fmla="*/ 288105 w 296741"/>
                <a:gd name="connsiteY12" fmla="*/ 622935 h 629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6741" h="629205">
                  <a:moveTo>
                    <a:pt x="80460" y="0"/>
                  </a:moveTo>
                  <a:cubicBezTo>
                    <a:pt x="63791" y="8414"/>
                    <a:pt x="47122" y="16828"/>
                    <a:pt x="34740" y="32385"/>
                  </a:cubicBezTo>
                  <a:cubicBezTo>
                    <a:pt x="22357" y="47943"/>
                    <a:pt x="11880" y="75248"/>
                    <a:pt x="6165" y="93345"/>
                  </a:cubicBezTo>
                  <a:cubicBezTo>
                    <a:pt x="450" y="111442"/>
                    <a:pt x="-820" y="115888"/>
                    <a:pt x="450" y="140970"/>
                  </a:cubicBezTo>
                  <a:cubicBezTo>
                    <a:pt x="1720" y="166052"/>
                    <a:pt x="8705" y="211455"/>
                    <a:pt x="13785" y="243840"/>
                  </a:cubicBezTo>
                  <a:cubicBezTo>
                    <a:pt x="18865" y="276225"/>
                    <a:pt x="29025" y="307340"/>
                    <a:pt x="30930" y="335280"/>
                  </a:cubicBezTo>
                  <a:cubicBezTo>
                    <a:pt x="32835" y="363220"/>
                    <a:pt x="24580" y="385128"/>
                    <a:pt x="25215" y="411480"/>
                  </a:cubicBezTo>
                  <a:cubicBezTo>
                    <a:pt x="25850" y="437832"/>
                    <a:pt x="28390" y="471805"/>
                    <a:pt x="34740" y="493395"/>
                  </a:cubicBezTo>
                  <a:cubicBezTo>
                    <a:pt x="41090" y="514985"/>
                    <a:pt x="49027" y="529908"/>
                    <a:pt x="63315" y="541020"/>
                  </a:cubicBezTo>
                  <a:cubicBezTo>
                    <a:pt x="77602" y="552133"/>
                    <a:pt x="100463" y="554673"/>
                    <a:pt x="120465" y="560070"/>
                  </a:cubicBezTo>
                  <a:cubicBezTo>
                    <a:pt x="140467" y="565467"/>
                    <a:pt x="155708" y="562610"/>
                    <a:pt x="183330" y="573405"/>
                  </a:cubicBezTo>
                  <a:cubicBezTo>
                    <a:pt x="210953" y="584200"/>
                    <a:pt x="286200" y="624840"/>
                    <a:pt x="286200" y="624840"/>
                  </a:cubicBezTo>
                  <a:cubicBezTo>
                    <a:pt x="303662" y="633095"/>
                    <a:pt x="295883" y="628015"/>
                    <a:pt x="288105" y="622935"/>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8" name="Freeform: Shape 57">
              <a:extLst>
                <a:ext uri="{FF2B5EF4-FFF2-40B4-BE49-F238E27FC236}">
                  <a16:creationId xmlns:a16="http://schemas.microsoft.com/office/drawing/2014/main" id="{B31C447C-7699-4C3B-B96B-8AB63415AE89}"/>
                </a:ext>
              </a:extLst>
            </p:cNvPr>
            <p:cNvSpPr/>
            <p:nvPr/>
          </p:nvSpPr>
          <p:spPr bwMode="auto">
            <a:xfrm>
              <a:off x="4394835" y="4333875"/>
              <a:ext cx="355344" cy="550986"/>
            </a:xfrm>
            <a:custGeom>
              <a:avLst/>
              <a:gdLst>
                <a:gd name="connsiteX0" fmla="*/ 0 w 355344"/>
                <a:gd name="connsiteY0" fmla="*/ 0 h 550986"/>
                <a:gd name="connsiteX1" fmla="*/ 49530 w 355344"/>
                <a:gd name="connsiteY1" fmla="*/ 62865 h 550986"/>
                <a:gd name="connsiteX2" fmla="*/ 99060 w 355344"/>
                <a:gd name="connsiteY2" fmla="*/ 156210 h 550986"/>
                <a:gd name="connsiteX3" fmla="*/ 99060 w 355344"/>
                <a:gd name="connsiteY3" fmla="*/ 222885 h 550986"/>
                <a:gd name="connsiteX4" fmla="*/ 118110 w 355344"/>
                <a:gd name="connsiteY4" fmla="*/ 283845 h 550986"/>
                <a:gd name="connsiteX5" fmla="*/ 190500 w 355344"/>
                <a:gd name="connsiteY5" fmla="*/ 422910 h 550986"/>
                <a:gd name="connsiteX6" fmla="*/ 268605 w 355344"/>
                <a:gd name="connsiteY6" fmla="*/ 518160 h 550986"/>
                <a:gd name="connsiteX7" fmla="*/ 335280 w 355344"/>
                <a:gd name="connsiteY7" fmla="*/ 550545 h 550986"/>
                <a:gd name="connsiteX8" fmla="*/ 354330 w 355344"/>
                <a:gd name="connsiteY8" fmla="*/ 499110 h 550986"/>
                <a:gd name="connsiteX9" fmla="*/ 310515 w 355344"/>
                <a:gd name="connsiteY9" fmla="*/ 430530 h 550986"/>
                <a:gd name="connsiteX10" fmla="*/ 247650 w 355344"/>
                <a:gd name="connsiteY10" fmla="*/ 390525 h 550986"/>
                <a:gd name="connsiteX11" fmla="*/ 224790 w 355344"/>
                <a:gd name="connsiteY11" fmla="*/ 384810 h 550986"/>
                <a:gd name="connsiteX12" fmla="*/ 228600 w 355344"/>
                <a:gd name="connsiteY12" fmla="*/ 413385 h 550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344" h="550986">
                  <a:moveTo>
                    <a:pt x="0" y="0"/>
                  </a:moveTo>
                  <a:cubicBezTo>
                    <a:pt x="16510" y="18415"/>
                    <a:pt x="33020" y="36830"/>
                    <a:pt x="49530" y="62865"/>
                  </a:cubicBezTo>
                  <a:cubicBezTo>
                    <a:pt x="66040" y="88900"/>
                    <a:pt x="90805" y="129540"/>
                    <a:pt x="99060" y="156210"/>
                  </a:cubicBezTo>
                  <a:cubicBezTo>
                    <a:pt x="107315" y="182880"/>
                    <a:pt x="95885" y="201613"/>
                    <a:pt x="99060" y="222885"/>
                  </a:cubicBezTo>
                  <a:cubicBezTo>
                    <a:pt x="102235" y="244157"/>
                    <a:pt x="102870" y="250508"/>
                    <a:pt x="118110" y="283845"/>
                  </a:cubicBezTo>
                  <a:cubicBezTo>
                    <a:pt x="133350" y="317182"/>
                    <a:pt x="165418" y="383858"/>
                    <a:pt x="190500" y="422910"/>
                  </a:cubicBezTo>
                  <a:cubicBezTo>
                    <a:pt x="215583" y="461963"/>
                    <a:pt x="244475" y="496888"/>
                    <a:pt x="268605" y="518160"/>
                  </a:cubicBezTo>
                  <a:cubicBezTo>
                    <a:pt x="292735" y="539433"/>
                    <a:pt x="320993" y="553720"/>
                    <a:pt x="335280" y="550545"/>
                  </a:cubicBezTo>
                  <a:cubicBezTo>
                    <a:pt x="349567" y="547370"/>
                    <a:pt x="358458" y="519113"/>
                    <a:pt x="354330" y="499110"/>
                  </a:cubicBezTo>
                  <a:cubicBezTo>
                    <a:pt x="350203" y="479108"/>
                    <a:pt x="328295" y="448628"/>
                    <a:pt x="310515" y="430530"/>
                  </a:cubicBezTo>
                  <a:cubicBezTo>
                    <a:pt x="292735" y="412433"/>
                    <a:pt x="261938" y="398145"/>
                    <a:pt x="247650" y="390525"/>
                  </a:cubicBezTo>
                  <a:cubicBezTo>
                    <a:pt x="233363" y="382905"/>
                    <a:pt x="227965" y="381000"/>
                    <a:pt x="224790" y="384810"/>
                  </a:cubicBezTo>
                  <a:cubicBezTo>
                    <a:pt x="221615" y="388620"/>
                    <a:pt x="225107" y="401002"/>
                    <a:pt x="228600" y="413385"/>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9" name="Freeform: Shape 58">
              <a:extLst>
                <a:ext uri="{FF2B5EF4-FFF2-40B4-BE49-F238E27FC236}">
                  <a16:creationId xmlns:a16="http://schemas.microsoft.com/office/drawing/2014/main" id="{A7148F35-B60E-4F2A-977A-844088003AAC}"/>
                </a:ext>
              </a:extLst>
            </p:cNvPr>
            <p:cNvSpPr/>
            <p:nvPr/>
          </p:nvSpPr>
          <p:spPr bwMode="auto">
            <a:xfrm>
              <a:off x="4554855" y="4130040"/>
              <a:ext cx="179183" cy="432435"/>
            </a:xfrm>
            <a:custGeom>
              <a:avLst/>
              <a:gdLst>
                <a:gd name="connsiteX0" fmla="*/ 169545 w 179183"/>
                <a:gd name="connsiteY0" fmla="*/ 0 h 432435"/>
                <a:gd name="connsiteX1" fmla="*/ 179070 w 179183"/>
                <a:gd name="connsiteY1" fmla="*/ 66675 h 432435"/>
                <a:gd name="connsiteX2" fmla="*/ 163830 w 179183"/>
                <a:gd name="connsiteY2" fmla="*/ 156210 h 432435"/>
                <a:gd name="connsiteX3" fmla="*/ 131445 w 179183"/>
                <a:gd name="connsiteY3" fmla="*/ 220980 h 432435"/>
                <a:gd name="connsiteX4" fmla="*/ 74295 w 179183"/>
                <a:gd name="connsiteY4" fmla="*/ 280035 h 432435"/>
                <a:gd name="connsiteX5" fmla="*/ 19050 w 179183"/>
                <a:gd name="connsiteY5" fmla="*/ 356235 h 432435"/>
                <a:gd name="connsiteX6" fmla="*/ 0 w 179183"/>
                <a:gd name="connsiteY6" fmla="*/ 432435 h 432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83" h="432435">
                  <a:moveTo>
                    <a:pt x="169545" y="0"/>
                  </a:moveTo>
                  <a:cubicBezTo>
                    <a:pt x="174784" y="20320"/>
                    <a:pt x="180023" y="40640"/>
                    <a:pt x="179070" y="66675"/>
                  </a:cubicBezTo>
                  <a:cubicBezTo>
                    <a:pt x="178118" y="92710"/>
                    <a:pt x="171767" y="130493"/>
                    <a:pt x="163830" y="156210"/>
                  </a:cubicBezTo>
                  <a:cubicBezTo>
                    <a:pt x="155893" y="181927"/>
                    <a:pt x="146367" y="200343"/>
                    <a:pt x="131445" y="220980"/>
                  </a:cubicBezTo>
                  <a:cubicBezTo>
                    <a:pt x="116522" y="241618"/>
                    <a:pt x="93027" y="257493"/>
                    <a:pt x="74295" y="280035"/>
                  </a:cubicBezTo>
                  <a:cubicBezTo>
                    <a:pt x="55562" y="302578"/>
                    <a:pt x="31432" y="330835"/>
                    <a:pt x="19050" y="356235"/>
                  </a:cubicBezTo>
                  <a:cubicBezTo>
                    <a:pt x="6668" y="381635"/>
                    <a:pt x="3334" y="407035"/>
                    <a:pt x="0" y="432435"/>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grpSp>
          <p:nvGrpSpPr>
            <p:cNvPr id="60" name="Group 59">
              <a:extLst>
                <a:ext uri="{FF2B5EF4-FFF2-40B4-BE49-F238E27FC236}">
                  <a16:creationId xmlns:a16="http://schemas.microsoft.com/office/drawing/2014/main" id="{12F5887E-02C5-461F-ACAF-A0494D696747}"/>
                </a:ext>
              </a:extLst>
            </p:cNvPr>
            <p:cNvGrpSpPr/>
            <p:nvPr/>
          </p:nvGrpSpPr>
          <p:grpSpPr>
            <a:xfrm>
              <a:off x="6062502" y="3249417"/>
              <a:ext cx="444073" cy="424765"/>
              <a:chOff x="6062502" y="3249417"/>
              <a:chExt cx="444073" cy="424765"/>
            </a:xfrm>
          </p:grpSpPr>
          <p:sp>
            <p:nvSpPr>
              <p:cNvPr id="213" name="Freeform: Shape 212">
                <a:extLst>
                  <a:ext uri="{FF2B5EF4-FFF2-40B4-BE49-F238E27FC236}">
                    <a16:creationId xmlns:a16="http://schemas.microsoft.com/office/drawing/2014/main" id="{FEE15F19-3769-4538-8268-CDFC2B709918}"/>
                  </a:ext>
                </a:extLst>
              </p:cNvPr>
              <p:cNvSpPr/>
              <p:nvPr/>
            </p:nvSpPr>
            <p:spPr bwMode="auto">
              <a:xfrm>
                <a:off x="6062502" y="3249417"/>
                <a:ext cx="444073" cy="424765"/>
              </a:xfrm>
              <a:custGeom>
                <a:avLst/>
                <a:gdLst>
                  <a:gd name="connsiteX0" fmla="*/ 20163 w 444073"/>
                  <a:gd name="connsiteY0" fmla="*/ 513 h 424765"/>
                  <a:gd name="connsiteX1" fmla="*/ 8733 w 444073"/>
                  <a:gd name="connsiteY1" fmla="*/ 65283 h 424765"/>
                  <a:gd name="connsiteX2" fmla="*/ 105888 w 444073"/>
                  <a:gd name="connsiteY2" fmla="*/ 114813 h 424765"/>
                  <a:gd name="connsiteX3" fmla="*/ 164943 w 444073"/>
                  <a:gd name="connsiteY3" fmla="*/ 149103 h 424765"/>
                  <a:gd name="connsiteX4" fmla="*/ 185898 w 444073"/>
                  <a:gd name="connsiteY4" fmla="*/ 200538 h 424765"/>
                  <a:gd name="connsiteX5" fmla="*/ 246858 w 444073"/>
                  <a:gd name="connsiteY5" fmla="*/ 255783 h 424765"/>
                  <a:gd name="connsiteX6" fmla="*/ 286863 w 444073"/>
                  <a:gd name="connsiteY6" fmla="*/ 271023 h 424765"/>
                  <a:gd name="connsiteX7" fmla="*/ 334488 w 444073"/>
                  <a:gd name="connsiteY7" fmla="*/ 337698 h 424765"/>
                  <a:gd name="connsiteX8" fmla="*/ 376398 w 444073"/>
                  <a:gd name="connsiteY8" fmla="*/ 417708 h 424765"/>
                  <a:gd name="connsiteX9" fmla="*/ 439263 w 444073"/>
                  <a:gd name="connsiteY9" fmla="*/ 415803 h 424765"/>
                  <a:gd name="connsiteX10" fmla="*/ 435453 w 444073"/>
                  <a:gd name="connsiteY10" fmla="*/ 373893 h 424765"/>
                  <a:gd name="connsiteX11" fmla="*/ 401163 w 444073"/>
                  <a:gd name="connsiteY11" fmla="*/ 297693 h 424765"/>
                  <a:gd name="connsiteX12" fmla="*/ 311628 w 444073"/>
                  <a:gd name="connsiteY12" fmla="*/ 170058 h 424765"/>
                  <a:gd name="connsiteX13" fmla="*/ 225903 w 444073"/>
                  <a:gd name="connsiteY13" fmla="*/ 103383 h 424765"/>
                  <a:gd name="connsiteX14" fmla="*/ 145893 w 444073"/>
                  <a:gd name="connsiteY14" fmla="*/ 38613 h 424765"/>
                  <a:gd name="connsiteX15" fmla="*/ 20163 w 444073"/>
                  <a:gd name="connsiteY15" fmla="*/ 513 h 42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4073" h="424765">
                    <a:moveTo>
                      <a:pt x="20163" y="513"/>
                    </a:moveTo>
                    <a:cubicBezTo>
                      <a:pt x="-2697" y="4958"/>
                      <a:pt x="-5555" y="46233"/>
                      <a:pt x="8733" y="65283"/>
                    </a:cubicBezTo>
                    <a:cubicBezTo>
                      <a:pt x="23021" y="84333"/>
                      <a:pt x="79853" y="100843"/>
                      <a:pt x="105888" y="114813"/>
                    </a:cubicBezTo>
                    <a:cubicBezTo>
                      <a:pt x="131923" y="128783"/>
                      <a:pt x="151608" y="134816"/>
                      <a:pt x="164943" y="149103"/>
                    </a:cubicBezTo>
                    <a:cubicBezTo>
                      <a:pt x="178278" y="163390"/>
                      <a:pt x="172246" y="182758"/>
                      <a:pt x="185898" y="200538"/>
                    </a:cubicBezTo>
                    <a:cubicBezTo>
                      <a:pt x="199550" y="218318"/>
                      <a:pt x="230031" y="244036"/>
                      <a:pt x="246858" y="255783"/>
                    </a:cubicBezTo>
                    <a:cubicBezTo>
                      <a:pt x="263685" y="267530"/>
                      <a:pt x="272258" y="257371"/>
                      <a:pt x="286863" y="271023"/>
                    </a:cubicBezTo>
                    <a:cubicBezTo>
                      <a:pt x="301468" y="284675"/>
                      <a:pt x="319565" y="313250"/>
                      <a:pt x="334488" y="337698"/>
                    </a:cubicBezTo>
                    <a:cubicBezTo>
                      <a:pt x="349411" y="362146"/>
                      <a:pt x="358935" y="404690"/>
                      <a:pt x="376398" y="417708"/>
                    </a:cubicBezTo>
                    <a:cubicBezTo>
                      <a:pt x="393861" y="430726"/>
                      <a:pt x="429420" y="423106"/>
                      <a:pt x="439263" y="415803"/>
                    </a:cubicBezTo>
                    <a:cubicBezTo>
                      <a:pt x="449106" y="408500"/>
                      <a:pt x="441803" y="393578"/>
                      <a:pt x="435453" y="373893"/>
                    </a:cubicBezTo>
                    <a:cubicBezTo>
                      <a:pt x="429103" y="354208"/>
                      <a:pt x="421801" y="331666"/>
                      <a:pt x="401163" y="297693"/>
                    </a:cubicBezTo>
                    <a:cubicBezTo>
                      <a:pt x="380525" y="263720"/>
                      <a:pt x="340838" y="202443"/>
                      <a:pt x="311628" y="170058"/>
                    </a:cubicBezTo>
                    <a:cubicBezTo>
                      <a:pt x="282418" y="137673"/>
                      <a:pt x="253526" y="125291"/>
                      <a:pt x="225903" y="103383"/>
                    </a:cubicBezTo>
                    <a:cubicBezTo>
                      <a:pt x="198280" y="81475"/>
                      <a:pt x="175420" y="55758"/>
                      <a:pt x="145893" y="38613"/>
                    </a:cubicBezTo>
                    <a:cubicBezTo>
                      <a:pt x="116366" y="21468"/>
                      <a:pt x="43023" y="-3932"/>
                      <a:pt x="20163" y="51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14" name="Freeform 50">
                <a:extLst>
                  <a:ext uri="{FF2B5EF4-FFF2-40B4-BE49-F238E27FC236}">
                    <a16:creationId xmlns:a16="http://schemas.microsoft.com/office/drawing/2014/main" id="{94415B0F-0768-4838-87CF-804F1A255EBD}"/>
                  </a:ext>
                </a:extLst>
              </p:cNvPr>
              <p:cNvSpPr>
                <a:spLocks/>
              </p:cNvSpPr>
              <p:nvPr/>
            </p:nvSpPr>
            <p:spPr bwMode="auto">
              <a:xfrm rot="21233883">
                <a:off x="6267442" y="3392039"/>
                <a:ext cx="82065" cy="87295"/>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61" name="Group 60">
              <a:extLst>
                <a:ext uri="{FF2B5EF4-FFF2-40B4-BE49-F238E27FC236}">
                  <a16:creationId xmlns:a16="http://schemas.microsoft.com/office/drawing/2014/main" id="{5B5763CD-764A-437E-A1BC-228B72F62C3C}"/>
                </a:ext>
              </a:extLst>
            </p:cNvPr>
            <p:cNvGrpSpPr/>
            <p:nvPr/>
          </p:nvGrpSpPr>
          <p:grpSpPr>
            <a:xfrm rot="3695183">
              <a:off x="6208798" y="3756801"/>
              <a:ext cx="444073" cy="424765"/>
              <a:chOff x="6062502" y="3249417"/>
              <a:chExt cx="444073" cy="424765"/>
            </a:xfrm>
          </p:grpSpPr>
          <p:sp>
            <p:nvSpPr>
              <p:cNvPr id="211" name="Freeform: Shape 210">
                <a:extLst>
                  <a:ext uri="{FF2B5EF4-FFF2-40B4-BE49-F238E27FC236}">
                    <a16:creationId xmlns:a16="http://schemas.microsoft.com/office/drawing/2014/main" id="{DB32D3D9-8298-494D-ADC8-ABB20FE0BFED}"/>
                  </a:ext>
                </a:extLst>
              </p:cNvPr>
              <p:cNvSpPr/>
              <p:nvPr/>
            </p:nvSpPr>
            <p:spPr bwMode="auto">
              <a:xfrm>
                <a:off x="6062502" y="3249417"/>
                <a:ext cx="444073" cy="424765"/>
              </a:xfrm>
              <a:custGeom>
                <a:avLst/>
                <a:gdLst>
                  <a:gd name="connsiteX0" fmla="*/ 20163 w 444073"/>
                  <a:gd name="connsiteY0" fmla="*/ 513 h 424765"/>
                  <a:gd name="connsiteX1" fmla="*/ 8733 w 444073"/>
                  <a:gd name="connsiteY1" fmla="*/ 65283 h 424765"/>
                  <a:gd name="connsiteX2" fmla="*/ 105888 w 444073"/>
                  <a:gd name="connsiteY2" fmla="*/ 114813 h 424765"/>
                  <a:gd name="connsiteX3" fmla="*/ 164943 w 444073"/>
                  <a:gd name="connsiteY3" fmla="*/ 149103 h 424765"/>
                  <a:gd name="connsiteX4" fmla="*/ 185898 w 444073"/>
                  <a:gd name="connsiteY4" fmla="*/ 200538 h 424765"/>
                  <a:gd name="connsiteX5" fmla="*/ 246858 w 444073"/>
                  <a:gd name="connsiteY5" fmla="*/ 255783 h 424765"/>
                  <a:gd name="connsiteX6" fmla="*/ 286863 w 444073"/>
                  <a:gd name="connsiteY6" fmla="*/ 271023 h 424765"/>
                  <a:gd name="connsiteX7" fmla="*/ 334488 w 444073"/>
                  <a:gd name="connsiteY7" fmla="*/ 337698 h 424765"/>
                  <a:gd name="connsiteX8" fmla="*/ 376398 w 444073"/>
                  <a:gd name="connsiteY8" fmla="*/ 417708 h 424765"/>
                  <a:gd name="connsiteX9" fmla="*/ 439263 w 444073"/>
                  <a:gd name="connsiteY9" fmla="*/ 415803 h 424765"/>
                  <a:gd name="connsiteX10" fmla="*/ 435453 w 444073"/>
                  <a:gd name="connsiteY10" fmla="*/ 373893 h 424765"/>
                  <a:gd name="connsiteX11" fmla="*/ 401163 w 444073"/>
                  <a:gd name="connsiteY11" fmla="*/ 297693 h 424765"/>
                  <a:gd name="connsiteX12" fmla="*/ 311628 w 444073"/>
                  <a:gd name="connsiteY12" fmla="*/ 170058 h 424765"/>
                  <a:gd name="connsiteX13" fmla="*/ 225903 w 444073"/>
                  <a:gd name="connsiteY13" fmla="*/ 103383 h 424765"/>
                  <a:gd name="connsiteX14" fmla="*/ 145893 w 444073"/>
                  <a:gd name="connsiteY14" fmla="*/ 38613 h 424765"/>
                  <a:gd name="connsiteX15" fmla="*/ 20163 w 444073"/>
                  <a:gd name="connsiteY15" fmla="*/ 513 h 42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4073" h="424765">
                    <a:moveTo>
                      <a:pt x="20163" y="513"/>
                    </a:moveTo>
                    <a:cubicBezTo>
                      <a:pt x="-2697" y="4958"/>
                      <a:pt x="-5555" y="46233"/>
                      <a:pt x="8733" y="65283"/>
                    </a:cubicBezTo>
                    <a:cubicBezTo>
                      <a:pt x="23021" y="84333"/>
                      <a:pt x="79853" y="100843"/>
                      <a:pt x="105888" y="114813"/>
                    </a:cubicBezTo>
                    <a:cubicBezTo>
                      <a:pt x="131923" y="128783"/>
                      <a:pt x="151608" y="134816"/>
                      <a:pt x="164943" y="149103"/>
                    </a:cubicBezTo>
                    <a:cubicBezTo>
                      <a:pt x="178278" y="163390"/>
                      <a:pt x="172246" y="182758"/>
                      <a:pt x="185898" y="200538"/>
                    </a:cubicBezTo>
                    <a:cubicBezTo>
                      <a:pt x="199550" y="218318"/>
                      <a:pt x="230031" y="244036"/>
                      <a:pt x="246858" y="255783"/>
                    </a:cubicBezTo>
                    <a:cubicBezTo>
                      <a:pt x="263685" y="267530"/>
                      <a:pt x="272258" y="257371"/>
                      <a:pt x="286863" y="271023"/>
                    </a:cubicBezTo>
                    <a:cubicBezTo>
                      <a:pt x="301468" y="284675"/>
                      <a:pt x="319565" y="313250"/>
                      <a:pt x="334488" y="337698"/>
                    </a:cubicBezTo>
                    <a:cubicBezTo>
                      <a:pt x="349411" y="362146"/>
                      <a:pt x="358935" y="404690"/>
                      <a:pt x="376398" y="417708"/>
                    </a:cubicBezTo>
                    <a:cubicBezTo>
                      <a:pt x="393861" y="430726"/>
                      <a:pt x="429420" y="423106"/>
                      <a:pt x="439263" y="415803"/>
                    </a:cubicBezTo>
                    <a:cubicBezTo>
                      <a:pt x="449106" y="408500"/>
                      <a:pt x="441803" y="393578"/>
                      <a:pt x="435453" y="373893"/>
                    </a:cubicBezTo>
                    <a:cubicBezTo>
                      <a:pt x="429103" y="354208"/>
                      <a:pt x="421801" y="331666"/>
                      <a:pt x="401163" y="297693"/>
                    </a:cubicBezTo>
                    <a:cubicBezTo>
                      <a:pt x="380525" y="263720"/>
                      <a:pt x="340838" y="202443"/>
                      <a:pt x="311628" y="170058"/>
                    </a:cubicBezTo>
                    <a:cubicBezTo>
                      <a:pt x="282418" y="137673"/>
                      <a:pt x="253526" y="125291"/>
                      <a:pt x="225903" y="103383"/>
                    </a:cubicBezTo>
                    <a:cubicBezTo>
                      <a:pt x="198280" y="81475"/>
                      <a:pt x="175420" y="55758"/>
                      <a:pt x="145893" y="38613"/>
                    </a:cubicBezTo>
                    <a:cubicBezTo>
                      <a:pt x="116366" y="21468"/>
                      <a:pt x="43023" y="-3932"/>
                      <a:pt x="20163" y="51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12" name="Freeform 50">
                <a:extLst>
                  <a:ext uri="{FF2B5EF4-FFF2-40B4-BE49-F238E27FC236}">
                    <a16:creationId xmlns:a16="http://schemas.microsoft.com/office/drawing/2014/main" id="{317073EE-E93A-4499-BCA7-781F16EC6B92}"/>
                  </a:ext>
                </a:extLst>
              </p:cNvPr>
              <p:cNvSpPr>
                <a:spLocks/>
              </p:cNvSpPr>
              <p:nvPr/>
            </p:nvSpPr>
            <p:spPr bwMode="auto">
              <a:xfrm rot="21233883">
                <a:off x="6267442" y="3392039"/>
                <a:ext cx="82065" cy="87295"/>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62" name="Group 61">
              <a:extLst>
                <a:ext uri="{FF2B5EF4-FFF2-40B4-BE49-F238E27FC236}">
                  <a16:creationId xmlns:a16="http://schemas.microsoft.com/office/drawing/2014/main" id="{713BE1AB-477A-450C-BD54-30A0F5A7CEC4}"/>
                </a:ext>
              </a:extLst>
            </p:cNvPr>
            <p:cNvGrpSpPr/>
            <p:nvPr/>
          </p:nvGrpSpPr>
          <p:grpSpPr>
            <a:xfrm rot="7128824">
              <a:off x="5844451" y="4124439"/>
              <a:ext cx="444073" cy="424765"/>
              <a:chOff x="6062502" y="3249417"/>
              <a:chExt cx="444073" cy="424765"/>
            </a:xfrm>
          </p:grpSpPr>
          <p:sp>
            <p:nvSpPr>
              <p:cNvPr id="209" name="Freeform: Shape 208">
                <a:extLst>
                  <a:ext uri="{FF2B5EF4-FFF2-40B4-BE49-F238E27FC236}">
                    <a16:creationId xmlns:a16="http://schemas.microsoft.com/office/drawing/2014/main" id="{6E981F24-473A-4449-B527-7E0D756DA207}"/>
                  </a:ext>
                </a:extLst>
              </p:cNvPr>
              <p:cNvSpPr/>
              <p:nvPr/>
            </p:nvSpPr>
            <p:spPr bwMode="auto">
              <a:xfrm>
                <a:off x="6062502" y="3249417"/>
                <a:ext cx="444073" cy="424765"/>
              </a:xfrm>
              <a:custGeom>
                <a:avLst/>
                <a:gdLst>
                  <a:gd name="connsiteX0" fmla="*/ 20163 w 444073"/>
                  <a:gd name="connsiteY0" fmla="*/ 513 h 424765"/>
                  <a:gd name="connsiteX1" fmla="*/ 8733 w 444073"/>
                  <a:gd name="connsiteY1" fmla="*/ 65283 h 424765"/>
                  <a:gd name="connsiteX2" fmla="*/ 105888 w 444073"/>
                  <a:gd name="connsiteY2" fmla="*/ 114813 h 424765"/>
                  <a:gd name="connsiteX3" fmla="*/ 164943 w 444073"/>
                  <a:gd name="connsiteY3" fmla="*/ 149103 h 424765"/>
                  <a:gd name="connsiteX4" fmla="*/ 185898 w 444073"/>
                  <a:gd name="connsiteY4" fmla="*/ 200538 h 424765"/>
                  <a:gd name="connsiteX5" fmla="*/ 246858 w 444073"/>
                  <a:gd name="connsiteY5" fmla="*/ 255783 h 424765"/>
                  <a:gd name="connsiteX6" fmla="*/ 286863 w 444073"/>
                  <a:gd name="connsiteY6" fmla="*/ 271023 h 424765"/>
                  <a:gd name="connsiteX7" fmla="*/ 334488 w 444073"/>
                  <a:gd name="connsiteY7" fmla="*/ 337698 h 424765"/>
                  <a:gd name="connsiteX8" fmla="*/ 376398 w 444073"/>
                  <a:gd name="connsiteY8" fmla="*/ 417708 h 424765"/>
                  <a:gd name="connsiteX9" fmla="*/ 439263 w 444073"/>
                  <a:gd name="connsiteY9" fmla="*/ 415803 h 424765"/>
                  <a:gd name="connsiteX10" fmla="*/ 435453 w 444073"/>
                  <a:gd name="connsiteY10" fmla="*/ 373893 h 424765"/>
                  <a:gd name="connsiteX11" fmla="*/ 401163 w 444073"/>
                  <a:gd name="connsiteY11" fmla="*/ 297693 h 424765"/>
                  <a:gd name="connsiteX12" fmla="*/ 311628 w 444073"/>
                  <a:gd name="connsiteY12" fmla="*/ 170058 h 424765"/>
                  <a:gd name="connsiteX13" fmla="*/ 225903 w 444073"/>
                  <a:gd name="connsiteY13" fmla="*/ 103383 h 424765"/>
                  <a:gd name="connsiteX14" fmla="*/ 145893 w 444073"/>
                  <a:gd name="connsiteY14" fmla="*/ 38613 h 424765"/>
                  <a:gd name="connsiteX15" fmla="*/ 20163 w 444073"/>
                  <a:gd name="connsiteY15" fmla="*/ 513 h 42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4073" h="424765">
                    <a:moveTo>
                      <a:pt x="20163" y="513"/>
                    </a:moveTo>
                    <a:cubicBezTo>
                      <a:pt x="-2697" y="4958"/>
                      <a:pt x="-5555" y="46233"/>
                      <a:pt x="8733" y="65283"/>
                    </a:cubicBezTo>
                    <a:cubicBezTo>
                      <a:pt x="23021" y="84333"/>
                      <a:pt x="79853" y="100843"/>
                      <a:pt x="105888" y="114813"/>
                    </a:cubicBezTo>
                    <a:cubicBezTo>
                      <a:pt x="131923" y="128783"/>
                      <a:pt x="151608" y="134816"/>
                      <a:pt x="164943" y="149103"/>
                    </a:cubicBezTo>
                    <a:cubicBezTo>
                      <a:pt x="178278" y="163390"/>
                      <a:pt x="172246" y="182758"/>
                      <a:pt x="185898" y="200538"/>
                    </a:cubicBezTo>
                    <a:cubicBezTo>
                      <a:pt x="199550" y="218318"/>
                      <a:pt x="230031" y="244036"/>
                      <a:pt x="246858" y="255783"/>
                    </a:cubicBezTo>
                    <a:cubicBezTo>
                      <a:pt x="263685" y="267530"/>
                      <a:pt x="272258" y="257371"/>
                      <a:pt x="286863" y="271023"/>
                    </a:cubicBezTo>
                    <a:cubicBezTo>
                      <a:pt x="301468" y="284675"/>
                      <a:pt x="319565" y="313250"/>
                      <a:pt x="334488" y="337698"/>
                    </a:cubicBezTo>
                    <a:cubicBezTo>
                      <a:pt x="349411" y="362146"/>
                      <a:pt x="358935" y="404690"/>
                      <a:pt x="376398" y="417708"/>
                    </a:cubicBezTo>
                    <a:cubicBezTo>
                      <a:pt x="393861" y="430726"/>
                      <a:pt x="429420" y="423106"/>
                      <a:pt x="439263" y="415803"/>
                    </a:cubicBezTo>
                    <a:cubicBezTo>
                      <a:pt x="449106" y="408500"/>
                      <a:pt x="441803" y="393578"/>
                      <a:pt x="435453" y="373893"/>
                    </a:cubicBezTo>
                    <a:cubicBezTo>
                      <a:pt x="429103" y="354208"/>
                      <a:pt x="421801" y="331666"/>
                      <a:pt x="401163" y="297693"/>
                    </a:cubicBezTo>
                    <a:cubicBezTo>
                      <a:pt x="380525" y="263720"/>
                      <a:pt x="340838" y="202443"/>
                      <a:pt x="311628" y="170058"/>
                    </a:cubicBezTo>
                    <a:cubicBezTo>
                      <a:pt x="282418" y="137673"/>
                      <a:pt x="253526" y="125291"/>
                      <a:pt x="225903" y="103383"/>
                    </a:cubicBezTo>
                    <a:cubicBezTo>
                      <a:pt x="198280" y="81475"/>
                      <a:pt x="175420" y="55758"/>
                      <a:pt x="145893" y="38613"/>
                    </a:cubicBezTo>
                    <a:cubicBezTo>
                      <a:pt x="116366" y="21468"/>
                      <a:pt x="43023" y="-3932"/>
                      <a:pt x="20163" y="51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10" name="Freeform 50">
                <a:extLst>
                  <a:ext uri="{FF2B5EF4-FFF2-40B4-BE49-F238E27FC236}">
                    <a16:creationId xmlns:a16="http://schemas.microsoft.com/office/drawing/2014/main" id="{470FA87F-BF83-4834-8595-0FAD0E86717E}"/>
                  </a:ext>
                </a:extLst>
              </p:cNvPr>
              <p:cNvSpPr>
                <a:spLocks/>
              </p:cNvSpPr>
              <p:nvPr/>
            </p:nvSpPr>
            <p:spPr bwMode="auto">
              <a:xfrm rot="21233883">
                <a:off x="6267442" y="3392039"/>
                <a:ext cx="82065" cy="87295"/>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63" name="Group 62">
              <a:extLst>
                <a:ext uri="{FF2B5EF4-FFF2-40B4-BE49-F238E27FC236}">
                  <a16:creationId xmlns:a16="http://schemas.microsoft.com/office/drawing/2014/main" id="{45120D35-B292-4EAF-9A03-8A2460E37E69}"/>
                </a:ext>
              </a:extLst>
            </p:cNvPr>
            <p:cNvGrpSpPr/>
            <p:nvPr/>
          </p:nvGrpSpPr>
          <p:grpSpPr>
            <a:xfrm rot="10800000">
              <a:off x="5332673" y="4002317"/>
              <a:ext cx="444073" cy="424765"/>
              <a:chOff x="6062502" y="3249417"/>
              <a:chExt cx="444073" cy="424765"/>
            </a:xfrm>
          </p:grpSpPr>
          <p:sp>
            <p:nvSpPr>
              <p:cNvPr id="207" name="Freeform: Shape 206">
                <a:extLst>
                  <a:ext uri="{FF2B5EF4-FFF2-40B4-BE49-F238E27FC236}">
                    <a16:creationId xmlns:a16="http://schemas.microsoft.com/office/drawing/2014/main" id="{ABBA8E83-9A58-43CC-B2C1-54618D3E9163}"/>
                  </a:ext>
                </a:extLst>
              </p:cNvPr>
              <p:cNvSpPr/>
              <p:nvPr/>
            </p:nvSpPr>
            <p:spPr bwMode="auto">
              <a:xfrm>
                <a:off x="6062502" y="3249417"/>
                <a:ext cx="444073" cy="424765"/>
              </a:xfrm>
              <a:custGeom>
                <a:avLst/>
                <a:gdLst>
                  <a:gd name="connsiteX0" fmla="*/ 20163 w 444073"/>
                  <a:gd name="connsiteY0" fmla="*/ 513 h 424765"/>
                  <a:gd name="connsiteX1" fmla="*/ 8733 w 444073"/>
                  <a:gd name="connsiteY1" fmla="*/ 65283 h 424765"/>
                  <a:gd name="connsiteX2" fmla="*/ 105888 w 444073"/>
                  <a:gd name="connsiteY2" fmla="*/ 114813 h 424765"/>
                  <a:gd name="connsiteX3" fmla="*/ 164943 w 444073"/>
                  <a:gd name="connsiteY3" fmla="*/ 149103 h 424765"/>
                  <a:gd name="connsiteX4" fmla="*/ 185898 w 444073"/>
                  <a:gd name="connsiteY4" fmla="*/ 200538 h 424765"/>
                  <a:gd name="connsiteX5" fmla="*/ 246858 w 444073"/>
                  <a:gd name="connsiteY5" fmla="*/ 255783 h 424765"/>
                  <a:gd name="connsiteX6" fmla="*/ 286863 w 444073"/>
                  <a:gd name="connsiteY6" fmla="*/ 271023 h 424765"/>
                  <a:gd name="connsiteX7" fmla="*/ 334488 w 444073"/>
                  <a:gd name="connsiteY7" fmla="*/ 337698 h 424765"/>
                  <a:gd name="connsiteX8" fmla="*/ 376398 w 444073"/>
                  <a:gd name="connsiteY8" fmla="*/ 417708 h 424765"/>
                  <a:gd name="connsiteX9" fmla="*/ 439263 w 444073"/>
                  <a:gd name="connsiteY9" fmla="*/ 415803 h 424765"/>
                  <a:gd name="connsiteX10" fmla="*/ 435453 w 444073"/>
                  <a:gd name="connsiteY10" fmla="*/ 373893 h 424765"/>
                  <a:gd name="connsiteX11" fmla="*/ 401163 w 444073"/>
                  <a:gd name="connsiteY11" fmla="*/ 297693 h 424765"/>
                  <a:gd name="connsiteX12" fmla="*/ 311628 w 444073"/>
                  <a:gd name="connsiteY12" fmla="*/ 170058 h 424765"/>
                  <a:gd name="connsiteX13" fmla="*/ 225903 w 444073"/>
                  <a:gd name="connsiteY13" fmla="*/ 103383 h 424765"/>
                  <a:gd name="connsiteX14" fmla="*/ 145893 w 444073"/>
                  <a:gd name="connsiteY14" fmla="*/ 38613 h 424765"/>
                  <a:gd name="connsiteX15" fmla="*/ 20163 w 444073"/>
                  <a:gd name="connsiteY15" fmla="*/ 513 h 42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4073" h="424765">
                    <a:moveTo>
                      <a:pt x="20163" y="513"/>
                    </a:moveTo>
                    <a:cubicBezTo>
                      <a:pt x="-2697" y="4958"/>
                      <a:pt x="-5555" y="46233"/>
                      <a:pt x="8733" y="65283"/>
                    </a:cubicBezTo>
                    <a:cubicBezTo>
                      <a:pt x="23021" y="84333"/>
                      <a:pt x="79853" y="100843"/>
                      <a:pt x="105888" y="114813"/>
                    </a:cubicBezTo>
                    <a:cubicBezTo>
                      <a:pt x="131923" y="128783"/>
                      <a:pt x="151608" y="134816"/>
                      <a:pt x="164943" y="149103"/>
                    </a:cubicBezTo>
                    <a:cubicBezTo>
                      <a:pt x="178278" y="163390"/>
                      <a:pt x="172246" y="182758"/>
                      <a:pt x="185898" y="200538"/>
                    </a:cubicBezTo>
                    <a:cubicBezTo>
                      <a:pt x="199550" y="218318"/>
                      <a:pt x="230031" y="244036"/>
                      <a:pt x="246858" y="255783"/>
                    </a:cubicBezTo>
                    <a:cubicBezTo>
                      <a:pt x="263685" y="267530"/>
                      <a:pt x="272258" y="257371"/>
                      <a:pt x="286863" y="271023"/>
                    </a:cubicBezTo>
                    <a:cubicBezTo>
                      <a:pt x="301468" y="284675"/>
                      <a:pt x="319565" y="313250"/>
                      <a:pt x="334488" y="337698"/>
                    </a:cubicBezTo>
                    <a:cubicBezTo>
                      <a:pt x="349411" y="362146"/>
                      <a:pt x="358935" y="404690"/>
                      <a:pt x="376398" y="417708"/>
                    </a:cubicBezTo>
                    <a:cubicBezTo>
                      <a:pt x="393861" y="430726"/>
                      <a:pt x="429420" y="423106"/>
                      <a:pt x="439263" y="415803"/>
                    </a:cubicBezTo>
                    <a:cubicBezTo>
                      <a:pt x="449106" y="408500"/>
                      <a:pt x="441803" y="393578"/>
                      <a:pt x="435453" y="373893"/>
                    </a:cubicBezTo>
                    <a:cubicBezTo>
                      <a:pt x="429103" y="354208"/>
                      <a:pt x="421801" y="331666"/>
                      <a:pt x="401163" y="297693"/>
                    </a:cubicBezTo>
                    <a:cubicBezTo>
                      <a:pt x="380525" y="263720"/>
                      <a:pt x="340838" y="202443"/>
                      <a:pt x="311628" y="170058"/>
                    </a:cubicBezTo>
                    <a:cubicBezTo>
                      <a:pt x="282418" y="137673"/>
                      <a:pt x="253526" y="125291"/>
                      <a:pt x="225903" y="103383"/>
                    </a:cubicBezTo>
                    <a:cubicBezTo>
                      <a:pt x="198280" y="81475"/>
                      <a:pt x="175420" y="55758"/>
                      <a:pt x="145893" y="38613"/>
                    </a:cubicBezTo>
                    <a:cubicBezTo>
                      <a:pt x="116366" y="21468"/>
                      <a:pt x="43023" y="-3932"/>
                      <a:pt x="20163" y="51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08" name="Freeform 50">
                <a:extLst>
                  <a:ext uri="{FF2B5EF4-FFF2-40B4-BE49-F238E27FC236}">
                    <a16:creationId xmlns:a16="http://schemas.microsoft.com/office/drawing/2014/main" id="{60D7666C-5532-434F-A6FA-30B977369E65}"/>
                  </a:ext>
                </a:extLst>
              </p:cNvPr>
              <p:cNvSpPr>
                <a:spLocks/>
              </p:cNvSpPr>
              <p:nvPr/>
            </p:nvSpPr>
            <p:spPr bwMode="auto">
              <a:xfrm rot="21233883">
                <a:off x="6267442" y="3392039"/>
                <a:ext cx="82065" cy="87295"/>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64" name="Group 63">
              <a:extLst>
                <a:ext uri="{FF2B5EF4-FFF2-40B4-BE49-F238E27FC236}">
                  <a16:creationId xmlns:a16="http://schemas.microsoft.com/office/drawing/2014/main" id="{B936CDF3-A963-4D8F-8399-D46172F9F4ED}"/>
                </a:ext>
              </a:extLst>
            </p:cNvPr>
            <p:cNvGrpSpPr/>
            <p:nvPr/>
          </p:nvGrpSpPr>
          <p:grpSpPr>
            <a:xfrm rot="14437873">
              <a:off x="5185969" y="3499150"/>
              <a:ext cx="444073" cy="424765"/>
              <a:chOff x="6062502" y="3249417"/>
              <a:chExt cx="444073" cy="424765"/>
            </a:xfrm>
          </p:grpSpPr>
          <p:sp>
            <p:nvSpPr>
              <p:cNvPr id="205" name="Freeform: Shape 204">
                <a:extLst>
                  <a:ext uri="{FF2B5EF4-FFF2-40B4-BE49-F238E27FC236}">
                    <a16:creationId xmlns:a16="http://schemas.microsoft.com/office/drawing/2014/main" id="{A98C5535-966B-4A9B-9BA8-7D4515B76466}"/>
                  </a:ext>
                </a:extLst>
              </p:cNvPr>
              <p:cNvSpPr/>
              <p:nvPr/>
            </p:nvSpPr>
            <p:spPr bwMode="auto">
              <a:xfrm>
                <a:off x="6062502" y="3249417"/>
                <a:ext cx="444073" cy="424765"/>
              </a:xfrm>
              <a:custGeom>
                <a:avLst/>
                <a:gdLst>
                  <a:gd name="connsiteX0" fmla="*/ 20163 w 444073"/>
                  <a:gd name="connsiteY0" fmla="*/ 513 h 424765"/>
                  <a:gd name="connsiteX1" fmla="*/ 8733 w 444073"/>
                  <a:gd name="connsiteY1" fmla="*/ 65283 h 424765"/>
                  <a:gd name="connsiteX2" fmla="*/ 105888 w 444073"/>
                  <a:gd name="connsiteY2" fmla="*/ 114813 h 424765"/>
                  <a:gd name="connsiteX3" fmla="*/ 164943 w 444073"/>
                  <a:gd name="connsiteY3" fmla="*/ 149103 h 424765"/>
                  <a:gd name="connsiteX4" fmla="*/ 185898 w 444073"/>
                  <a:gd name="connsiteY4" fmla="*/ 200538 h 424765"/>
                  <a:gd name="connsiteX5" fmla="*/ 246858 w 444073"/>
                  <a:gd name="connsiteY5" fmla="*/ 255783 h 424765"/>
                  <a:gd name="connsiteX6" fmla="*/ 286863 w 444073"/>
                  <a:gd name="connsiteY6" fmla="*/ 271023 h 424765"/>
                  <a:gd name="connsiteX7" fmla="*/ 334488 w 444073"/>
                  <a:gd name="connsiteY7" fmla="*/ 337698 h 424765"/>
                  <a:gd name="connsiteX8" fmla="*/ 376398 w 444073"/>
                  <a:gd name="connsiteY8" fmla="*/ 417708 h 424765"/>
                  <a:gd name="connsiteX9" fmla="*/ 439263 w 444073"/>
                  <a:gd name="connsiteY9" fmla="*/ 415803 h 424765"/>
                  <a:gd name="connsiteX10" fmla="*/ 435453 w 444073"/>
                  <a:gd name="connsiteY10" fmla="*/ 373893 h 424765"/>
                  <a:gd name="connsiteX11" fmla="*/ 401163 w 444073"/>
                  <a:gd name="connsiteY11" fmla="*/ 297693 h 424765"/>
                  <a:gd name="connsiteX12" fmla="*/ 311628 w 444073"/>
                  <a:gd name="connsiteY12" fmla="*/ 170058 h 424765"/>
                  <a:gd name="connsiteX13" fmla="*/ 225903 w 444073"/>
                  <a:gd name="connsiteY13" fmla="*/ 103383 h 424765"/>
                  <a:gd name="connsiteX14" fmla="*/ 145893 w 444073"/>
                  <a:gd name="connsiteY14" fmla="*/ 38613 h 424765"/>
                  <a:gd name="connsiteX15" fmla="*/ 20163 w 444073"/>
                  <a:gd name="connsiteY15" fmla="*/ 513 h 42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4073" h="424765">
                    <a:moveTo>
                      <a:pt x="20163" y="513"/>
                    </a:moveTo>
                    <a:cubicBezTo>
                      <a:pt x="-2697" y="4958"/>
                      <a:pt x="-5555" y="46233"/>
                      <a:pt x="8733" y="65283"/>
                    </a:cubicBezTo>
                    <a:cubicBezTo>
                      <a:pt x="23021" y="84333"/>
                      <a:pt x="79853" y="100843"/>
                      <a:pt x="105888" y="114813"/>
                    </a:cubicBezTo>
                    <a:cubicBezTo>
                      <a:pt x="131923" y="128783"/>
                      <a:pt x="151608" y="134816"/>
                      <a:pt x="164943" y="149103"/>
                    </a:cubicBezTo>
                    <a:cubicBezTo>
                      <a:pt x="178278" y="163390"/>
                      <a:pt x="172246" y="182758"/>
                      <a:pt x="185898" y="200538"/>
                    </a:cubicBezTo>
                    <a:cubicBezTo>
                      <a:pt x="199550" y="218318"/>
                      <a:pt x="230031" y="244036"/>
                      <a:pt x="246858" y="255783"/>
                    </a:cubicBezTo>
                    <a:cubicBezTo>
                      <a:pt x="263685" y="267530"/>
                      <a:pt x="272258" y="257371"/>
                      <a:pt x="286863" y="271023"/>
                    </a:cubicBezTo>
                    <a:cubicBezTo>
                      <a:pt x="301468" y="284675"/>
                      <a:pt x="319565" y="313250"/>
                      <a:pt x="334488" y="337698"/>
                    </a:cubicBezTo>
                    <a:cubicBezTo>
                      <a:pt x="349411" y="362146"/>
                      <a:pt x="358935" y="404690"/>
                      <a:pt x="376398" y="417708"/>
                    </a:cubicBezTo>
                    <a:cubicBezTo>
                      <a:pt x="393861" y="430726"/>
                      <a:pt x="429420" y="423106"/>
                      <a:pt x="439263" y="415803"/>
                    </a:cubicBezTo>
                    <a:cubicBezTo>
                      <a:pt x="449106" y="408500"/>
                      <a:pt x="441803" y="393578"/>
                      <a:pt x="435453" y="373893"/>
                    </a:cubicBezTo>
                    <a:cubicBezTo>
                      <a:pt x="429103" y="354208"/>
                      <a:pt x="421801" y="331666"/>
                      <a:pt x="401163" y="297693"/>
                    </a:cubicBezTo>
                    <a:cubicBezTo>
                      <a:pt x="380525" y="263720"/>
                      <a:pt x="340838" y="202443"/>
                      <a:pt x="311628" y="170058"/>
                    </a:cubicBezTo>
                    <a:cubicBezTo>
                      <a:pt x="282418" y="137673"/>
                      <a:pt x="253526" y="125291"/>
                      <a:pt x="225903" y="103383"/>
                    </a:cubicBezTo>
                    <a:cubicBezTo>
                      <a:pt x="198280" y="81475"/>
                      <a:pt x="175420" y="55758"/>
                      <a:pt x="145893" y="38613"/>
                    </a:cubicBezTo>
                    <a:cubicBezTo>
                      <a:pt x="116366" y="21468"/>
                      <a:pt x="43023" y="-3932"/>
                      <a:pt x="20163" y="51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06" name="Freeform 50">
                <a:extLst>
                  <a:ext uri="{FF2B5EF4-FFF2-40B4-BE49-F238E27FC236}">
                    <a16:creationId xmlns:a16="http://schemas.microsoft.com/office/drawing/2014/main" id="{189BB8A5-61CB-426D-A307-375A8CD5D1E1}"/>
                  </a:ext>
                </a:extLst>
              </p:cNvPr>
              <p:cNvSpPr>
                <a:spLocks/>
              </p:cNvSpPr>
              <p:nvPr/>
            </p:nvSpPr>
            <p:spPr bwMode="auto">
              <a:xfrm rot="21233883">
                <a:off x="6267442" y="3392039"/>
                <a:ext cx="82065" cy="87295"/>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65" name="Group 64">
              <a:extLst>
                <a:ext uri="{FF2B5EF4-FFF2-40B4-BE49-F238E27FC236}">
                  <a16:creationId xmlns:a16="http://schemas.microsoft.com/office/drawing/2014/main" id="{DA2DCF4F-BE8A-4904-BCA6-0853331CD118}"/>
                </a:ext>
              </a:extLst>
            </p:cNvPr>
            <p:cNvGrpSpPr/>
            <p:nvPr/>
          </p:nvGrpSpPr>
          <p:grpSpPr>
            <a:xfrm rot="18039707">
              <a:off x="5557011" y="3120557"/>
              <a:ext cx="444073" cy="424765"/>
              <a:chOff x="6062502" y="3249417"/>
              <a:chExt cx="444073" cy="424765"/>
            </a:xfrm>
          </p:grpSpPr>
          <p:sp>
            <p:nvSpPr>
              <p:cNvPr id="203" name="Freeform: Shape 202">
                <a:extLst>
                  <a:ext uri="{FF2B5EF4-FFF2-40B4-BE49-F238E27FC236}">
                    <a16:creationId xmlns:a16="http://schemas.microsoft.com/office/drawing/2014/main" id="{9CF1B7EC-2330-492C-BCE3-7B6C7B92B4F1}"/>
                  </a:ext>
                </a:extLst>
              </p:cNvPr>
              <p:cNvSpPr/>
              <p:nvPr/>
            </p:nvSpPr>
            <p:spPr bwMode="auto">
              <a:xfrm>
                <a:off x="6062502" y="3249417"/>
                <a:ext cx="444073" cy="424765"/>
              </a:xfrm>
              <a:custGeom>
                <a:avLst/>
                <a:gdLst>
                  <a:gd name="connsiteX0" fmla="*/ 20163 w 444073"/>
                  <a:gd name="connsiteY0" fmla="*/ 513 h 424765"/>
                  <a:gd name="connsiteX1" fmla="*/ 8733 w 444073"/>
                  <a:gd name="connsiteY1" fmla="*/ 65283 h 424765"/>
                  <a:gd name="connsiteX2" fmla="*/ 105888 w 444073"/>
                  <a:gd name="connsiteY2" fmla="*/ 114813 h 424765"/>
                  <a:gd name="connsiteX3" fmla="*/ 164943 w 444073"/>
                  <a:gd name="connsiteY3" fmla="*/ 149103 h 424765"/>
                  <a:gd name="connsiteX4" fmla="*/ 185898 w 444073"/>
                  <a:gd name="connsiteY4" fmla="*/ 200538 h 424765"/>
                  <a:gd name="connsiteX5" fmla="*/ 246858 w 444073"/>
                  <a:gd name="connsiteY5" fmla="*/ 255783 h 424765"/>
                  <a:gd name="connsiteX6" fmla="*/ 286863 w 444073"/>
                  <a:gd name="connsiteY6" fmla="*/ 271023 h 424765"/>
                  <a:gd name="connsiteX7" fmla="*/ 334488 w 444073"/>
                  <a:gd name="connsiteY7" fmla="*/ 337698 h 424765"/>
                  <a:gd name="connsiteX8" fmla="*/ 376398 w 444073"/>
                  <a:gd name="connsiteY8" fmla="*/ 417708 h 424765"/>
                  <a:gd name="connsiteX9" fmla="*/ 439263 w 444073"/>
                  <a:gd name="connsiteY9" fmla="*/ 415803 h 424765"/>
                  <a:gd name="connsiteX10" fmla="*/ 435453 w 444073"/>
                  <a:gd name="connsiteY10" fmla="*/ 373893 h 424765"/>
                  <a:gd name="connsiteX11" fmla="*/ 401163 w 444073"/>
                  <a:gd name="connsiteY11" fmla="*/ 297693 h 424765"/>
                  <a:gd name="connsiteX12" fmla="*/ 311628 w 444073"/>
                  <a:gd name="connsiteY12" fmla="*/ 170058 h 424765"/>
                  <a:gd name="connsiteX13" fmla="*/ 225903 w 444073"/>
                  <a:gd name="connsiteY13" fmla="*/ 103383 h 424765"/>
                  <a:gd name="connsiteX14" fmla="*/ 145893 w 444073"/>
                  <a:gd name="connsiteY14" fmla="*/ 38613 h 424765"/>
                  <a:gd name="connsiteX15" fmla="*/ 20163 w 444073"/>
                  <a:gd name="connsiteY15" fmla="*/ 513 h 42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4073" h="424765">
                    <a:moveTo>
                      <a:pt x="20163" y="513"/>
                    </a:moveTo>
                    <a:cubicBezTo>
                      <a:pt x="-2697" y="4958"/>
                      <a:pt x="-5555" y="46233"/>
                      <a:pt x="8733" y="65283"/>
                    </a:cubicBezTo>
                    <a:cubicBezTo>
                      <a:pt x="23021" y="84333"/>
                      <a:pt x="79853" y="100843"/>
                      <a:pt x="105888" y="114813"/>
                    </a:cubicBezTo>
                    <a:cubicBezTo>
                      <a:pt x="131923" y="128783"/>
                      <a:pt x="151608" y="134816"/>
                      <a:pt x="164943" y="149103"/>
                    </a:cubicBezTo>
                    <a:cubicBezTo>
                      <a:pt x="178278" y="163390"/>
                      <a:pt x="172246" y="182758"/>
                      <a:pt x="185898" y="200538"/>
                    </a:cubicBezTo>
                    <a:cubicBezTo>
                      <a:pt x="199550" y="218318"/>
                      <a:pt x="230031" y="244036"/>
                      <a:pt x="246858" y="255783"/>
                    </a:cubicBezTo>
                    <a:cubicBezTo>
                      <a:pt x="263685" y="267530"/>
                      <a:pt x="272258" y="257371"/>
                      <a:pt x="286863" y="271023"/>
                    </a:cubicBezTo>
                    <a:cubicBezTo>
                      <a:pt x="301468" y="284675"/>
                      <a:pt x="319565" y="313250"/>
                      <a:pt x="334488" y="337698"/>
                    </a:cubicBezTo>
                    <a:cubicBezTo>
                      <a:pt x="349411" y="362146"/>
                      <a:pt x="358935" y="404690"/>
                      <a:pt x="376398" y="417708"/>
                    </a:cubicBezTo>
                    <a:cubicBezTo>
                      <a:pt x="393861" y="430726"/>
                      <a:pt x="429420" y="423106"/>
                      <a:pt x="439263" y="415803"/>
                    </a:cubicBezTo>
                    <a:cubicBezTo>
                      <a:pt x="449106" y="408500"/>
                      <a:pt x="441803" y="393578"/>
                      <a:pt x="435453" y="373893"/>
                    </a:cubicBezTo>
                    <a:cubicBezTo>
                      <a:pt x="429103" y="354208"/>
                      <a:pt x="421801" y="331666"/>
                      <a:pt x="401163" y="297693"/>
                    </a:cubicBezTo>
                    <a:cubicBezTo>
                      <a:pt x="380525" y="263720"/>
                      <a:pt x="340838" y="202443"/>
                      <a:pt x="311628" y="170058"/>
                    </a:cubicBezTo>
                    <a:cubicBezTo>
                      <a:pt x="282418" y="137673"/>
                      <a:pt x="253526" y="125291"/>
                      <a:pt x="225903" y="103383"/>
                    </a:cubicBezTo>
                    <a:cubicBezTo>
                      <a:pt x="198280" y="81475"/>
                      <a:pt x="175420" y="55758"/>
                      <a:pt x="145893" y="38613"/>
                    </a:cubicBezTo>
                    <a:cubicBezTo>
                      <a:pt x="116366" y="21468"/>
                      <a:pt x="43023" y="-3932"/>
                      <a:pt x="20163" y="51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04" name="Freeform 50">
                <a:extLst>
                  <a:ext uri="{FF2B5EF4-FFF2-40B4-BE49-F238E27FC236}">
                    <a16:creationId xmlns:a16="http://schemas.microsoft.com/office/drawing/2014/main" id="{69EAAAA5-9788-42AD-86FE-46957362EE41}"/>
                  </a:ext>
                </a:extLst>
              </p:cNvPr>
              <p:cNvSpPr>
                <a:spLocks/>
              </p:cNvSpPr>
              <p:nvPr/>
            </p:nvSpPr>
            <p:spPr bwMode="auto">
              <a:xfrm rot="21233883">
                <a:off x="6267442" y="3392039"/>
                <a:ext cx="82065" cy="87295"/>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sp>
          <p:nvSpPr>
            <p:cNvPr id="66" name="Oval 65">
              <a:extLst>
                <a:ext uri="{FF2B5EF4-FFF2-40B4-BE49-F238E27FC236}">
                  <a16:creationId xmlns:a16="http://schemas.microsoft.com/office/drawing/2014/main" id="{9DF6ACE2-F133-4E31-AD2B-3F8896F40433}"/>
                </a:ext>
              </a:extLst>
            </p:cNvPr>
            <p:cNvSpPr/>
            <p:nvPr/>
          </p:nvSpPr>
          <p:spPr bwMode="auto">
            <a:xfrm rot="19190004">
              <a:off x="5576214" y="3524016"/>
              <a:ext cx="232698" cy="176549"/>
            </a:xfrm>
            <a:prstGeom prst="ellipse">
              <a:avLst/>
            </a:prstGeom>
            <a:solidFill>
              <a:srgbClr val="CC3300"/>
            </a:solidFill>
            <a:ln w="12700" cap="flat" cmpd="sng" algn="ctr">
              <a:solidFill>
                <a:srgbClr val="9933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67" name="Oval 66">
              <a:extLst>
                <a:ext uri="{FF2B5EF4-FFF2-40B4-BE49-F238E27FC236}">
                  <a16:creationId xmlns:a16="http://schemas.microsoft.com/office/drawing/2014/main" id="{4220A2AA-A457-43A9-BC65-8E554B3C1ED0}"/>
                </a:ext>
              </a:extLst>
            </p:cNvPr>
            <p:cNvSpPr/>
            <p:nvPr/>
          </p:nvSpPr>
          <p:spPr bwMode="auto">
            <a:xfrm>
              <a:off x="5575030" y="3883693"/>
              <a:ext cx="232698" cy="176549"/>
            </a:xfrm>
            <a:prstGeom prst="ellipse">
              <a:avLst/>
            </a:prstGeom>
            <a:solidFill>
              <a:srgbClr val="CC3300"/>
            </a:solidFill>
            <a:ln w="12700" cap="flat" cmpd="sng" algn="ctr">
              <a:solidFill>
                <a:srgbClr val="9933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68" name="Oval 67">
              <a:extLst>
                <a:ext uri="{FF2B5EF4-FFF2-40B4-BE49-F238E27FC236}">
                  <a16:creationId xmlns:a16="http://schemas.microsoft.com/office/drawing/2014/main" id="{71BEAB88-D627-485A-B2E2-417FF7AEBE49}"/>
                </a:ext>
              </a:extLst>
            </p:cNvPr>
            <p:cNvSpPr/>
            <p:nvPr/>
          </p:nvSpPr>
          <p:spPr bwMode="auto">
            <a:xfrm rot="19146350">
              <a:off x="5914845" y="3635566"/>
              <a:ext cx="232698" cy="176549"/>
            </a:xfrm>
            <a:prstGeom prst="ellipse">
              <a:avLst/>
            </a:prstGeom>
            <a:solidFill>
              <a:srgbClr val="CC3300"/>
            </a:solidFill>
            <a:ln w="12700" cap="flat" cmpd="sng" algn="ctr">
              <a:solidFill>
                <a:srgbClr val="9933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69" name="Oval 68">
              <a:extLst>
                <a:ext uri="{FF2B5EF4-FFF2-40B4-BE49-F238E27FC236}">
                  <a16:creationId xmlns:a16="http://schemas.microsoft.com/office/drawing/2014/main" id="{B4D50C79-0ECB-4181-8F4E-965A4422ACBB}"/>
                </a:ext>
              </a:extLst>
            </p:cNvPr>
            <p:cNvSpPr/>
            <p:nvPr/>
          </p:nvSpPr>
          <p:spPr bwMode="auto">
            <a:xfrm rot="191975">
              <a:off x="5945087" y="3437440"/>
              <a:ext cx="219046" cy="197054"/>
            </a:xfrm>
            <a:prstGeom prst="ellipse">
              <a:avLst/>
            </a:prstGeom>
            <a:solidFill>
              <a:srgbClr val="CC3300"/>
            </a:solidFill>
            <a:ln w="12700" cap="flat" cmpd="sng" algn="ctr">
              <a:solidFill>
                <a:srgbClr val="9933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70" name="Oval 69">
              <a:extLst>
                <a:ext uri="{FF2B5EF4-FFF2-40B4-BE49-F238E27FC236}">
                  <a16:creationId xmlns:a16="http://schemas.microsoft.com/office/drawing/2014/main" id="{4A72CD2D-860B-4DE3-99B1-795D966D3444}"/>
                </a:ext>
              </a:extLst>
            </p:cNvPr>
            <p:cNvSpPr/>
            <p:nvPr/>
          </p:nvSpPr>
          <p:spPr bwMode="auto">
            <a:xfrm rot="191975">
              <a:off x="5921670" y="3999788"/>
              <a:ext cx="210889" cy="197054"/>
            </a:xfrm>
            <a:prstGeom prst="ellipse">
              <a:avLst/>
            </a:prstGeom>
            <a:solidFill>
              <a:srgbClr val="CC3300"/>
            </a:solidFill>
            <a:ln w="12700" cap="flat" cmpd="sng" algn="ctr">
              <a:solidFill>
                <a:srgbClr val="9933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71" name="Oval 70">
              <a:extLst>
                <a:ext uri="{FF2B5EF4-FFF2-40B4-BE49-F238E27FC236}">
                  <a16:creationId xmlns:a16="http://schemas.microsoft.com/office/drawing/2014/main" id="{067FD5DC-1EA3-415F-B94A-DD05EB4323D9}"/>
                </a:ext>
              </a:extLst>
            </p:cNvPr>
            <p:cNvSpPr/>
            <p:nvPr/>
          </p:nvSpPr>
          <p:spPr bwMode="auto">
            <a:xfrm rot="18360347">
              <a:off x="6083537" y="3924079"/>
              <a:ext cx="232698" cy="176549"/>
            </a:xfrm>
            <a:prstGeom prst="ellipse">
              <a:avLst/>
            </a:prstGeom>
            <a:solidFill>
              <a:srgbClr val="CC3300"/>
            </a:solidFill>
            <a:ln w="12700" cap="flat" cmpd="sng" algn="ctr">
              <a:solidFill>
                <a:srgbClr val="9933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72" name="Freeform: Shape 71">
              <a:extLst>
                <a:ext uri="{FF2B5EF4-FFF2-40B4-BE49-F238E27FC236}">
                  <a16:creationId xmlns:a16="http://schemas.microsoft.com/office/drawing/2014/main" id="{ADC36CAA-1855-49F2-AC77-BC43F122AB28}"/>
                </a:ext>
              </a:extLst>
            </p:cNvPr>
            <p:cNvSpPr/>
            <p:nvPr/>
          </p:nvSpPr>
          <p:spPr bwMode="auto">
            <a:xfrm>
              <a:off x="5615940" y="3535680"/>
              <a:ext cx="93345" cy="93345"/>
            </a:xfrm>
            <a:custGeom>
              <a:avLst/>
              <a:gdLst>
                <a:gd name="connsiteX0" fmla="*/ 93345 w 93345"/>
                <a:gd name="connsiteY0" fmla="*/ 0 h 93345"/>
                <a:gd name="connsiteX1" fmla="*/ 38100 w 93345"/>
                <a:gd name="connsiteY1" fmla="*/ 32385 h 93345"/>
                <a:gd name="connsiteX2" fmla="*/ 0 w 93345"/>
                <a:gd name="connsiteY2" fmla="*/ 93345 h 93345"/>
                <a:gd name="connsiteX0" fmla="*/ 93345 w 93345"/>
                <a:gd name="connsiteY0" fmla="*/ 0 h 93345"/>
                <a:gd name="connsiteX1" fmla="*/ 38100 w 93345"/>
                <a:gd name="connsiteY1" fmla="*/ 32385 h 93345"/>
                <a:gd name="connsiteX2" fmla="*/ 0 w 93345"/>
                <a:gd name="connsiteY2" fmla="*/ 93345 h 93345"/>
              </a:gdLst>
              <a:ahLst/>
              <a:cxnLst>
                <a:cxn ang="0">
                  <a:pos x="connsiteX0" y="connsiteY0"/>
                </a:cxn>
                <a:cxn ang="0">
                  <a:pos x="connsiteX1" y="connsiteY1"/>
                </a:cxn>
                <a:cxn ang="0">
                  <a:pos x="connsiteX2" y="connsiteY2"/>
                </a:cxn>
              </a:cxnLst>
              <a:rect l="l" t="t" r="r" b="b"/>
              <a:pathLst>
                <a:path w="93345" h="93345">
                  <a:moveTo>
                    <a:pt x="93345" y="0"/>
                  </a:moveTo>
                  <a:cubicBezTo>
                    <a:pt x="73501" y="8414"/>
                    <a:pt x="53657" y="16828"/>
                    <a:pt x="38100" y="32385"/>
                  </a:cubicBezTo>
                  <a:cubicBezTo>
                    <a:pt x="22543" y="47942"/>
                    <a:pt x="11271" y="70643"/>
                    <a:pt x="0" y="93345"/>
                  </a:cubicBezTo>
                </a:path>
              </a:pathLst>
            </a:custGeom>
            <a:noFill/>
            <a:ln w="12700" cap="flat" cmpd="sng" algn="ctr">
              <a:solidFill>
                <a:srgbClr val="EAEAEA"/>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73" name="Freeform: Shape 72">
              <a:extLst>
                <a:ext uri="{FF2B5EF4-FFF2-40B4-BE49-F238E27FC236}">
                  <a16:creationId xmlns:a16="http://schemas.microsoft.com/office/drawing/2014/main" id="{FCBBA43C-8538-4732-8303-4DEAC81447F8}"/>
                </a:ext>
              </a:extLst>
            </p:cNvPr>
            <p:cNvSpPr/>
            <p:nvPr/>
          </p:nvSpPr>
          <p:spPr bwMode="auto">
            <a:xfrm rot="161900">
              <a:off x="5977579" y="3453545"/>
              <a:ext cx="69247" cy="73978"/>
            </a:xfrm>
            <a:custGeom>
              <a:avLst/>
              <a:gdLst>
                <a:gd name="connsiteX0" fmla="*/ 93345 w 93345"/>
                <a:gd name="connsiteY0" fmla="*/ 0 h 93345"/>
                <a:gd name="connsiteX1" fmla="*/ 38100 w 93345"/>
                <a:gd name="connsiteY1" fmla="*/ 32385 h 93345"/>
                <a:gd name="connsiteX2" fmla="*/ 0 w 93345"/>
                <a:gd name="connsiteY2" fmla="*/ 93345 h 93345"/>
                <a:gd name="connsiteX0" fmla="*/ 93345 w 93345"/>
                <a:gd name="connsiteY0" fmla="*/ 0 h 93345"/>
                <a:gd name="connsiteX1" fmla="*/ 38100 w 93345"/>
                <a:gd name="connsiteY1" fmla="*/ 32385 h 93345"/>
                <a:gd name="connsiteX2" fmla="*/ 0 w 93345"/>
                <a:gd name="connsiteY2" fmla="*/ 93345 h 93345"/>
              </a:gdLst>
              <a:ahLst/>
              <a:cxnLst>
                <a:cxn ang="0">
                  <a:pos x="connsiteX0" y="connsiteY0"/>
                </a:cxn>
                <a:cxn ang="0">
                  <a:pos x="connsiteX1" y="connsiteY1"/>
                </a:cxn>
                <a:cxn ang="0">
                  <a:pos x="connsiteX2" y="connsiteY2"/>
                </a:cxn>
              </a:cxnLst>
              <a:rect l="l" t="t" r="r" b="b"/>
              <a:pathLst>
                <a:path w="93345" h="93345">
                  <a:moveTo>
                    <a:pt x="93345" y="0"/>
                  </a:moveTo>
                  <a:cubicBezTo>
                    <a:pt x="73501" y="8414"/>
                    <a:pt x="53657" y="16828"/>
                    <a:pt x="38100" y="32385"/>
                  </a:cubicBezTo>
                  <a:cubicBezTo>
                    <a:pt x="22543" y="47942"/>
                    <a:pt x="11271" y="70643"/>
                    <a:pt x="0" y="93345"/>
                  </a:cubicBezTo>
                </a:path>
              </a:pathLst>
            </a:custGeom>
            <a:noFill/>
            <a:ln w="12700" cap="flat" cmpd="sng" algn="ctr">
              <a:solidFill>
                <a:srgbClr val="EAEAEA"/>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74" name="Freeform: Shape 73">
              <a:extLst>
                <a:ext uri="{FF2B5EF4-FFF2-40B4-BE49-F238E27FC236}">
                  <a16:creationId xmlns:a16="http://schemas.microsoft.com/office/drawing/2014/main" id="{D4D4ECE5-8755-4E83-9DE9-DF2E21756ACB}"/>
                </a:ext>
              </a:extLst>
            </p:cNvPr>
            <p:cNvSpPr/>
            <p:nvPr/>
          </p:nvSpPr>
          <p:spPr bwMode="auto">
            <a:xfrm rot="5612462">
              <a:off x="6063622" y="3653774"/>
              <a:ext cx="61091" cy="45719"/>
            </a:xfrm>
            <a:custGeom>
              <a:avLst/>
              <a:gdLst>
                <a:gd name="connsiteX0" fmla="*/ 93345 w 93345"/>
                <a:gd name="connsiteY0" fmla="*/ 0 h 93345"/>
                <a:gd name="connsiteX1" fmla="*/ 38100 w 93345"/>
                <a:gd name="connsiteY1" fmla="*/ 32385 h 93345"/>
                <a:gd name="connsiteX2" fmla="*/ 0 w 93345"/>
                <a:gd name="connsiteY2" fmla="*/ 93345 h 93345"/>
                <a:gd name="connsiteX0" fmla="*/ 93345 w 93345"/>
                <a:gd name="connsiteY0" fmla="*/ 0 h 93345"/>
                <a:gd name="connsiteX1" fmla="*/ 38100 w 93345"/>
                <a:gd name="connsiteY1" fmla="*/ 32385 h 93345"/>
                <a:gd name="connsiteX2" fmla="*/ 0 w 93345"/>
                <a:gd name="connsiteY2" fmla="*/ 93345 h 93345"/>
              </a:gdLst>
              <a:ahLst/>
              <a:cxnLst>
                <a:cxn ang="0">
                  <a:pos x="connsiteX0" y="connsiteY0"/>
                </a:cxn>
                <a:cxn ang="0">
                  <a:pos x="connsiteX1" y="connsiteY1"/>
                </a:cxn>
                <a:cxn ang="0">
                  <a:pos x="connsiteX2" y="connsiteY2"/>
                </a:cxn>
              </a:cxnLst>
              <a:rect l="l" t="t" r="r" b="b"/>
              <a:pathLst>
                <a:path w="93345" h="93345">
                  <a:moveTo>
                    <a:pt x="93345" y="0"/>
                  </a:moveTo>
                  <a:cubicBezTo>
                    <a:pt x="73501" y="8414"/>
                    <a:pt x="53657" y="16828"/>
                    <a:pt x="38100" y="32385"/>
                  </a:cubicBezTo>
                  <a:cubicBezTo>
                    <a:pt x="22543" y="47942"/>
                    <a:pt x="11271" y="70643"/>
                    <a:pt x="0" y="93345"/>
                  </a:cubicBezTo>
                </a:path>
              </a:pathLst>
            </a:custGeom>
            <a:noFill/>
            <a:ln w="12700" cap="flat" cmpd="sng" algn="ctr">
              <a:solidFill>
                <a:srgbClr val="EAEAEA"/>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75" name="Freeform: Shape 74">
              <a:extLst>
                <a:ext uri="{FF2B5EF4-FFF2-40B4-BE49-F238E27FC236}">
                  <a16:creationId xmlns:a16="http://schemas.microsoft.com/office/drawing/2014/main" id="{85237499-9595-4B95-98FE-EDCF3FE11BF1}"/>
                </a:ext>
              </a:extLst>
            </p:cNvPr>
            <p:cNvSpPr/>
            <p:nvPr/>
          </p:nvSpPr>
          <p:spPr bwMode="auto">
            <a:xfrm rot="11793601">
              <a:off x="5684737" y="3952132"/>
              <a:ext cx="93345" cy="93345"/>
            </a:xfrm>
            <a:custGeom>
              <a:avLst/>
              <a:gdLst>
                <a:gd name="connsiteX0" fmla="*/ 93345 w 93345"/>
                <a:gd name="connsiteY0" fmla="*/ 0 h 93345"/>
                <a:gd name="connsiteX1" fmla="*/ 38100 w 93345"/>
                <a:gd name="connsiteY1" fmla="*/ 32385 h 93345"/>
                <a:gd name="connsiteX2" fmla="*/ 0 w 93345"/>
                <a:gd name="connsiteY2" fmla="*/ 93345 h 93345"/>
                <a:gd name="connsiteX0" fmla="*/ 93345 w 93345"/>
                <a:gd name="connsiteY0" fmla="*/ 0 h 93345"/>
                <a:gd name="connsiteX1" fmla="*/ 38100 w 93345"/>
                <a:gd name="connsiteY1" fmla="*/ 32385 h 93345"/>
                <a:gd name="connsiteX2" fmla="*/ 0 w 93345"/>
                <a:gd name="connsiteY2" fmla="*/ 93345 h 93345"/>
              </a:gdLst>
              <a:ahLst/>
              <a:cxnLst>
                <a:cxn ang="0">
                  <a:pos x="connsiteX0" y="connsiteY0"/>
                </a:cxn>
                <a:cxn ang="0">
                  <a:pos x="connsiteX1" y="connsiteY1"/>
                </a:cxn>
                <a:cxn ang="0">
                  <a:pos x="connsiteX2" y="connsiteY2"/>
                </a:cxn>
              </a:cxnLst>
              <a:rect l="l" t="t" r="r" b="b"/>
              <a:pathLst>
                <a:path w="93345" h="93345">
                  <a:moveTo>
                    <a:pt x="93345" y="0"/>
                  </a:moveTo>
                  <a:cubicBezTo>
                    <a:pt x="73501" y="8414"/>
                    <a:pt x="53657" y="16828"/>
                    <a:pt x="38100" y="32385"/>
                  </a:cubicBezTo>
                  <a:cubicBezTo>
                    <a:pt x="22543" y="47942"/>
                    <a:pt x="11271" y="70643"/>
                    <a:pt x="0" y="93345"/>
                  </a:cubicBezTo>
                </a:path>
              </a:pathLst>
            </a:custGeom>
            <a:noFill/>
            <a:ln w="12700" cap="flat" cmpd="sng" algn="ctr">
              <a:solidFill>
                <a:srgbClr val="EAEAEA"/>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76" name="Freeform: Shape 75">
              <a:extLst>
                <a:ext uri="{FF2B5EF4-FFF2-40B4-BE49-F238E27FC236}">
                  <a16:creationId xmlns:a16="http://schemas.microsoft.com/office/drawing/2014/main" id="{EF768BE2-7A5E-4E3D-B86B-C815324CE35B}"/>
                </a:ext>
              </a:extLst>
            </p:cNvPr>
            <p:cNvSpPr/>
            <p:nvPr/>
          </p:nvSpPr>
          <p:spPr bwMode="auto">
            <a:xfrm>
              <a:off x="5956212" y="4019933"/>
              <a:ext cx="76342" cy="47925"/>
            </a:xfrm>
            <a:custGeom>
              <a:avLst/>
              <a:gdLst>
                <a:gd name="connsiteX0" fmla="*/ 93345 w 93345"/>
                <a:gd name="connsiteY0" fmla="*/ 0 h 93345"/>
                <a:gd name="connsiteX1" fmla="*/ 38100 w 93345"/>
                <a:gd name="connsiteY1" fmla="*/ 32385 h 93345"/>
                <a:gd name="connsiteX2" fmla="*/ 0 w 93345"/>
                <a:gd name="connsiteY2" fmla="*/ 93345 h 93345"/>
                <a:gd name="connsiteX0" fmla="*/ 93345 w 93345"/>
                <a:gd name="connsiteY0" fmla="*/ 0 h 93345"/>
                <a:gd name="connsiteX1" fmla="*/ 38100 w 93345"/>
                <a:gd name="connsiteY1" fmla="*/ 32385 h 93345"/>
                <a:gd name="connsiteX2" fmla="*/ 0 w 93345"/>
                <a:gd name="connsiteY2" fmla="*/ 93345 h 93345"/>
              </a:gdLst>
              <a:ahLst/>
              <a:cxnLst>
                <a:cxn ang="0">
                  <a:pos x="connsiteX0" y="connsiteY0"/>
                </a:cxn>
                <a:cxn ang="0">
                  <a:pos x="connsiteX1" y="connsiteY1"/>
                </a:cxn>
                <a:cxn ang="0">
                  <a:pos x="connsiteX2" y="connsiteY2"/>
                </a:cxn>
              </a:cxnLst>
              <a:rect l="l" t="t" r="r" b="b"/>
              <a:pathLst>
                <a:path w="93345" h="93345">
                  <a:moveTo>
                    <a:pt x="93345" y="0"/>
                  </a:moveTo>
                  <a:cubicBezTo>
                    <a:pt x="73501" y="8414"/>
                    <a:pt x="53657" y="16828"/>
                    <a:pt x="38100" y="32385"/>
                  </a:cubicBezTo>
                  <a:cubicBezTo>
                    <a:pt x="22543" y="47942"/>
                    <a:pt x="11271" y="70643"/>
                    <a:pt x="0" y="93345"/>
                  </a:cubicBezTo>
                </a:path>
              </a:pathLst>
            </a:custGeom>
            <a:noFill/>
            <a:ln w="12700" cap="flat" cmpd="sng" algn="ctr">
              <a:solidFill>
                <a:srgbClr val="EAEAEA"/>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77" name="Freeform: Shape 76">
              <a:extLst>
                <a:ext uri="{FF2B5EF4-FFF2-40B4-BE49-F238E27FC236}">
                  <a16:creationId xmlns:a16="http://schemas.microsoft.com/office/drawing/2014/main" id="{929791A6-3580-445F-93F5-F73DC25C7A5E}"/>
                </a:ext>
              </a:extLst>
            </p:cNvPr>
            <p:cNvSpPr/>
            <p:nvPr/>
          </p:nvSpPr>
          <p:spPr bwMode="auto">
            <a:xfrm rot="11098541">
              <a:off x="6176784" y="4001944"/>
              <a:ext cx="93345" cy="93345"/>
            </a:xfrm>
            <a:custGeom>
              <a:avLst/>
              <a:gdLst>
                <a:gd name="connsiteX0" fmla="*/ 93345 w 93345"/>
                <a:gd name="connsiteY0" fmla="*/ 0 h 93345"/>
                <a:gd name="connsiteX1" fmla="*/ 38100 w 93345"/>
                <a:gd name="connsiteY1" fmla="*/ 32385 h 93345"/>
                <a:gd name="connsiteX2" fmla="*/ 0 w 93345"/>
                <a:gd name="connsiteY2" fmla="*/ 93345 h 93345"/>
                <a:gd name="connsiteX0" fmla="*/ 93345 w 93345"/>
                <a:gd name="connsiteY0" fmla="*/ 0 h 93345"/>
                <a:gd name="connsiteX1" fmla="*/ 38100 w 93345"/>
                <a:gd name="connsiteY1" fmla="*/ 32385 h 93345"/>
                <a:gd name="connsiteX2" fmla="*/ 0 w 93345"/>
                <a:gd name="connsiteY2" fmla="*/ 93345 h 93345"/>
              </a:gdLst>
              <a:ahLst/>
              <a:cxnLst>
                <a:cxn ang="0">
                  <a:pos x="connsiteX0" y="connsiteY0"/>
                </a:cxn>
                <a:cxn ang="0">
                  <a:pos x="connsiteX1" y="connsiteY1"/>
                </a:cxn>
                <a:cxn ang="0">
                  <a:pos x="connsiteX2" y="connsiteY2"/>
                </a:cxn>
              </a:cxnLst>
              <a:rect l="l" t="t" r="r" b="b"/>
              <a:pathLst>
                <a:path w="93345" h="93345">
                  <a:moveTo>
                    <a:pt x="93345" y="0"/>
                  </a:moveTo>
                  <a:cubicBezTo>
                    <a:pt x="73501" y="8414"/>
                    <a:pt x="53657" y="16828"/>
                    <a:pt x="38100" y="32385"/>
                  </a:cubicBezTo>
                  <a:cubicBezTo>
                    <a:pt x="22543" y="47942"/>
                    <a:pt x="11271" y="70643"/>
                    <a:pt x="0" y="93345"/>
                  </a:cubicBezTo>
                </a:path>
              </a:pathLst>
            </a:custGeom>
            <a:noFill/>
            <a:ln w="12700" cap="flat" cmpd="sng" algn="ctr">
              <a:solidFill>
                <a:srgbClr val="EAEAEA"/>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grpSp>
          <p:nvGrpSpPr>
            <p:cNvPr id="78" name="Group 77">
              <a:extLst>
                <a:ext uri="{FF2B5EF4-FFF2-40B4-BE49-F238E27FC236}">
                  <a16:creationId xmlns:a16="http://schemas.microsoft.com/office/drawing/2014/main" id="{402BABB2-45D8-448A-BB4B-5AEB0D56839D}"/>
                </a:ext>
              </a:extLst>
            </p:cNvPr>
            <p:cNvGrpSpPr/>
            <p:nvPr/>
          </p:nvGrpSpPr>
          <p:grpSpPr>
            <a:xfrm>
              <a:off x="4528844" y="3062504"/>
              <a:ext cx="263793" cy="270889"/>
              <a:chOff x="4532530" y="3060827"/>
              <a:chExt cx="263793" cy="270889"/>
            </a:xfrm>
          </p:grpSpPr>
          <p:sp>
            <p:nvSpPr>
              <p:cNvPr id="196" name="Oval 195">
                <a:extLst>
                  <a:ext uri="{FF2B5EF4-FFF2-40B4-BE49-F238E27FC236}">
                    <a16:creationId xmlns:a16="http://schemas.microsoft.com/office/drawing/2014/main" id="{501450F8-232F-4CAC-9430-BA9B25962002}"/>
                  </a:ext>
                </a:extLst>
              </p:cNvPr>
              <p:cNvSpPr/>
              <p:nvPr/>
            </p:nvSpPr>
            <p:spPr bwMode="auto">
              <a:xfrm>
                <a:off x="4537689" y="3064634"/>
                <a:ext cx="258634" cy="244078"/>
              </a:xfrm>
              <a:prstGeom prst="ellipse">
                <a:avLst/>
              </a:prstGeom>
              <a:solidFill>
                <a:srgbClr val="CC33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97" name="Freeform: Shape 196">
                <a:extLst>
                  <a:ext uri="{FF2B5EF4-FFF2-40B4-BE49-F238E27FC236}">
                    <a16:creationId xmlns:a16="http://schemas.microsoft.com/office/drawing/2014/main" id="{84927258-DA40-4EE8-9D7F-73D3AE5AEE07}"/>
                  </a:ext>
                </a:extLst>
              </p:cNvPr>
              <p:cNvSpPr/>
              <p:nvPr/>
            </p:nvSpPr>
            <p:spPr bwMode="auto">
              <a:xfrm>
                <a:off x="4608832" y="3060827"/>
                <a:ext cx="184433" cy="158834"/>
              </a:xfrm>
              <a:custGeom>
                <a:avLst/>
                <a:gdLst>
                  <a:gd name="connsiteX0" fmla="*/ 521 w 177971"/>
                  <a:gd name="connsiteY0" fmla="*/ 10033 h 158834"/>
                  <a:gd name="connsiteX1" fmla="*/ 74816 w 177971"/>
                  <a:gd name="connsiteY1" fmla="*/ 508 h 158834"/>
                  <a:gd name="connsiteX2" fmla="*/ 126251 w 177971"/>
                  <a:gd name="connsiteY2" fmla="*/ 23368 h 158834"/>
                  <a:gd name="connsiteX3" fmla="*/ 160541 w 177971"/>
                  <a:gd name="connsiteY3" fmla="*/ 69088 h 158834"/>
                  <a:gd name="connsiteX4" fmla="*/ 171971 w 177971"/>
                  <a:gd name="connsiteY4" fmla="*/ 107188 h 158834"/>
                  <a:gd name="connsiteX5" fmla="*/ 175781 w 177971"/>
                  <a:gd name="connsiteY5" fmla="*/ 156718 h 158834"/>
                  <a:gd name="connsiteX6" fmla="*/ 137681 w 177971"/>
                  <a:gd name="connsiteY6" fmla="*/ 143383 h 158834"/>
                  <a:gd name="connsiteX7" fmla="*/ 133871 w 177971"/>
                  <a:gd name="connsiteY7" fmla="*/ 86233 h 158834"/>
                  <a:gd name="connsiteX8" fmla="*/ 111011 w 177971"/>
                  <a:gd name="connsiteY8" fmla="*/ 67183 h 158834"/>
                  <a:gd name="connsiteX9" fmla="*/ 82436 w 177971"/>
                  <a:gd name="connsiteY9" fmla="*/ 44323 h 158834"/>
                  <a:gd name="connsiteX10" fmla="*/ 71006 w 177971"/>
                  <a:gd name="connsiteY10" fmla="*/ 36703 h 158834"/>
                  <a:gd name="connsiteX11" fmla="*/ 42431 w 177971"/>
                  <a:gd name="connsiteY11" fmla="*/ 38608 h 158834"/>
                  <a:gd name="connsiteX12" fmla="*/ 521 w 177971"/>
                  <a:gd name="connsiteY12" fmla="*/ 10033 h 15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971" h="158834">
                    <a:moveTo>
                      <a:pt x="521" y="10033"/>
                    </a:moveTo>
                    <a:cubicBezTo>
                      <a:pt x="5918" y="3683"/>
                      <a:pt x="53861" y="-1714"/>
                      <a:pt x="74816" y="508"/>
                    </a:cubicBezTo>
                    <a:cubicBezTo>
                      <a:pt x="95771" y="2730"/>
                      <a:pt x="111963" y="11938"/>
                      <a:pt x="126251" y="23368"/>
                    </a:cubicBezTo>
                    <a:cubicBezTo>
                      <a:pt x="140539" y="34798"/>
                      <a:pt x="152921" y="55118"/>
                      <a:pt x="160541" y="69088"/>
                    </a:cubicBezTo>
                    <a:cubicBezTo>
                      <a:pt x="168161" y="83058"/>
                      <a:pt x="169431" y="92583"/>
                      <a:pt x="171971" y="107188"/>
                    </a:cubicBezTo>
                    <a:cubicBezTo>
                      <a:pt x="174511" y="121793"/>
                      <a:pt x="181496" y="150685"/>
                      <a:pt x="175781" y="156718"/>
                    </a:cubicBezTo>
                    <a:cubicBezTo>
                      <a:pt x="170066" y="162751"/>
                      <a:pt x="144666" y="155130"/>
                      <a:pt x="137681" y="143383"/>
                    </a:cubicBezTo>
                    <a:cubicBezTo>
                      <a:pt x="130696" y="131636"/>
                      <a:pt x="138316" y="98933"/>
                      <a:pt x="133871" y="86233"/>
                    </a:cubicBezTo>
                    <a:cubicBezTo>
                      <a:pt x="129426" y="73533"/>
                      <a:pt x="119583" y="74168"/>
                      <a:pt x="111011" y="67183"/>
                    </a:cubicBezTo>
                    <a:cubicBezTo>
                      <a:pt x="102439" y="60198"/>
                      <a:pt x="89103" y="49403"/>
                      <a:pt x="82436" y="44323"/>
                    </a:cubicBezTo>
                    <a:cubicBezTo>
                      <a:pt x="75769" y="39243"/>
                      <a:pt x="77674" y="37656"/>
                      <a:pt x="71006" y="36703"/>
                    </a:cubicBezTo>
                    <a:cubicBezTo>
                      <a:pt x="64339" y="35751"/>
                      <a:pt x="51638" y="37338"/>
                      <a:pt x="42431" y="38608"/>
                    </a:cubicBezTo>
                    <a:cubicBezTo>
                      <a:pt x="33224" y="39878"/>
                      <a:pt x="-4876" y="16383"/>
                      <a:pt x="521" y="1003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98" name="Freeform: Shape 197">
                <a:extLst>
                  <a:ext uri="{FF2B5EF4-FFF2-40B4-BE49-F238E27FC236}">
                    <a16:creationId xmlns:a16="http://schemas.microsoft.com/office/drawing/2014/main" id="{C867F363-859B-4FB9-9D82-48DE83E756AD}"/>
                  </a:ext>
                </a:extLst>
              </p:cNvPr>
              <p:cNvSpPr/>
              <p:nvPr/>
            </p:nvSpPr>
            <p:spPr bwMode="auto">
              <a:xfrm rot="7525021">
                <a:off x="4586895" y="3160083"/>
                <a:ext cx="184433" cy="158834"/>
              </a:xfrm>
              <a:custGeom>
                <a:avLst/>
                <a:gdLst>
                  <a:gd name="connsiteX0" fmla="*/ 521 w 177971"/>
                  <a:gd name="connsiteY0" fmla="*/ 10033 h 158834"/>
                  <a:gd name="connsiteX1" fmla="*/ 74816 w 177971"/>
                  <a:gd name="connsiteY1" fmla="*/ 508 h 158834"/>
                  <a:gd name="connsiteX2" fmla="*/ 126251 w 177971"/>
                  <a:gd name="connsiteY2" fmla="*/ 23368 h 158834"/>
                  <a:gd name="connsiteX3" fmla="*/ 160541 w 177971"/>
                  <a:gd name="connsiteY3" fmla="*/ 69088 h 158834"/>
                  <a:gd name="connsiteX4" fmla="*/ 171971 w 177971"/>
                  <a:gd name="connsiteY4" fmla="*/ 107188 h 158834"/>
                  <a:gd name="connsiteX5" fmla="*/ 175781 w 177971"/>
                  <a:gd name="connsiteY5" fmla="*/ 156718 h 158834"/>
                  <a:gd name="connsiteX6" fmla="*/ 137681 w 177971"/>
                  <a:gd name="connsiteY6" fmla="*/ 143383 h 158834"/>
                  <a:gd name="connsiteX7" fmla="*/ 133871 w 177971"/>
                  <a:gd name="connsiteY7" fmla="*/ 86233 h 158834"/>
                  <a:gd name="connsiteX8" fmla="*/ 111011 w 177971"/>
                  <a:gd name="connsiteY8" fmla="*/ 67183 h 158834"/>
                  <a:gd name="connsiteX9" fmla="*/ 82436 w 177971"/>
                  <a:gd name="connsiteY9" fmla="*/ 44323 h 158834"/>
                  <a:gd name="connsiteX10" fmla="*/ 71006 w 177971"/>
                  <a:gd name="connsiteY10" fmla="*/ 36703 h 158834"/>
                  <a:gd name="connsiteX11" fmla="*/ 42431 w 177971"/>
                  <a:gd name="connsiteY11" fmla="*/ 38608 h 158834"/>
                  <a:gd name="connsiteX12" fmla="*/ 521 w 177971"/>
                  <a:gd name="connsiteY12" fmla="*/ 10033 h 15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971" h="158834">
                    <a:moveTo>
                      <a:pt x="521" y="10033"/>
                    </a:moveTo>
                    <a:cubicBezTo>
                      <a:pt x="5918" y="3683"/>
                      <a:pt x="53861" y="-1714"/>
                      <a:pt x="74816" y="508"/>
                    </a:cubicBezTo>
                    <a:cubicBezTo>
                      <a:pt x="95771" y="2730"/>
                      <a:pt x="111963" y="11938"/>
                      <a:pt x="126251" y="23368"/>
                    </a:cubicBezTo>
                    <a:cubicBezTo>
                      <a:pt x="140539" y="34798"/>
                      <a:pt x="152921" y="55118"/>
                      <a:pt x="160541" y="69088"/>
                    </a:cubicBezTo>
                    <a:cubicBezTo>
                      <a:pt x="168161" y="83058"/>
                      <a:pt x="169431" y="92583"/>
                      <a:pt x="171971" y="107188"/>
                    </a:cubicBezTo>
                    <a:cubicBezTo>
                      <a:pt x="174511" y="121793"/>
                      <a:pt x="181496" y="150685"/>
                      <a:pt x="175781" y="156718"/>
                    </a:cubicBezTo>
                    <a:cubicBezTo>
                      <a:pt x="170066" y="162751"/>
                      <a:pt x="144666" y="155130"/>
                      <a:pt x="137681" y="143383"/>
                    </a:cubicBezTo>
                    <a:cubicBezTo>
                      <a:pt x="130696" y="131636"/>
                      <a:pt x="138316" y="98933"/>
                      <a:pt x="133871" y="86233"/>
                    </a:cubicBezTo>
                    <a:cubicBezTo>
                      <a:pt x="129426" y="73533"/>
                      <a:pt x="119583" y="74168"/>
                      <a:pt x="111011" y="67183"/>
                    </a:cubicBezTo>
                    <a:cubicBezTo>
                      <a:pt x="102439" y="60198"/>
                      <a:pt x="89103" y="49403"/>
                      <a:pt x="82436" y="44323"/>
                    </a:cubicBezTo>
                    <a:cubicBezTo>
                      <a:pt x="75769" y="39243"/>
                      <a:pt x="77674" y="37656"/>
                      <a:pt x="71006" y="36703"/>
                    </a:cubicBezTo>
                    <a:cubicBezTo>
                      <a:pt x="64339" y="35751"/>
                      <a:pt x="51638" y="37338"/>
                      <a:pt x="42431" y="38608"/>
                    </a:cubicBezTo>
                    <a:cubicBezTo>
                      <a:pt x="33224" y="39878"/>
                      <a:pt x="-4876" y="16383"/>
                      <a:pt x="521" y="1003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99" name="Freeform: Shape 198">
                <a:extLst>
                  <a:ext uri="{FF2B5EF4-FFF2-40B4-BE49-F238E27FC236}">
                    <a16:creationId xmlns:a16="http://schemas.microsoft.com/office/drawing/2014/main" id="{6C12B0E3-F122-4E33-B2A7-35EAA49F855A}"/>
                  </a:ext>
                </a:extLst>
              </p:cNvPr>
              <p:cNvSpPr/>
              <p:nvPr/>
            </p:nvSpPr>
            <p:spPr bwMode="auto">
              <a:xfrm rot="14994962">
                <a:off x="4524296" y="3087063"/>
                <a:ext cx="175302" cy="158834"/>
              </a:xfrm>
              <a:custGeom>
                <a:avLst/>
                <a:gdLst>
                  <a:gd name="connsiteX0" fmla="*/ 521 w 177971"/>
                  <a:gd name="connsiteY0" fmla="*/ 10033 h 158834"/>
                  <a:gd name="connsiteX1" fmla="*/ 74816 w 177971"/>
                  <a:gd name="connsiteY1" fmla="*/ 508 h 158834"/>
                  <a:gd name="connsiteX2" fmla="*/ 126251 w 177971"/>
                  <a:gd name="connsiteY2" fmla="*/ 23368 h 158834"/>
                  <a:gd name="connsiteX3" fmla="*/ 160541 w 177971"/>
                  <a:gd name="connsiteY3" fmla="*/ 69088 h 158834"/>
                  <a:gd name="connsiteX4" fmla="*/ 171971 w 177971"/>
                  <a:gd name="connsiteY4" fmla="*/ 107188 h 158834"/>
                  <a:gd name="connsiteX5" fmla="*/ 175781 w 177971"/>
                  <a:gd name="connsiteY5" fmla="*/ 156718 h 158834"/>
                  <a:gd name="connsiteX6" fmla="*/ 137681 w 177971"/>
                  <a:gd name="connsiteY6" fmla="*/ 143383 h 158834"/>
                  <a:gd name="connsiteX7" fmla="*/ 133871 w 177971"/>
                  <a:gd name="connsiteY7" fmla="*/ 86233 h 158834"/>
                  <a:gd name="connsiteX8" fmla="*/ 111011 w 177971"/>
                  <a:gd name="connsiteY8" fmla="*/ 67183 h 158834"/>
                  <a:gd name="connsiteX9" fmla="*/ 82436 w 177971"/>
                  <a:gd name="connsiteY9" fmla="*/ 44323 h 158834"/>
                  <a:gd name="connsiteX10" fmla="*/ 71006 w 177971"/>
                  <a:gd name="connsiteY10" fmla="*/ 36703 h 158834"/>
                  <a:gd name="connsiteX11" fmla="*/ 42431 w 177971"/>
                  <a:gd name="connsiteY11" fmla="*/ 38608 h 158834"/>
                  <a:gd name="connsiteX12" fmla="*/ 521 w 177971"/>
                  <a:gd name="connsiteY12" fmla="*/ 10033 h 15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971" h="158834">
                    <a:moveTo>
                      <a:pt x="521" y="10033"/>
                    </a:moveTo>
                    <a:cubicBezTo>
                      <a:pt x="5918" y="3683"/>
                      <a:pt x="53861" y="-1714"/>
                      <a:pt x="74816" y="508"/>
                    </a:cubicBezTo>
                    <a:cubicBezTo>
                      <a:pt x="95771" y="2730"/>
                      <a:pt x="111963" y="11938"/>
                      <a:pt x="126251" y="23368"/>
                    </a:cubicBezTo>
                    <a:cubicBezTo>
                      <a:pt x="140539" y="34798"/>
                      <a:pt x="152921" y="55118"/>
                      <a:pt x="160541" y="69088"/>
                    </a:cubicBezTo>
                    <a:cubicBezTo>
                      <a:pt x="168161" y="83058"/>
                      <a:pt x="169431" y="92583"/>
                      <a:pt x="171971" y="107188"/>
                    </a:cubicBezTo>
                    <a:cubicBezTo>
                      <a:pt x="174511" y="121793"/>
                      <a:pt x="181496" y="150685"/>
                      <a:pt x="175781" y="156718"/>
                    </a:cubicBezTo>
                    <a:cubicBezTo>
                      <a:pt x="170066" y="162751"/>
                      <a:pt x="144666" y="155130"/>
                      <a:pt x="137681" y="143383"/>
                    </a:cubicBezTo>
                    <a:cubicBezTo>
                      <a:pt x="130696" y="131636"/>
                      <a:pt x="138316" y="98933"/>
                      <a:pt x="133871" y="86233"/>
                    </a:cubicBezTo>
                    <a:cubicBezTo>
                      <a:pt x="129426" y="73533"/>
                      <a:pt x="119583" y="74168"/>
                      <a:pt x="111011" y="67183"/>
                    </a:cubicBezTo>
                    <a:cubicBezTo>
                      <a:pt x="102439" y="60198"/>
                      <a:pt x="89103" y="49403"/>
                      <a:pt x="82436" y="44323"/>
                    </a:cubicBezTo>
                    <a:cubicBezTo>
                      <a:pt x="75769" y="39243"/>
                      <a:pt x="77674" y="37656"/>
                      <a:pt x="71006" y="36703"/>
                    </a:cubicBezTo>
                    <a:cubicBezTo>
                      <a:pt x="64339" y="35751"/>
                      <a:pt x="51638" y="37338"/>
                      <a:pt x="42431" y="38608"/>
                    </a:cubicBezTo>
                    <a:cubicBezTo>
                      <a:pt x="33224" y="39878"/>
                      <a:pt x="-4876" y="16383"/>
                      <a:pt x="521" y="1003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00" name="Freeform 50">
                <a:extLst>
                  <a:ext uri="{FF2B5EF4-FFF2-40B4-BE49-F238E27FC236}">
                    <a16:creationId xmlns:a16="http://schemas.microsoft.com/office/drawing/2014/main" id="{9689FC58-2337-4605-AC73-A661F5BDFE2A}"/>
                  </a:ext>
                </a:extLst>
              </p:cNvPr>
              <p:cNvSpPr>
                <a:spLocks/>
              </p:cNvSpPr>
              <p:nvPr/>
            </p:nvSpPr>
            <p:spPr bwMode="auto">
              <a:xfrm rot="20964333">
                <a:off x="4705520" y="3085687"/>
                <a:ext cx="45719" cy="45719"/>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01" name="Freeform 50">
                <a:extLst>
                  <a:ext uri="{FF2B5EF4-FFF2-40B4-BE49-F238E27FC236}">
                    <a16:creationId xmlns:a16="http://schemas.microsoft.com/office/drawing/2014/main" id="{DAB87361-5679-4555-9AB8-30725BFD7CA6}"/>
                  </a:ext>
                </a:extLst>
              </p:cNvPr>
              <p:cNvSpPr>
                <a:spLocks/>
              </p:cNvSpPr>
              <p:nvPr/>
            </p:nvSpPr>
            <p:spPr bwMode="auto">
              <a:xfrm rot="17294481">
                <a:off x="4677013" y="3258237"/>
                <a:ext cx="45719" cy="45719"/>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02" name="Freeform 50">
                <a:extLst>
                  <a:ext uri="{FF2B5EF4-FFF2-40B4-BE49-F238E27FC236}">
                    <a16:creationId xmlns:a16="http://schemas.microsoft.com/office/drawing/2014/main" id="{332C2A30-A03B-49E1-9EA5-8384FD47ED8D}"/>
                  </a:ext>
                </a:extLst>
              </p:cNvPr>
              <p:cNvSpPr>
                <a:spLocks/>
              </p:cNvSpPr>
              <p:nvPr/>
            </p:nvSpPr>
            <p:spPr bwMode="auto">
              <a:xfrm rot="14815092">
                <a:off x="4550366" y="3129915"/>
                <a:ext cx="45719" cy="45719"/>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79" name="Group 78">
              <a:extLst>
                <a:ext uri="{FF2B5EF4-FFF2-40B4-BE49-F238E27FC236}">
                  <a16:creationId xmlns:a16="http://schemas.microsoft.com/office/drawing/2014/main" id="{EC098EB1-743E-4DD6-9598-4323AFAEF583}"/>
                </a:ext>
              </a:extLst>
            </p:cNvPr>
            <p:cNvGrpSpPr/>
            <p:nvPr/>
          </p:nvGrpSpPr>
          <p:grpSpPr>
            <a:xfrm>
              <a:off x="5862562" y="2309736"/>
              <a:ext cx="263793" cy="270889"/>
              <a:chOff x="4532530" y="3060827"/>
              <a:chExt cx="263793" cy="270889"/>
            </a:xfrm>
          </p:grpSpPr>
          <p:sp>
            <p:nvSpPr>
              <p:cNvPr id="189" name="Oval 188">
                <a:extLst>
                  <a:ext uri="{FF2B5EF4-FFF2-40B4-BE49-F238E27FC236}">
                    <a16:creationId xmlns:a16="http://schemas.microsoft.com/office/drawing/2014/main" id="{4A46EF78-0D65-476E-A0DF-934E1CE4C9AF}"/>
                  </a:ext>
                </a:extLst>
              </p:cNvPr>
              <p:cNvSpPr/>
              <p:nvPr/>
            </p:nvSpPr>
            <p:spPr bwMode="auto">
              <a:xfrm>
                <a:off x="4537689" y="3064634"/>
                <a:ext cx="258634" cy="244078"/>
              </a:xfrm>
              <a:prstGeom prst="ellipse">
                <a:avLst/>
              </a:prstGeom>
              <a:solidFill>
                <a:srgbClr val="CC33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90" name="Freeform: Shape 189">
                <a:extLst>
                  <a:ext uri="{FF2B5EF4-FFF2-40B4-BE49-F238E27FC236}">
                    <a16:creationId xmlns:a16="http://schemas.microsoft.com/office/drawing/2014/main" id="{94EA172A-CABE-437A-B0F6-BF5048765AFA}"/>
                  </a:ext>
                </a:extLst>
              </p:cNvPr>
              <p:cNvSpPr/>
              <p:nvPr/>
            </p:nvSpPr>
            <p:spPr bwMode="auto">
              <a:xfrm>
                <a:off x="4608832" y="3060827"/>
                <a:ext cx="184433" cy="158834"/>
              </a:xfrm>
              <a:custGeom>
                <a:avLst/>
                <a:gdLst>
                  <a:gd name="connsiteX0" fmla="*/ 521 w 177971"/>
                  <a:gd name="connsiteY0" fmla="*/ 10033 h 158834"/>
                  <a:gd name="connsiteX1" fmla="*/ 74816 w 177971"/>
                  <a:gd name="connsiteY1" fmla="*/ 508 h 158834"/>
                  <a:gd name="connsiteX2" fmla="*/ 126251 w 177971"/>
                  <a:gd name="connsiteY2" fmla="*/ 23368 h 158834"/>
                  <a:gd name="connsiteX3" fmla="*/ 160541 w 177971"/>
                  <a:gd name="connsiteY3" fmla="*/ 69088 h 158834"/>
                  <a:gd name="connsiteX4" fmla="*/ 171971 w 177971"/>
                  <a:gd name="connsiteY4" fmla="*/ 107188 h 158834"/>
                  <a:gd name="connsiteX5" fmla="*/ 175781 w 177971"/>
                  <a:gd name="connsiteY5" fmla="*/ 156718 h 158834"/>
                  <a:gd name="connsiteX6" fmla="*/ 137681 w 177971"/>
                  <a:gd name="connsiteY6" fmla="*/ 143383 h 158834"/>
                  <a:gd name="connsiteX7" fmla="*/ 133871 w 177971"/>
                  <a:gd name="connsiteY7" fmla="*/ 86233 h 158834"/>
                  <a:gd name="connsiteX8" fmla="*/ 111011 w 177971"/>
                  <a:gd name="connsiteY8" fmla="*/ 67183 h 158834"/>
                  <a:gd name="connsiteX9" fmla="*/ 82436 w 177971"/>
                  <a:gd name="connsiteY9" fmla="*/ 44323 h 158834"/>
                  <a:gd name="connsiteX10" fmla="*/ 71006 w 177971"/>
                  <a:gd name="connsiteY10" fmla="*/ 36703 h 158834"/>
                  <a:gd name="connsiteX11" fmla="*/ 42431 w 177971"/>
                  <a:gd name="connsiteY11" fmla="*/ 38608 h 158834"/>
                  <a:gd name="connsiteX12" fmla="*/ 521 w 177971"/>
                  <a:gd name="connsiteY12" fmla="*/ 10033 h 15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971" h="158834">
                    <a:moveTo>
                      <a:pt x="521" y="10033"/>
                    </a:moveTo>
                    <a:cubicBezTo>
                      <a:pt x="5918" y="3683"/>
                      <a:pt x="53861" y="-1714"/>
                      <a:pt x="74816" y="508"/>
                    </a:cubicBezTo>
                    <a:cubicBezTo>
                      <a:pt x="95771" y="2730"/>
                      <a:pt x="111963" y="11938"/>
                      <a:pt x="126251" y="23368"/>
                    </a:cubicBezTo>
                    <a:cubicBezTo>
                      <a:pt x="140539" y="34798"/>
                      <a:pt x="152921" y="55118"/>
                      <a:pt x="160541" y="69088"/>
                    </a:cubicBezTo>
                    <a:cubicBezTo>
                      <a:pt x="168161" y="83058"/>
                      <a:pt x="169431" y="92583"/>
                      <a:pt x="171971" y="107188"/>
                    </a:cubicBezTo>
                    <a:cubicBezTo>
                      <a:pt x="174511" y="121793"/>
                      <a:pt x="181496" y="150685"/>
                      <a:pt x="175781" y="156718"/>
                    </a:cubicBezTo>
                    <a:cubicBezTo>
                      <a:pt x="170066" y="162751"/>
                      <a:pt x="144666" y="155130"/>
                      <a:pt x="137681" y="143383"/>
                    </a:cubicBezTo>
                    <a:cubicBezTo>
                      <a:pt x="130696" y="131636"/>
                      <a:pt x="138316" y="98933"/>
                      <a:pt x="133871" y="86233"/>
                    </a:cubicBezTo>
                    <a:cubicBezTo>
                      <a:pt x="129426" y="73533"/>
                      <a:pt x="119583" y="74168"/>
                      <a:pt x="111011" y="67183"/>
                    </a:cubicBezTo>
                    <a:cubicBezTo>
                      <a:pt x="102439" y="60198"/>
                      <a:pt x="89103" y="49403"/>
                      <a:pt x="82436" y="44323"/>
                    </a:cubicBezTo>
                    <a:cubicBezTo>
                      <a:pt x="75769" y="39243"/>
                      <a:pt x="77674" y="37656"/>
                      <a:pt x="71006" y="36703"/>
                    </a:cubicBezTo>
                    <a:cubicBezTo>
                      <a:pt x="64339" y="35751"/>
                      <a:pt x="51638" y="37338"/>
                      <a:pt x="42431" y="38608"/>
                    </a:cubicBezTo>
                    <a:cubicBezTo>
                      <a:pt x="33224" y="39878"/>
                      <a:pt x="-4876" y="16383"/>
                      <a:pt x="521" y="1003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91" name="Freeform: Shape 190">
                <a:extLst>
                  <a:ext uri="{FF2B5EF4-FFF2-40B4-BE49-F238E27FC236}">
                    <a16:creationId xmlns:a16="http://schemas.microsoft.com/office/drawing/2014/main" id="{4977DDBD-BD4D-41C6-989C-E2F9EA12A723}"/>
                  </a:ext>
                </a:extLst>
              </p:cNvPr>
              <p:cNvSpPr/>
              <p:nvPr/>
            </p:nvSpPr>
            <p:spPr bwMode="auto">
              <a:xfrm rot="7525021">
                <a:off x="4586895" y="3160083"/>
                <a:ext cx="184433" cy="158834"/>
              </a:xfrm>
              <a:custGeom>
                <a:avLst/>
                <a:gdLst>
                  <a:gd name="connsiteX0" fmla="*/ 521 w 177971"/>
                  <a:gd name="connsiteY0" fmla="*/ 10033 h 158834"/>
                  <a:gd name="connsiteX1" fmla="*/ 74816 w 177971"/>
                  <a:gd name="connsiteY1" fmla="*/ 508 h 158834"/>
                  <a:gd name="connsiteX2" fmla="*/ 126251 w 177971"/>
                  <a:gd name="connsiteY2" fmla="*/ 23368 h 158834"/>
                  <a:gd name="connsiteX3" fmla="*/ 160541 w 177971"/>
                  <a:gd name="connsiteY3" fmla="*/ 69088 h 158834"/>
                  <a:gd name="connsiteX4" fmla="*/ 171971 w 177971"/>
                  <a:gd name="connsiteY4" fmla="*/ 107188 h 158834"/>
                  <a:gd name="connsiteX5" fmla="*/ 175781 w 177971"/>
                  <a:gd name="connsiteY5" fmla="*/ 156718 h 158834"/>
                  <a:gd name="connsiteX6" fmla="*/ 137681 w 177971"/>
                  <a:gd name="connsiteY6" fmla="*/ 143383 h 158834"/>
                  <a:gd name="connsiteX7" fmla="*/ 133871 w 177971"/>
                  <a:gd name="connsiteY7" fmla="*/ 86233 h 158834"/>
                  <a:gd name="connsiteX8" fmla="*/ 111011 w 177971"/>
                  <a:gd name="connsiteY8" fmla="*/ 67183 h 158834"/>
                  <a:gd name="connsiteX9" fmla="*/ 82436 w 177971"/>
                  <a:gd name="connsiteY9" fmla="*/ 44323 h 158834"/>
                  <a:gd name="connsiteX10" fmla="*/ 71006 w 177971"/>
                  <a:gd name="connsiteY10" fmla="*/ 36703 h 158834"/>
                  <a:gd name="connsiteX11" fmla="*/ 42431 w 177971"/>
                  <a:gd name="connsiteY11" fmla="*/ 38608 h 158834"/>
                  <a:gd name="connsiteX12" fmla="*/ 521 w 177971"/>
                  <a:gd name="connsiteY12" fmla="*/ 10033 h 15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971" h="158834">
                    <a:moveTo>
                      <a:pt x="521" y="10033"/>
                    </a:moveTo>
                    <a:cubicBezTo>
                      <a:pt x="5918" y="3683"/>
                      <a:pt x="53861" y="-1714"/>
                      <a:pt x="74816" y="508"/>
                    </a:cubicBezTo>
                    <a:cubicBezTo>
                      <a:pt x="95771" y="2730"/>
                      <a:pt x="111963" y="11938"/>
                      <a:pt x="126251" y="23368"/>
                    </a:cubicBezTo>
                    <a:cubicBezTo>
                      <a:pt x="140539" y="34798"/>
                      <a:pt x="152921" y="55118"/>
                      <a:pt x="160541" y="69088"/>
                    </a:cubicBezTo>
                    <a:cubicBezTo>
                      <a:pt x="168161" y="83058"/>
                      <a:pt x="169431" y="92583"/>
                      <a:pt x="171971" y="107188"/>
                    </a:cubicBezTo>
                    <a:cubicBezTo>
                      <a:pt x="174511" y="121793"/>
                      <a:pt x="181496" y="150685"/>
                      <a:pt x="175781" y="156718"/>
                    </a:cubicBezTo>
                    <a:cubicBezTo>
                      <a:pt x="170066" y="162751"/>
                      <a:pt x="144666" y="155130"/>
                      <a:pt x="137681" y="143383"/>
                    </a:cubicBezTo>
                    <a:cubicBezTo>
                      <a:pt x="130696" y="131636"/>
                      <a:pt x="138316" y="98933"/>
                      <a:pt x="133871" y="86233"/>
                    </a:cubicBezTo>
                    <a:cubicBezTo>
                      <a:pt x="129426" y="73533"/>
                      <a:pt x="119583" y="74168"/>
                      <a:pt x="111011" y="67183"/>
                    </a:cubicBezTo>
                    <a:cubicBezTo>
                      <a:pt x="102439" y="60198"/>
                      <a:pt x="89103" y="49403"/>
                      <a:pt x="82436" y="44323"/>
                    </a:cubicBezTo>
                    <a:cubicBezTo>
                      <a:pt x="75769" y="39243"/>
                      <a:pt x="77674" y="37656"/>
                      <a:pt x="71006" y="36703"/>
                    </a:cubicBezTo>
                    <a:cubicBezTo>
                      <a:pt x="64339" y="35751"/>
                      <a:pt x="51638" y="37338"/>
                      <a:pt x="42431" y="38608"/>
                    </a:cubicBezTo>
                    <a:cubicBezTo>
                      <a:pt x="33224" y="39878"/>
                      <a:pt x="-4876" y="16383"/>
                      <a:pt x="521" y="1003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92" name="Freeform: Shape 191">
                <a:extLst>
                  <a:ext uri="{FF2B5EF4-FFF2-40B4-BE49-F238E27FC236}">
                    <a16:creationId xmlns:a16="http://schemas.microsoft.com/office/drawing/2014/main" id="{33DFD7DC-1327-48F4-A8F5-AE157F2B4688}"/>
                  </a:ext>
                </a:extLst>
              </p:cNvPr>
              <p:cNvSpPr/>
              <p:nvPr/>
            </p:nvSpPr>
            <p:spPr bwMode="auto">
              <a:xfrm rot="14994962">
                <a:off x="4524296" y="3087063"/>
                <a:ext cx="175302" cy="158834"/>
              </a:xfrm>
              <a:custGeom>
                <a:avLst/>
                <a:gdLst>
                  <a:gd name="connsiteX0" fmla="*/ 521 w 177971"/>
                  <a:gd name="connsiteY0" fmla="*/ 10033 h 158834"/>
                  <a:gd name="connsiteX1" fmla="*/ 74816 w 177971"/>
                  <a:gd name="connsiteY1" fmla="*/ 508 h 158834"/>
                  <a:gd name="connsiteX2" fmla="*/ 126251 w 177971"/>
                  <a:gd name="connsiteY2" fmla="*/ 23368 h 158834"/>
                  <a:gd name="connsiteX3" fmla="*/ 160541 w 177971"/>
                  <a:gd name="connsiteY3" fmla="*/ 69088 h 158834"/>
                  <a:gd name="connsiteX4" fmla="*/ 171971 w 177971"/>
                  <a:gd name="connsiteY4" fmla="*/ 107188 h 158834"/>
                  <a:gd name="connsiteX5" fmla="*/ 175781 w 177971"/>
                  <a:gd name="connsiteY5" fmla="*/ 156718 h 158834"/>
                  <a:gd name="connsiteX6" fmla="*/ 137681 w 177971"/>
                  <a:gd name="connsiteY6" fmla="*/ 143383 h 158834"/>
                  <a:gd name="connsiteX7" fmla="*/ 133871 w 177971"/>
                  <a:gd name="connsiteY7" fmla="*/ 86233 h 158834"/>
                  <a:gd name="connsiteX8" fmla="*/ 111011 w 177971"/>
                  <a:gd name="connsiteY8" fmla="*/ 67183 h 158834"/>
                  <a:gd name="connsiteX9" fmla="*/ 82436 w 177971"/>
                  <a:gd name="connsiteY9" fmla="*/ 44323 h 158834"/>
                  <a:gd name="connsiteX10" fmla="*/ 71006 w 177971"/>
                  <a:gd name="connsiteY10" fmla="*/ 36703 h 158834"/>
                  <a:gd name="connsiteX11" fmla="*/ 42431 w 177971"/>
                  <a:gd name="connsiteY11" fmla="*/ 38608 h 158834"/>
                  <a:gd name="connsiteX12" fmla="*/ 521 w 177971"/>
                  <a:gd name="connsiteY12" fmla="*/ 10033 h 15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971" h="158834">
                    <a:moveTo>
                      <a:pt x="521" y="10033"/>
                    </a:moveTo>
                    <a:cubicBezTo>
                      <a:pt x="5918" y="3683"/>
                      <a:pt x="53861" y="-1714"/>
                      <a:pt x="74816" y="508"/>
                    </a:cubicBezTo>
                    <a:cubicBezTo>
                      <a:pt x="95771" y="2730"/>
                      <a:pt x="111963" y="11938"/>
                      <a:pt x="126251" y="23368"/>
                    </a:cubicBezTo>
                    <a:cubicBezTo>
                      <a:pt x="140539" y="34798"/>
                      <a:pt x="152921" y="55118"/>
                      <a:pt x="160541" y="69088"/>
                    </a:cubicBezTo>
                    <a:cubicBezTo>
                      <a:pt x="168161" y="83058"/>
                      <a:pt x="169431" y="92583"/>
                      <a:pt x="171971" y="107188"/>
                    </a:cubicBezTo>
                    <a:cubicBezTo>
                      <a:pt x="174511" y="121793"/>
                      <a:pt x="181496" y="150685"/>
                      <a:pt x="175781" y="156718"/>
                    </a:cubicBezTo>
                    <a:cubicBezTo>
                      <a:pt x="170066" y="162751"/>
                      <a:pt x="144666" y="155130"/>
                      <a:pt x="137681" y="143383"/>
                    </a:cubicBezTo>
                    <a:cubicBezTo>
                      <a:pt x="130696" y="131636"/>
                      <a:pt x="138316" y="98933"/>
                      <a:pt x="133871" y="86233"/>
                    </a:cubicBezTo>
                    <a:cubicBezTo>
                      <a:pt x="129426" y="73533"/>
                      <a:pt x="119583" y="74168"/>
                      <a:pt x="111011" y="67183"/>
                    </a:cubicBezTo>
                    <a:cubicBezTo>
                      <a:pt x="102439" y="60198"/>
                      <a:pt x="89103" y="49403"/>
                      <a:pt x="82436" y="44323"/>
                    </a:cubicBezTo>
                    <a:cubicBezTo>
                      <a:pt x="75769" y="39243"/>
                      <a:pt x="77674" y="37656"/>
                      <a:pt x="71006" y="36703"/>
                    </a:cubicBezTo>
                    <a:cubicBezTo>
                      <a:pt x="64339" y="35751"/>
                      <a:pt x="51638" y="37338"/>
                      <a:pt x="42431" y="38608"/>
                    </a:cubicBezTo>
                    <a:cubicBezTo>
                      <a:pt x="33224" y="39878"/>
                      <a:pt x="-4876" y="16383"/>
                      <a:pt x="521" y="1003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93" name="Freeform 50">
                <a:extLst>
                  <a:ext uri="{FF2B5EF4-FFF2-40B4-BE49-F238E27FC236}">
                    <a16:creationId xmlns:a16="http://schemas.microsoft.com/office/drawing/2014/main" id="{C7F71CF7-E586-45F1-BA54-86598A4E2CE4}"/>
                  </a:ext>
                </a:extLst>
              </p:cNvPr>
              <p:cNvSpPr>
                <a:spLocks/>
              </p:cNvSpPr>
              <p:nvPr/>
            </p:nvSpPr>
            <p:spPr bwMode="auto">
              <a:xfrm rot="20964333">
                <a:off x="4705520" y="3085687"/>
                <a:ext cx="45719" cy="45719"/>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94" name="Freeform 50">
                <a:extLst>
                  <a:ext uri="{FF2B5EF4-FFF2-40B4-BE49-F238E27FC236}">
                    <a16:creationId xmlns:a16="http://schemas.microsoft.com/office/drawing/2014/main" id="{7E03D6D3-FC85-4854-B88B-41BD1F7612E0}"/>
                  </a:ext>
                </a:extLst>
              </p:cNvPr>
              <p:cNvSpPr>
                <a:spLocks/>
              </p:cNvSpPr>
              <p:nvPr/>
            </p:nvSpPr>
            <p:spPr bwMode="auto">
              <a:xfrm rot="17294481">
                <a:off x="4677013" y="3258237"/>
                <a:ext cx="45719" cy="45719"/>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95" name="Freeform 50">
                <a:extLst>
                  <a:ext uri="{FF2B5EF4-FFF2-40B4-BE49-F238E27FC236}">
                    <a16:creationId xmlns:a16="http://schemas.microsoft.com/office/drawing/2014/main" id="{C444E58D-8A4B-4056-938B-F550CB8A1F4A}"/>
                  </a:ext>
                </a:extLst>
              </p:cNvPr>
              <p:cNvSpPr>
                <a:spLocks/>
              </p:cNvSpPr>
              <p:nvPr/>
            </p:nvSpPr>
            <p:spPr bwMode="auto">
              <a:xfrm rot="14815092">
                <a:off x="4550366" y="3129915"/>
                <a:ext cx="45719" cy="45719"/>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80" name="Group 79">
              <a:extLst>
                <a:ext uri="{FF2B5EF4-FFF2-40B4-BE49-F238E27FC236}">
                  <a16:creationId xmlns:a16="http://schemas.microsoft.com/office/drawing/2014/main" id="{4DB896C2-6B94-4633-8552-A1055B913A9D}"/>
                </a:ext>
              </a:extLst>
            </p:cNvPr>
            <p:cNvGrpSpPr/>
            <p:nvPr/>
          </p:nvGrpSpPr>
          <p:grpSpPr>
            <a:xfrm>
              <a:off x="7181611" y="3463324"/>
              <a:ext cx="263793" cy="270889"/>
              <a:chOff x="4532530" y="3060827"/>
              <a:chExt cx="263793" cy="270889"/>
            </a:xfrm>
          </p:grpSpPr>
          <p:sp>
            <p:nvSpPr>
              <p:cNvPr id="182" name="Oval 181">
                <a:extLst>
                  <a:ext uri="{FF2B5EF4-FFF2-40B4-BE49-F238E27FC236}">
                    <a16:creationId xmlns:a16="http://schemas.microsoft.com/office/drawing/2014/main" id="{9C262EF7-1BDA-40DF-9B56-F5E2D0E572EB}"/>
                  </a:ext>
                </a:extLst>
              </p:cNvPr>
              <p:cNvSpPr/>
              <p:nvPr/>
            </p:nvSpPr>
            <p:spPr bwMode="auto">
              <a:xfrm>
                <a:off x="4537689" y="3064634"/>
                <a:ext cx="258634" cy="244078"/>
              </a:xfrm>
              <a:prstGeom prst="ellipse">
                <a:avLst/>
              </a:prstGeom>
              <a:solidFill>
                <a:srgbClr val="CC33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83" name="Freeform: Shape 182">
                <a:extLst>
                  <a:ext uri="{FF2B5EF4-FFF2-40B4-BE49-F238E27FC236}">
                    <a16:creationId xmlns:a16="http://schemas.microsoft.com/office/drawing/2014/main" id="{2AEC1D33-3BAA-43BE-B54D-7AA92A2D9FEC}"/>
                  </a:ext>
                </a:extLst>
              </p:cNvPr>
              <p:cNvSpPr/>
              <p:nvPr/>
            </p:nvSpPr>
            <p:spPr bwMode="auto">
              <a:xfrm>
                <a:off x="4608832" y="3060827"/>
                <a:ext cx="184433" cy="158834"/>
              </a:xfrm>
              <a:custGeom>
                <a:avLst/>
                <a:gdLst>
                  <a:gd name="connsiteX0" fmla="*/ 521 w 177971"/>
                  <a:gd name="connsiteY0" fmla="*/ 10033 h 158834"/>
                  <a:gd name="connsiteX1" fmla="*/ 74816 w 177971"/>
                  <a:gd name="connsiteY1" fmla="*/ 508 h 158834"/>
                  <a:gd name="connsiteX2" fmla="*/ 126251 w 177971"/>
                  <a:gd name="connsiteY2" fmla="*/ 23368 h 158834"/>
                  <a:gd name="connsiteX3" fmla="*/ 160541 w 177971"/>
                  <a:gd name="connsiteY3" fmla="*/ 69088 h 158834"/>
                  <a:gd name="connsiteX4" fmla="*/ 171971 w 177971"/>
                  <a:gd name="connsiteY4" fmla="*/ 107188 h 158834"/>
                  <a:gd name="connsiteX5" fmla="*/ 175781 w 177971"/>
                  <a:gd name="connsiteY5" fmla="*/ 156718 h 158834"/>
                  <a:gd name="connsiteX6" fmla="*/ 137681 w 177971"/>
                  <a:gd name="connsiteY6" fmla="*/ 143383 h 158834"/>
                  <a:gd name="connsiteX7" fmla="*/ 133871 w 177971"/>
                  <a:gd name="connsiteY7" fmla="*/ 86233 h 158834"/>
                  <a:gd name="connsiteX8" fmla="*/ 111011 w 177971"/>
                  <a:gd name="connsiteY8" fmla="*/ 67183 h 158834"/>
                  <a:gd name="connsiteX9" fmla="*/ 82436 w 177971"/>
                  <a:gd name="connsiteY9" fmla="*/ 44323 h 158834"/>
                  <a:gd name="connsiteX10" fmla="*/ 71006 w 177971"/>
                  <a:gd name="connsiteY10" fmla="*/ 36703 h 158834"/>
                  <a:gd name="connsiteX11" fmla="*/ 42431 w 177971"/>
                  <a:gd name="connsiteY11" fmla="*/ 38608 h 158834"/>
                  <a:gd name="connsiteX12" fmla="*/ 521 w 177971"/>
                  <a:gd name="connsiteY12" fmla="*/ 10033 h 15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971" h="158834">
                    <a:moveTo>
                      <a:pt x="521" y="10033"/>
                    </a:moveTo>
                    <a:cubicBezTo>
                      <a:pt x="5918" y="3683"/>
                      <a:pt x="53861" y="-1714"/>
                      <a:pt x="74816" y="508"/>
                    </a:cubicBezTo>
                    <a:cubicBezTo>
                      <a:pt x="95771" y="2730"/>
                      <a:pt x="111963" y="11938"/>
                      <a:pt x="126251" y="23368"/>
                    </a:cubicBezTo>
                    <a:cubicBezTo>
                      <a:pt x="140539" y="34798"/>
                      <a:pt x="152921" y="55118"/>
                      <a:pt x="160541" y="69088"/>
                    </a:cubicBezTo>
                    <a:cubicBezTo>
                      <a:pt x="168161" y="83058"/>
                      <a:pt x="169431" y="92583"/>
                      <a:pt x="171971" y="107188"/>
                    </a:cubicBezTo>
                    <a:cubicBezTo>
                      <a:pt x="174511" y="121793"/>
                      <a:pt x="181496" y="150685"/>
                      <a:pt x="175781" y="156718"/>
                    </a:cubicBezTo>
                    <a:cubicBezTo>
                      <a:pt x="170066" y="162751"/>
                      <a:pt x="144666" y="155130"/>
                      <a:pt x="137681" y="143383"/>
                    </a:cubicBezTo>
                    <a:cubicBezTo>
                      <a:pt x="130696" y="131636"/>
                      <a:pt x="138316" y="98933"/>
                      <a:pt x="133871" y="86233"/>
                    </a:cubicBezTo>
                    <a:cubicBezTo>
                      <a:pt x="129426" y="73533"/>
                      <a:pt x="119583" y="74168"/>
                      <a:pt x="111011" y="67183"/>
                    </a:cubicBezTo>
                    <a:cubicBezTo>
                      <a:pt x="102439" y="60198"/>
                      <a:pt x="89103" y="49403"/>
                      <a:pt x="82436" y="44323"/>
                    </a:cubicBezTo>
                    <a:cubicBezTo>
                      <a:pt x="75769" y="39243"/>
                      <a:pt x="77674" y="37656"/>
                      <a:pt x="71006" y="36703"/>
                    </a:cubicBezTo>
                    <a:cubicBezTo>
                      <a:pt x="64339" y="35751"/>
                      <a:pt x="51638" y="37338"/>
                      <a:pt x="42431" y="38608"/>
                    </a:cubicBezTo>
                    <a:cubicBezTo>
                      <a:pt x="33224" y="39878"/>
                      <a:pt x="-4876" y="16383"/>
                      <a:pt x="521" y="1003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84" name="Freeform: Shape 183">
                <a:extLst>
                  <a:ext uri="{FF2B5EF4-FFF2-40B4-BE49-F238E27FC236}">
                    <a16:creationId xmlns:a16="http://schemas.microsoft.com/office/drawing/2014/main" id="{266419FF-616C-431C-9A28-4F539EE93E8A}"/>
                  </a:ext>
                </a:extLst>
              </p:cNvPr>
              <p:cNvSpPr/>
              <p:nvPr/>
            </p:nvSpPr>
            <p:spPr bwMode="auto">
              <a:xfrm rot="7525021">
                <a:off x="4586895" y="3160083"/>
                <a:ext cx="184433" cy="158834"/>
              </a:xfrm>
              <a:custGeom>
                <a:avLst/>
                <a:gdLst>
                  <a:gd name="connsiteX0" fmla="*/ 521 w 177971"/>
                  <a:gd name="connsiteY0" fmla="*/ 10033 h 158834"/>
                  <a:gd name="connsiteX1" fmla="*/ 74816 w 177971"/>
                  <a:gd name="connsiteY1" fmla="*/ 508 h 158834"/>
                  <a:gd name="connsiteX2" fmla="*/ 126251 w 177971"/>
                  <a:gd name="connsiteY2" fmla="*/ 23368 h 158834"/>
                  <a:gd name="connsiteX3" fmla="*/ 160541 w 177971"/>
                  <a:gd name="connsiteY3" fmla="*/ 69088 h 158834"/>
                  <a:gd name="connsiteX4" fmla="*/ 171971 w 177971"/>
                  <a:gd name="connsiteY4" fmla="*/ 107188 h 158834"/>
                  <a:gd name="connsiteX5" fmla="*/ 175781 w 177971"/>
                  <a:gd name="connsiteY5" fmla="*/ 156718 h 158834"/>
                  <a:gd name="connsiteX6" fmla="*/ 137681 w 177971"/>
                  <a:gd name="connsiteY6" fmla="*/ 143383 h 158834"/>
                  <a:gd name="connsiteX7" fmla="*/ 133871 w 177971"/>
                  <a:gd name="connsiteY7" fmla="*/ 86233 h 158834"/>
                  <a:gd name="connsiteX8" fmla="*/ 111011 w 177971"/>
                  <a:gd name="connsiteY8" fmla="*/ 67183 h 158834"/>
                  <a:gd name="connsiteX9" fmla="*/ 82436 w 177971"/>
                  <a:gd name="connsiteY9" fmla="*/ 44323 h 158834"/>
                  <a:gd name="connsiteX10" fmla="*/ 71006 w 177971"/>
                  <a:gd name="connsiteY10" fmla="*/ 36703 h 158834"/>
                  <a:gd name="connsiteX11" fmla="*/ 42431 w 177971"/>
                  <a:gd name="connsiteY11" fmla="*/ 38608 h 158834"/>
                  <a:gd name="connsiteX12" fmla="*/ 521 w 177971"/>
                  <a:gd name="connsiteY12" fmla="*/ 10033 h 15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971" h="158834">
                    <a:moveTo>
                      <a:pt x="521" y="10033"/>
                    </a:moveTo>
                    <a:cubicBezTo>
                      <a:pt x="5918" y="3683"/>
                      <a:pt x="53861" y="-1714"/>
                      <a:pt x="74816" y="508"/>
                    </a:cubicBezTo>
                    <a:cubicBezTo>
                      <a:pt x="95771" y="2730"/>
                      <a:pt x="111963" y="11938"/>
                      <a:pt x="126251" y="23368"/>
                    </a:cubicBezTo>
                    <a:cubicBezTo>
                      <a:pt x="140539" y="34798"/>
                      <a:pt x="152921" y="55118"/>
                      <a:pt x="160541" y="69088"/>
                    </a:cubicBezTo>
                    <a:cubicBezTo>
                      <a:pt x="168161" y="83058"/>
                      <a:pt x="169431" y="92583"/>
                      <a:pt x="171971" y="107188"/>
                    </a:cubicBezTo>
                    <a:cubicBezTo>
                      <a:pt x="174511" y="121793"/>
                      <a:pt x="181496" y="150685"/>
                      <a:pt x="175781" y="156718"/>
                    </a:cubicBezTo>
                    <a:cubicBezTo>
                      <a:pt x="170066" y="162751"/>
                      <a:pt x="144666" y="155130"/>
                      <a:pt x="137681" y="143383"/>
                    </a:cubicBezTo>
                    <a:cubicBezTo>
                      <a:pt x="130696" y="131636"/>
                      <a:pt x="138316" y="98933"/>
                      <a:pt x="133871" y="86233"/>
                    </a:cubicBezTo>
                    <a:cubicBezTo>
                      <a:pt x="129426" y="73533"/>
                      <a:pt x="119583" y="74168"/>
                      <a:pt x="111011" y="67183"/>
                    </a:cubicBezTo>
                    <a:cubicBezTo>
                      <a:pt x="102439" y="60198"/>
                      <a:pt x="89103" y="49403"/>
                      <a:pt x="82436" y="44323"/>
                    </a:cubicBezTo>
                    <a:cubicBezTo>
                      <a:pt x="75769" y="39243"/>
                      <a:pt x="77674" y="37656"/>
                      <a:pt x="71006" y="36703"/>
                    </a:cubicBezTo>
                    <a:cubicBezTo>
                      <a:pt x="64339" y="35751"/>
                      <a:pt x="51638" y="37338"/>
                      <a:pt x="42431" y="38608"/>
                    </a:cubicBezTo>
                    <a:cubicBezTo>
                      <a:pt x="33224" y="39878"/>
                      <a:pt x="-4876" y="16383"/>
                      <a:pt x="521" y="1003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85" name="Freeform: Shape 184">
                <a:extLst>
                  <a:ext uri="{FF2B5EF4-FFF2-40B4-BE49-F238E27FC236}">
                    <a16:creationId xmlns:a16="http://schemas.microsoft.com/office/drawing/2014/main" id="{FCB3FC8A-7045-4EAA-B5E3-81E3002995E8}"/>
                  </a:ext>
                </a:extLst>
              </p:cNvPr>
              <p:cNvSpPr/>
              <p:nvPr/>
            </p:nvSpPr>
            <p:spPr bwMode="auto">
              <a:xfrm rot="14994962">
                <a:off x="4524296" y="3087063"/>
                <a:ext cx="175302" cy="158834"/>
              </a:xfrm>
              <a:custGeom>
                <a:avLst/>
                <a:gdLst>
                  <a:gd name="connsiteX0" fmla="*/ 521 w 177971"/>
                  <a:gd name="connsiteY0" fmla="*/ 10033 h 158834"/>
                  <a:gd name="connsiteX1" fmla="*/ 74816 w 177971"/>
                  <a:gd name="connsiteY1" fmla="*/ 508 h 158834"/>
                  <a:gd name="connsiteX2" fmla="*/ 126251 w 177971"/>
                  <a:gd name="connsiteY2" fmla="*/ 23368 h 158834"/>
                  <a:gd name="connsiteX3" fmla="*/ 160541 w 177971"/>
                  <a:gd name="connsiteY3" fmla="*/ 69088 h 158834"/>
                  <a:gd name="connsiteX4" fmla="*/ 171971 w 177971"/>
                  <a:gd name="connsiteY4" fmla="*/ 107188 h 158834"/>
                  <a:gd name="connsiteX5" fmla="*/ 175781 w 177971"/>
                  <a:gd name="connsiteY5" fmla="*/ 156718 h 158834"/>
                  <a:gd name="connsiteX6" fmla="*/ 137681 w 177971"/>
                  <a:gd name="connsiteY6" fmla="*/ 143383 h 158834"/>
                  <a:gd name="connsiteX7" fmla="*/ 133871 w 177971"/>
                  <a:gd name="connsiteY7" fmla="*/ 86233 h 158834"/>
                  <a:gd name="connsiteX8" fmla="*/ 111011 w 177971"/>
                  <a:gd name="connsiteY8" fmla="*/ 67183 h 158834"/>
                  <a:gd name="connsiteX9" fmla="*/ 82436 w 177971"/>
                  <a:gd name="connsiteY9" fmla="*/ 44323 h 158834"/>
                  <a:gd name="connsiteX10" fmla="*/ 71006 w 177971"/>
                  <a:gd name="connsiteY10" fmla="*/ 36703 h 158834"/>
                  <a:gd name="connsiteX11" fmla="*/ 42431 w 177971"/>
                  <a:gd name="connsiteY11" fmla="*/ 38608 h 158834"/>
                  <a:gd name="connsiteX12" fmla="*/ 521 w 177971"/>
                  <a:gd name="connsiteY12" fmla="*/ 10033 h 15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971" h="158834">
                    <a:moveTo>
                      <a:pt x="521" y="10033"/>
                    </a:moveTo>
                    <a:cubicBezTo>
                      <a:pt x="5918" y="3683"/>
                      <a:pt x="53861" y="-1714"/>
                      <a:pt x="74816" y="508"/>
                    </a:cubicBezTo>
                    <a:cubicBezTo>
                      <a:pt x="95771" y="2730"/>
                      <a:pt x="111963" y="11938"/>
                      <a:pt x="126251" y="23368"/>
                    </a:cubicBezTo>
                    <a:cubicBezTo>
                      <a:pt x="140539" y="34798"/>
                      <a:pt x="152921" y="55118"/>
                      <a:pt x="160541" y="69088"/>
                    </a:cubicBezTo>
                    <a:cubicBezTo>
                      <a:pt x="168161" y="83058"/>
                      <a:pt x="169431" y="92583"/>
                      <a:pt x="171971" y="107188"/>
                    </a:cubicBezTo>
                    <a:cubicBezTo>
                      <a:pt x="174511" y="121793"/>
                      <a:pt x="181496" y="150685"/>
                      <a:pt x="175781" y="156718"/>
                    </a:cubicBezTo>
                    <a:cubicBezTo>
                      <a:pt x="170066" y="162751"/>
                      <a:pt x="144666" y="155130"/>
                      <a:pt x="137681" y="143383"/>
                    </a:cubicBezTo>
                    <a:cubicBezTo>
                      <a:pt x="130696" y="131636"/>
                      <a:pt x="138316" y="98933"/>
                      <a:pt x="133871" y="86233"/>
                    </a:cubicBezTo>
                    <a:cubicBezTo>
                      <a:pt x="129426" y="73533"/>
                      <a:pt x="119583" y="74168"/>
                      <a:pt x="111011" y="67183"/>
                    </a:cubicBezTo>
                    <a:cubicBezTo>
                      <a:pt x="102439" y="60198"/>
                      <a:pt x="89103" y="49403"/>
                      <a:pt x="82436" y="44323"/>
                    </a:cubicBezTo>
                    <a:cubicBezTo>
                      <a:pt x="75769" y="39243"/>
                      <a:pt x="77674" y="37656"/>
                      <a:pt x="71006" y="36703"/>
                    </a:cubicBezTo>
                    <a:cubicBezTo>
                      <a:pt x="64339" y="35751"/>
                      <a:pt x="51638" y="37338"/>
                      <a:pt x="42431" y="38608"/>
                    </a:cubicBezTo>
                    <a:cubicBezTo>
                      <a:pt x="33224" y="39878"/>
                      <a:pt x="-4876" y="16383"/>
                      <a:pt x="521" y="1003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86" name="Freeform 50">
                <a:extLst>
                  <a:ext uri="{FF2B5EF4-FFF2-40B4-BE49-F238E27FC236}">
                    <a16:creationId xmlns:a16="http://schemas.microsoft.com/office/drawing/2014/main" id="{98E4BC09-208F-494C-8BF7-FA51ABDA653A}"/>
                  </a:ext>
                </a:extLst>
              </p:cNvPr>
              <p:cNvSpPr>
                <a:spLocks/>
              </p:cNvSpPr>
              <p:nvPr/>
            </p:nvSpPr>
            <p:spPr bwMode="auto">
              <a:xfrm rot="20964333">
                <a:off x="4705520" y="3085687"/>
                <a:ext cx="45719" cy="45719"/>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87" name="Freeform 50">
                <a:extLst>
                  <a:ext uri="{FF2B5EF4-FFF2-40B4-BE49-F238E27FC236}">
                    <a16:creationId xmlns:a16="http://schemas.microsoft.com/office/drawing/2014/main" id="{B8F2EE48-EC0B-437C-AB2D-0D812CDDA945}"/>
                  </a:ext>
                </a:extLst>
              </p:cNvPr>
              <p:cNvSpPr>
                <a:spLocks/>
              </p:cNvSpPr>
              <p:nvPr/>
            </p:nvSpPr>
            <p:spPr bwMode="auto">
              <a:xfrm rot="17294481">
                <a:off x="4677013" y="3258237"/>
                <a:ext cx="45719" cy="45719"/>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88" name="Freeform 50">
                <a:extLst>
                  <a:ext uri="{FF2B5EF4-FFF2-40B4-BE49-F238E27FC236}">
                    <a16:creationId xmlns:a16="http://schemas.microsoft.com/office/drawing/2014/main" id="{B44CC1E0-25C5-4D02-AB2B-2AF4C09A828C}"/>
                  </a:ext>
                </a:extLst>
              </p:cNvPr>
              <p:cNvSpPr>
                <a:spLocks/>
              </p:cNvSpPr>
              <p:nvPr/>
            </p:nvSpPr>
            <p:spPr bwMode="auto">
              <a:xfrm rot="14815092">
                <a:off x="4550366" y="3129915"/>
                <a:ext cx="45719" cy="45719"/>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81" name="Group 80">
              <a:extLst>
                <a:ext uri="{FF2B5EF4-FFF2-40B4-BE49-F238E27FC236}">
                  <a16:creationId xmlns:a16="http://schemas.microsoft.com/office/drawing/2014/main" id="{0DC2FF48-B65A-4692-A9EB-9B8A6371947A}"/>
                </a:ext>
              </a:extLst>
            </p:cNvPr>
            <p:cNvGrpSpPr/>
            <p:nvPr/>
          </p:nvGrpSpPr>
          <p:grpSpPr>
            <a:xfrm>
              <a:off x="6677046" y="4774238"/>
              <a:ext cx="263793" cy="270889"/>
              <a:chOff x="4532530" y="3060827"/>
              <a:chExt cx="263793" cy="270889"/>
            </a:xfrm>
          </p:grpSpPr>
          <p:sp>
            <p:nvSpPr>
              <p:cNvPr id="175" name="Oval 174">
                <a:extLst>
                  <a:ext uri="{FF2B5EF4-FFF2-40B4-BE49-F238E27FC236}">
                    <a16:creationId xmlns:a16="http://schemas.microsoft.com/office/drawing/2014/main" id="{70C90EAC-4FBD-469B-9CBB-75B715D44FEE}"/>
                  </a:ext>
                </a:extLst>
              </p:cNvPr>
              <p:cNvSpPr/>
              <p:nvPr/>
            </p:nvSpPr>
            <p:spPr bwMode="auto">
              <a:xfrm>
                <a:off x="4537689" y="3064634"/>
                <a:ext cx="258634" cy="244078"/>
              </a:xfrm>
              <a:prstGeom prst="ellipse">
                <a:avLst/>
              </a:prstGeom>
              <a:solidFill>
                <a:srgbClr val="CC33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76" name="Freeform: Shape 175">
                <a:extLst>
                  <a:ext uri="{FF2B5EF4-FFF2-40B4-BE49-F238E27FC236}">
                    <a16:creationId xmlns:a16="http://schemas.microsoft.com/office/drawing/2014/main" id="{F85C7B75-ACCA-4E9E-88F9-5FCCCA6FCFD0}"/>
                  </a:ext>
                </a:extLst>
              </p:cNvPr>
              <p:cNvSpPr/>
              <p:nvPr/>
            </p:nvSpPr>
            <p:spPr bwMode="auto">
              <a:xfrm>
                <a:off x="4608832" y="3060827"/>
                <a:ext cx="184433" cy="158834"/>
              </a:xfrm>
              <a:custGeom>
                <a:avLst/>
                <a:gdLst>
                  <a:gd name="connsiteX0" fmla="*/ 521 w 177971"/>
                  <a:gd name="connsiteY0" fmla="*/ 10033 h 158834"/>
                  <a:gd name="connsiteX1" fmla="*/ 74816 w 177971"/>
                  <a:gd name="connsiteY1" fmla="*/ 508 h 158834"/>
                  <a:gd name="connsiteX2" fmla="*/ 126251 w 177971"/>
                  <a:gd name="connsiteY2" fmla="*/ 23368 h 158834"/>
                  <a:gd name="connsiteX3" fmla="*/ 160541 w 177971"/>
                  <a:gd name="connsiteY3" fmla="*/ 69088 h 158834"/>
                  <a:gd name="connsiteX4" fmla="*/ 171971 w 177971"/>
                  <a:gd name="connsiteY4" fmla="*/ 107188 h 158834"/>
                  <a:gd name="connsiteX5" fmla="*/ 175781 w 177971"/>
                  <a:gd name="connsiteY5" fmla="*/ 156718 h 158834"/>
                  <a:gd name="connsiteX6" fmla="*/ 137681 w 177971"/>
                  <a:gd name="connsiteY6" fmla="*/ 143383 h 158834"/>
                  <a:gd name="connsiteX7" fmla="*/ 133871 w 177971"/>
                  <a:gd name="connsiteY7" fmla="*/ 86233 h 158834"/>
                  <a:gd name="connsiteX8" fmla="*/ 111011 w 177971"/>
                  <a:gd name="connsiteY8" fmla="*/ 67183 h 158834"/>
                  <a:gd name="connsiteX9" fmla="*/ 82436 w 177971"/>
                  <a:gd name="connsiteY9" fmla="*/ 44323 h 158834"/>
                  <a:gd name="connsiteX10" fmla="*/ 71006 w 177971"/>
                  <a:gd name="connsiteY10" fmla="*/ 36703 h 158834"/>
                  <a:gd name="connsiteX11" fmla="*/ 42431 w 177971"/>
                  <a:gd name="connsiteY11" fmla="*/ 38608 h 158834"/>
                  <a:gd name="connsiteX12" fmla="*/ 521 w 177971"/>
                  <a:gd name="connsiteY12" fmla="*/ 10033 h 15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971" h="158834">
                    <a:moveTo>
                      <a:pt x="521" y="10033"/>
                    </a:moveTo>
                    <a:cubicBezTo>
                      <a:pt x="5918" y="3683"/>
                      <a:pt x="53861" y="-1714"/>
                      <a:pt x="74816" y="508"/>
                    </a:cubicBezTo>
                    <a:cubicBezTo>
                      <a:pt x="95771" y="2730"/>
                      <a:pt x="111963" y="11938"/>
                      <a:pt x="126251" y="23368"/>
                    </a:cubicBezTo>
                    <a:cubicBezTo>
                      <a:pt x="140539" y="34798"/>
                      <a:pt x="152921" y="55118"/>
                      <a:pt x="160541" y="69088"/>
                    </a:cubicBezTo>
                    <a:cubicBezTo>
                      <a:pt x="168161" y="83058"/>
                      <a:pt x="169431" y="92583"/>
                      <a:pt x="171971" y="107188"/>
                    </a:cubicBezTo>
                    <a:cubicBezTo>
                      <a:pt x="174511" y="121793"/>
                      <a:pt x="181496" y="150685"/>
                      <a:pt x="175781" y="156718"/>
                    </a:cubicBezTo>
                    <a:cubicBezTo>
                      <a:pt x="170066" y="162751"/>
                      <a:pt x="144666" y="155130"/>
                      <a:pt x="137681" y="143383"/>
                    </a:cubicBezTo>
                    <a:cubicBezTo>
                      <a:pt x="130696" y="131636"/>
                      <a:pt x="138316" y="98933"/>
                      <a:pt x="133871" y="86233"/>
                    </a:cubicBezTo>
                    <a:cubicBezTo>
                      <a:pt x="129426" y="73533"/>
                      <a:pt x="119583" y="74168"/>
                      <a:pt x="111011" y="67183"/>
                    </a:cubicBezTo>
                    <a:cubicBezTo>
                      <a:pt x="102439" y="60198"/>
                      <a:pt x="89103" y="49403"/>
                      <a:pt x="82436" y="44323"/>
                    </a:cubicBezTo>
                    <a:cubicBezTo>
                      <a:pt x="75769" y="39243"/>
                      <a:pt x="77674" y="37656"/>
                      <a:pt x="71006" y="36703"/>
                    </a:cubicBezTo>
                    <a:cubicBezTo>
                      <a:pt x="64339" y="35751"/>
                      <a:pt x="51638" y="37338"/>
                      <a:pt x="42431" y="38608"/>
                    </a:cubicBezTo>
                    <a:cubicBezTo>
                      <a:pt x="33224" y="39878"/>
                      <a:pt x="-4876" y="16383"/>
                      <a:pt x="521" y="1003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77" name="Freeform: Shape 176">
                <a:extLst>
                  <a:ext uri="{FF2B5EF4-FFF2-40B4-BE49-F238E27FC236}">
                    <a16:creationId xmlns:a16="http://schemas.microsoft.com/office/drawing/2014/main" id="{84D27A17-3D4D-44DB-BFA8-1F2D790092A3}"/>
                  </a:ext>
                </a:extLst>
              </p:cNvPr>
              <p:cNvSpPr/>
              <p:nvPr/>
            </p:nvSpPr>
            <p:spPr bwMode="auto">
              <a:xfrm rot="7525021">
                <a:off x="4586895" y="3160083"/>
                <a:ext cx="184433" cy="158834"/>
              </a:xfrm>
              <a:custGeom>
                <a:avLst/>
                <a:gdLst>
                  <a:gd name="connsiteX0" fmla="*/ 521 w 177971"/>
                  <a:gd name="connsiteY0" fmla="*/ 10033 h 158834"/>
                  <a:gd name="connsiteX1" fmla="*/ 74816 w 177971"/>
                  <a:gd name="connsiteY1" fmla="*/ 508 h 158834"/>
                  <a:gd name="connsiteX2" fmla="*/ 126251 w 177971"/>
                  <a:gd name="connsiteY2" fmla="*/ 23368 h 158834"/>
                  <a:gd name="connsiteX3" fmla="*/ 160541 w 177971"/>
                  <a:gd name="connsiteY3" fmla="*/ 69088 h 158834"/>
                  <a:gd name="connsiteX4" fmla="*/ 171971 w 177971"/>
                  <a:gd name="connsiteY4" fmla="*/ 107188 h 158834"/>
                  <a:gd name="connsiteX5" fmla="*/ 175781 w 177971"/>
                  <a:gd name="connsiteY5" fmla="*/ 156718 h 158834"/>
                  <a:gd name="connsiteX6" fmla="*/ 137681 w 177971"/>
                  <a:gd name="connsiteY6" fmla="*/ 143383 h 158834"/>
                  <a:gd name="connsiteX7" fmla="*/ 133871 w 177971"/>
                  <a:gd name="connsiteY7" fmla="*/ 86233 h 158834"/>
                  <a:gd name="connsiteX8" fmla="*/ 111011 w 177971"/>
                  <a:gd name="connsiteY8" fmla="*/ 67183 h 158834"/>
                  <a:gd name="connsiteX9" fmla="*/ 82436 w 177971"/>
                  <a:gd name="connsiteY9" fmla="*/ 44323 h 158834"/>
                  <a:gd name="connsiteX10" fmla="*/ 71006 w 177971"/>
                  <a:gd name="connsiteY10" fmla="*/ 36703 h 158834"/>
                  <a:gd name="connsiteX11" fmla="*/ 42431 w 177971"/>
                  <a:gd name="connsiteY11" fmla="*/ 38608 h 158834"/>
                  <a:gd name="connsiteX12" fmla="*/ 521 w 177971"/>
                  <a:gd name="connsiteY12" fmla="*/ 10033 h 15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971" h="158834">
                    <a:moveTo>
                      <a:pt x="521" y="10033"/>
                    </a:moveTo>
                    <a:cubicBezTo>
                      <a:pt x="5918" y="3683"/>
                      <a:pt x="53861" y="-1714"/>
                      <a:pt x="74816" y="508"/>
                    </a:cubicBezTo>
                    <a:cubicBezTo>
                      <a:pt x="95771" y="2730"/>
                      <a:pt x="111963" y="11938"/>
                      <a:pt x="126251" y="23368"/>
                    </a:cubicBezTo>
                    <a:cubicBezTo>
                      <a:pt x="140539" y="34798"/>
                      <a:pt x="152921" y="55118"/>
                      <a:pt x="160541" y="69088"/>
                    </a:cubicBezTo>
                    <a:cubicBezTo>
                      <a:pt x="168161" y="83058"/>
                      <a:pt x="169431" y="92583"/>
                      <a:pt x="171971" y="107188"/>
                    </a:cubicBezTo>
                    <a:cubicBezTo>
                      <a:pt x="174511" y="121793"/>
                      <a:pt x="181496" y="150685"/>
                      <a:pt x="175781" y="156718"/>
                    </a:cubicBezTo>
                    <a:cubicBezTo>
                      <a:pt x="170066" y="162751"/>
                      <a:pt x="144666" y="155130"/>
                      <a:pt x="137681" y="143383"/>
                    </a:cubicBezTo>
                    <a:cubicBezTo>
                      <a:pt x="130696" y="131636"/>
                      <a:pt x="138316" y="98933"/>
                      <a:pt x="133871" y="86233"/>
                    </a:cubicBezTo>
                    <a:cubicBezTo>
                      <a:pt x="129426" y="73533"/>
                      <a:pt x="119583" y="74168"/>
                      <a:pt x="111011" y="67183"/>
                    </a:cubicBezTo>
                    <a:cubicBezTo>
                      <a:pt x="102439" y="60198"/>
                      <a:pt x="89103" y="49403"/>
                      <a:pt x="82436" y="44323"/>
                    </a:cubicBezTo>
                    <a:cubicBezTo>
                      <a:pt x="75769" y="39243"/>
                      <a:pt x="77674" y="37656"/>
                      <a:pt x="71006" y="36703"/>
                    </a:cubicBezTo>
                    <a:cubicBezTo>
                      <a:pt x="64339" y="35751"/>
                      <a:pt x="51638" y="37338"/>
                      <a:pt x="42431" y="38608"/>
                    </a:cubicBezTo>
                    <a:cubicBezTo>
                      <a:pt x="33224" y="39878"/>
                      <a:pt x="-4876" y="16383"/>
                      <a:pt x="521" y="1003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78" name="Freeform: Shape 177">
                <a:extLst>
                  <a:ext uri="{FF2B5EF4-FFF2-40B4-BE49-F238E27FC236}">
                    <a16:creationId xmlns:a16="http://schemas.microsoft.com/office/drawing/2014/main" id="{F45D3F86-243F-4524-A9E2-F2C897514164}"/>
                  </a:ext>
                </a:extLst>
              </p:cNvPr>
              <p:cNvSpPr/>
              <p:nvPr/>
            </p:nvSpPr>
            <p:spPr bwMode="auto">
              <a:xfrm rot="14994962">
                <a:off x="4524296" y="3087063"/>
                <a:ext cx="175302" cy="158834"/>
              </a:xfrm>
              <a:custGeom>
                <a:avLst/>
                <a:gdLst>
                  <a:gd name="connsiteX0" fmla="*/ 521 w 177971"/>
                  <a:gd name="connsiteY0" fmla="*/ 10033 h 158834"/>
                  <a:gd name="connsiteX1" fmla="*/ 74816 w 177971"/>
                  <a:gd name="connsiteY1" fmla="*/ 508 h 158834"/>
                  <a:gd name="connsiteX2" fmla="*/ 126251 w 177971"/>
                  <a:gd name="connsiteY2" fmla="*/ 23368 h 158834"/>
                  <a:gd name="connsiteX3" fmla="*/ 160541 w 177971"/>
                  <a:gd name="connsiteY3" fmla="*/ 69088 h 158834"/>
                  <a:gd name="connsiteX4" fmla="*/ 171971 w 177971"/>
                  <a:gd name="connsiteY4" fmla="*/ 107188 h 158834"/>
                  <a:gd name="connsiteX5" fmla="*/ 175781 w 177971"/>
                  <a:gd name="connsiteY5" fmla="*/ 156718 h 158834"/>
                  <a:gd name="connsiteX6" fmla="*/ 137681 w 177971"/>
                  <a:gd name="connsiteY6" fmla="*/ 143383 h 158834"/>
                  <a:gd name="connsiteX7" fmla="*/ 133871 w 177971"/>
                  <a:gd name="connsiteY7" fmla="*/ 86233 h 158834"/>
                  <a:gd name="connsiteX8" fmla="*/ 111011 w 177971"/>
                  <a:gd name="connsiteY8" fmla="*/ 67183 h 158834"/>
                  <a:gd name="connsiteX9" fmla="*/ 82436 w 177971"/>
                  <a:gd name="connsiteY9" fmla="*/ 44323 h 158834"/>
                  <a:gd name="connsiteX10" fmla="*/ 71006 w 177971"/>
                  <a:gd name="connsiteY10" fmla="*/ 36703 h 158834"/>
                  <a:gd name="connsiteX11" fmla="*/ 42431 w 177971"/>
                  <a:gd name="connsiteY11" fmla="*/ 38608 h 158834"/>
                  <a:gd name="connsiteX12" fmla="*/ 521 w 177971"/>
                  <a:gd name="connsiteY12" fmla="*/ 10033 h 15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971" h="158834">
                    <a:moveTo>
                      <a:pt x="521" y="10033"/>
                    </a:moveTo>
                    <a:cubicBezTo>
                      <a:pt x="5918" y="3683"/>
                      <a:pt x="53861" y="-1714"/>
                      <a:pt x="74816" y="508"/>
                    </a:cubicBezTo>
                    <a:cubicBezTo>
                      <a:pt x="95771" y="2730"/>
                      <a:pt x="111963" y="11938"/>
                      <a:pt x="126251" y="23368"/>
                    </a:cubicBezTo>
                    <a:cubicBezTo>
                      <a:pt x="140539" y="34798"/>
                      <a:pt x="152921" y="55118"/>
                      <a:pt x="160541" y="69088"/>
                    </a:cubicBezTo>
                    <a:cubicBezTo>
                      <a:pt x="168161" y="83058"/>
                      <a:pt x="169431" y="92583"/>
                      <a:pt x="171971" y="107188"/>
                    </a:cubicBezTo>
                    <a:cubicBezTo>
                      <a:pt x="174511" y="121793"/>
                      <a:pt x="181496" y="150685"/>
                      <a:pt x="175781" y="156718"/>
                    </a:cubicBezTo>
                    <a:cubicBezTo>
                      <a:pt x="170066" y="162751"/>
                      <a:pt x="144666" y="155130"/>
                      <a:pt x="137681" y="143383"/>
                    </a:cubicBezTo>
                    <a:cubicBezTo>
                      <a:pt x="130696" y="131636"/>
                      <a:pt x="138316" y="98933"/>
                      <a:pt x="133871" y="86233"/>
                    </a:cubicBezTo>
                    <a:cubicBezTo>
                      <a:pt x="129426" y="73533"/>
                      <a:pt x="119583" y="74168"/>
                      <a:pt x="111011" y="67183"/>
                    </a:cubicBezTo>
                    <a:cubicBezTo>
                      <a:pt x="102439" y="60198"/>
                      <a:pt x="89103" y="49403"/>
                      <a:pt x="82436" y="44323"/>
                    </a:cubicBezTo>
                    <a:cubicBezTo>
                      <a:pt x="75769" y="39243"/>
                      <a:pt x="77674" y="37656"/>
                      <a:pt x="71006" y="36703"/>
                    </a:cubicBezTo>
                    <a:cubicBezTo>
                      <a:pt x="64339" y="35751"/>
                      <a:pt x="51638" y="37338"/>
                      <a:pt x="42431" y="38608"/>
                    </a:cubicBezTo>
                    <a:cubicBezTo>
                      <a:pt x="33224" y="39878"/>
                      <a:pt x="-4876" y="16383"/>
                      <a:pt x="521" y="1003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79" name="Freeform 50">
                <a:extLst>
                  <a:ext uri="{FF2B5EF4-FFF2-40B4-BE49-F238E27FC236}">
                    <a16:creationId xmlns:a16="http://schemas.microsoft.com/office/drawing/2014/main" id="{16B4E8BC-D929-4B70-8F08-E606DF6CDB18}"/>
                  </a:ext>
                </a:extLst>
              </p:cNvPr>
              <p:cNvSpPr>
                <a:spLocks/>
              </p:cNvSpPr>
              <p:nvPr/>
            </p:nvSpPr>
            <p:spPr bwMode="auto">
              <a:xfrm rot="20964333">
                <a:off x="4705520" y="3085687"/>
                <a:ext cx="45719" cy="45719"/>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80" name="Freeform 50">
                <a:extLst>
                  <a:ext uri="{FF2B5EF4-FFF2-40B4-BE49-F238E27FC236}">
                    <a16:creationId xmlns:a16="http://schemas.microsoft.com/office/drawing/2014/main" id="{16EB8779-6B13-4300-9A3D-2BACF7564A6C}"/>
                  </a:ext>
                </a:extLst>
              </p:cNvPr>
              <p:cNvSpPr>
                <a:spLocks/>
              </p:cNvSpPr>
              <p:nvPr/>
            </p:nvSpPr>
            <p:spPr bwMode="auto">
              <a:xfrm rot="17294481">
                <a:off x="4677013" y="3258237"/>
                <a:ext cx="45719" cy="45719"/>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81" name="Freeform 50">
                <a:extLst>
                  <a:ext uri="{FF2B5EF4-FFF2-40B4-BE49-F238E27FC236}">
                    <a16:creationId xmlns:a16="http://schemas.microsoft.com/office/drawing/2014/main" id="{FAF25BA3-0B80-4E9F-AEBA-76552B1CF5C3}"/>
                  </a:ext>
                </a:extLst>
              </p:cNvPr>
              <p:cNvSpPr>
                <a:spLocks/>
              </p:cNvSpPr>
              <p:nvPr/>
            </p:nvSpPr>
            <p:spPr bwMode="auto">
              <a:xfrm rot="14815092">
                <a:off x="4550366" y="3129915"/>
                <a:ext cx="45719" cy="45719"/>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82" name="Group 81">
              <a:extLst>
                <a:ext uri="{FF2B5EF4-FFF2-40B4-BE49-F238E27FC236}">
                  <a16:creationId xmlns:a16="http://schemas.microsoft.com/office/drawing/2014/main" id="{5EEC2158-320C-4A33-AB27-03FD5836DFAA}"/>
                </a:ext>
              </a:extLst>
            </p:cNvPr>
            <p:cNvGrpSpPr/>
            <p:nvPr/>
          </p:nvGrpSpPr>
          <p:grpSpPr>
            <a:xfrm rot="16625486">
              <a:off x="4764696" y="3609538"/>
              <a:ext cx="371831" cy="449659"/>
              <a:chOff x="3454982" y="1623694"/>
              <a:chExt cx="522226" cy="488747"/>
            </a:xfrm>
          </p:grpSpPr>
          <p:sp>
            <p:nvSpPr>
              <p:cNvPr id="173" name="Freeform 117">
                <a:extLst>
                  <a:ext uri="{FF2B5EF4-FFF2-40B4-BE49-F238E27FC236}">
                    <a16:creationId xmlns:a16="http://schemas.microsoft.com/office/drawing/2014/main" id="{ABCD7DC0-28E5-48EE-80E7-3A1D24E6753B}"/>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74" name="Freeform 118">
                <a:extLst>
                  <a:ext uri="{FF2B5EF4-FFF2-40B4-BE49-F238E27FC236}">
                    <a16:creationId xmlns:a16="http://schemas.microsoft.com/office/drawing/2014/main" id="{CA670B31-BAA8-40F3-8460-896363BE9063}"/>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83" name="Group 82">
              <a:extLst>
                <a:ext uri="{FF2B5EF4-FFF2-40B4-BE49-F238E27FC236}">
                  <a16:creationId xmlns:a16="http://schemas.microsoft.com/office/drawing/2014/main" id="{7A0A094B-C9FA-4C01-9D29-1B219C8C98D6}"/>
                </a:ext>
              </a:extLst>
            </p:cNvPr>
            <p:cNvGrpSpPr/>
            <p:nvPr/>
          </p:nvGrpSpPr>
          <p:grpSpPr>
            <a:xfrm rot="15075261">
              <a:off x="4915363" y="4109612"/>
              <a:ext cx="371831" cy="449659"/>
              <a:chOff x="3454982" y="1623694"/>
              <a:chExt cx="522226" cy="488747"/>
            </a:xfrm>
          </p:grpSpPr>
          <p:sp>
            <p:nvSpPr>
              <p:cNvPr id="171" name="Freeform 117">
                <a:extLst>
                  <a:ext uri="{FF2B5EF4-FFF2-40B4-BE49-F238E27FC236}">
                    <a16:creationId xmlns:a16="http://schemas.microsoft.com/office/drawing/2014/main" id="{25F08967-D3C9-44DF-A663-65C8AE3A79BF}"/>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72" name="Freeform 118">
                <a:extLst>
                  <a:ext uri="{FF2B5EF4-FFF2-40B4-BE49-F238E27FC236}">
                    <a16:creationId xmlns:a16="http://schemas.microsoft.com/office/drawing/2014/main" id="{C3054716-BC77-40F1-BCB0-9A134B140E13}"/>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84" name="Group 83">
              <a:extLst>
                <a:ext uri="{FF2B5EF4-FFF2-40B4-BE49-F238E27FC236}">
                  <a16:creationId xmlns:a16="http://schemas.microsoft.com/office/drawing/2014/main" id="{1D0261B2-FB99-4160-B8A4-6E7A72AAB5F8}"/>
                </a:ext>
              </a:extLst>
            </p:cNvPr>
            <p:cNvGrpSpPr/>
            <p:nvPr/>
          </p:nvGrpSpPr>
          <p:grpSpPr>
            <a:xfrm rot="13105861">
              <a:off x="5250702" y="4452442"/>
              <a:ext cx="371831" cy="449659"/>
              <a:chOff x="3454982" y="1623694"/>
              <a:chExt cx="522226" cy="488747"/>
            </a:xfrm>
          </p:grpSpPr>
          <p:sp>
            <p:nvSpPr>
              <p:cNvPr id="169" name="Freeform 117">
                <a:extLst>
                  <a:ext uri="{FF2B5EF4-FFF2-40B4-BE49-F238E27FC236}">
                    <a16:creationId xmlns:a16="http://schemas.microsoft.com/office/drawing/2014/main" id="{B092A8F1-994B-42D6-ADE2-21B8CD37EABF}"/>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70" name="Freeform 118">
                <a:extLst>
                  <a:ext uri="{FF2B5EF4-FFF2-40B4-BE49-F238E27FC236}">
                    <a16:creationId xmlns:a16="http://schemas.microsoft.com/office/drawing/2014/main" id="{ADB01691-7BAB-450A-A289-A8459B22E990}"/>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85" name="Group 84">
              <a:extLst>
                <a:ext uri="{FF2B5EF4-FFF2-40B4-BE49-F238E27FC236}">
                  <a16:creationId xmlns:a16="http://schemas.microsoft.com/office/drawing/2014/main" id="{1E60E5CF-7ADD-4438-B8BD-B29E31B268D6}"/>
                </a:ext>
              </a:extLst>
            </p:cNvPr>
            <p:cNvGrpSpPr/>
            <p:nvPr/>
          </p:nvGrpSpPr>
          <p:grpSpPr>
            <a:xfrm rot="11413741">
              <a:off x="5733324" y="4573776"/>
              <a:ext cx="371831" cy="449659"/>
              <a:chOff x="3454982" y="1623694"/>
              <a:chExt cx="522226" cy="488747"/>
            </a:xfrm>
          </p:grpSpPr>
          <p:sp>
            <p:nvSpPr>
              <p:cNvPr id="167" name="Freeform 117">
                <a:extLst>
                  <a:ext uri="{FF2B5EF4-FFF2-40B4-BE49-F238E27FC236}">
                    <a16:creationId xmlns:a16="http://schemas.microsoft.com/office/drawing/2014/main" id="{B506D7DF-23D7-4B95-B7DD-C0133E0C7EFE}"/>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68" name="Freeform 118">
                <a:extLst>
                  <a:ext uri="{FF2B5EF4-FFF2-40B4-BE49-F238E27FC236}">
                    <a16:creationId xmlns:a16="http://schemas.microsoft.com/office/drawing/2014/main" id="{AC7CE430-258E-407C-8CD4-05225D2B74D1}"/>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86" name="Group 85">
              <a:extLst>
                <a:ext uri="{FF2B5EF4-FFF2-40B4-BE49-F238E27FC236}">
                  <a16:creationId xmlns:a16="http://schemas.microsoft.com/office/drawing/2014/main" id="{722EE75F-A303-4CD2-B115-FED704D3E5E7}"/>
                </a:ext>
              </a:extLst>
            </p:cNvPr>
            <p:cNvGrpSpPr/>
            <p:nvPr/>
          </p:nvGrpSpPr>
          <p:grpSpPr>
            <a:xfrm rot="9813991">
              <a:off x="6221432" y="4451501"/>
              <a:ext cx="371831" cy="449659"/>
              <a:chOff x="3454982" y="1623694"/>
              <a:chExt cx="522226" cy="488747"/>
            </a:xfrm>
          </p:grpSpPr>
          <p:sp>
            <p:nvSpPr>
              <p:cNvPr id="165" name="Freeform 117">
                <a:extLst>
                  <a:ext uri="{FF2B5EF4-FFF2-40B4-BE49-F238E27FC236}">
                    <a16:creationId xmlns:a16="http://schemas.microsoft.com/office/drawing/2014/main" id="{3FC08F39-4BE5-48B7-89AF-256A7F95F68D}"/>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66" name="Freeform 118">
                <a:extLst>
                  <a:ext uri="{FF2B5EF4-FFF2-40B4-BE49-F238E27FC236}">
                    <a16:creationId xmlns:a16="http://schemas.microsoft.com/office/drawing/2014/main" id="{C25CDA2F-621D-457E-8318-5ED200770099}"/>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87" name="Group 86">
              <a:extLst>
                <a:ext uri="{FF2B5EF4-FFF2-40B4-BE49-F238E27FC236}">
                  <a16:creationId xmlns:a16="http://schemas.microsoft.com/office/drawing/2014/main" id="{123439EA-CA9D-45E8-A6E9-3BEA771A095D}"/>
                </a:ext>
              </a:extLst>
            </p:cNvPr>
            <p:cNvGrpSpPr/>
            <p:nvPr/>
          </p:nvGrpSpPr>
          <p:grpSpPr>
            <a:xfrm rot="7782131">
              <a:off x="6570129" y="4102519"/>
              <a:ext cx="371831" cy="449659"/>
              <a:chOff x="3454982" y="1623694"/>
              <a:chExt cx="522226" cy="488747"/>
            </a:xfrm>
          </p:grpSpPr>
          <p:sp>
            <p:nvSpPr>
              <p:cNvPr id="163" name="Freeform 117">
                <a:extLst>
                  <a:ext uri="{FF2B5EF4-FFF2-40B4-BE49-F238E27FC236}">
                    <a16:creationId xmlns:a16="http://schemas.microsoft.com/office/drawing/2014/main" id="{588598E3-0A4E-475A-950E-19F865D742F6}"/>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64" name="Freeform 118">
                <a:extLst>
                  <a:ext uri="{FF2B5EF4-FFF2-40B4-BE49-F238E27FC236}">
                    <a16:creationId xmlns:a16="http://schemas.microsoft.com/office/drawing/2014/main" id="{6E4AB720-18FC-4827-AFCA-B032C0299FB6}"/>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88" name="Group 87">
              <a:extLst>
                <a:ext uri="{FF2B5EF4-FFF2-40B4-BE49-F238E27FC236}">
                  <a16:creationId xmlns:a16="http://schemas.microsoft.com/office/drawing/2014/main" id="{62AB7317-86C4-413F-8310-F929462C4746}"/>
                </a:ext>
              </a:extLst>
            </p:cNvPr>
            <p:cNvGrpSpPr/>
            <p:nvPr/>
          </p:nvGrpSpPr>
          <p:grpSpPr>
            <a:xfrm rot="7782131">
              <a:off x="6397920" y="3997513"/>
              <a:ext cx="371831" cy="449659"/>
              <a:chOff x="3454982" y="1623694"/>
              <a:chExt cx="522226" cy="488747"/>
            </a:xfrm>
          </p:grpSpPr>
          <p:sp>
            <p:nvSpPr>
              <p:cNvPr id="161" name="Freeform 117">
                <a:extLst>
                  <a:ext uri="{FF2B5EF4-FFF2-40B4-BE49-F238E27FC236}">
                    <a16:creationId xmlns:a16="http://schemas.microsoft.com/office/drawing/2014/main" id="{BBB95579-A5E0-4850-A766-B60E7876B1FB}"/>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62" name="Freeform 118">
                <a:extLst>
                  <a:ext uri="{FF2B5EF4-FFF2-40B4-BE49-F238E27FC236}">
                    <a16:creationId xmlns:a16="http://schemas.microsoft.com/office/drawing/2014/main" id="{94981645-8310-495D-8FCF-D62068617E9A}"/>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89" name="Group 88">
              <a:extLst>
                <a:ext uri="{FF2B5EF4-FFF2-40B4-BE49-F238E27FC236}">
                  <a16:creationId xmlns:a16="http://schemas.microsoft.com/office/drawing/2014/main" id="{1D7A84B6-0179-4F81-8157-DA9BA2627B36}"/>
                </a:ext>
              </a:extLst>
            </p:cNvPr>
            <p:cNvGrpSpPr/>
            <p:nvPr/>
          </p:nvGrpSpPr>
          <p:grpSpPr>
            <a:xfrm rot="6669716">
              <a:off x="6565877" y="3830370"/>
              <a:ext cx="371831" cy="449659"/>
              <a:chOff x="3454982" y="1623694"/>
              <a:chExt cx="522226" cy="488747"/>
            </a:xfrm>
          </p:grpSpPr>
          <p:sp>
            <p:nvSpPr>
              <p:cNvPr id="159" name="Freeform 117">
                <a:extLst>
                  <a:ext uri="{FF2B5EF4-FFF2-40B4-BE49-F238E27FC236}">
                    <a16:creationId xmlns:a16="http://schemas.microsoft.com/office/drawing/2014/main" id="{4AF0146D-E424-4D01-93ED-752622DDB822}"/>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60" name="Freeform 118">
                <a:extLst>
                  <a:ext uri="{FF2B5EF4-FFF2-40B4-BE49-F238E27FC236}">
                    <a16:creationId xmlns:a16="http://schemas.microsoft.com/office/drawing/2014/main" id="{30F1F95B-C62E-42DA-BE31-9AB6C819153D}"/>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90" name="Group 89">
              <a:extLst>
                <a:ext uri="{FF2B5EF4-FFF2-40B4-BE49-F238E27FC236}">
                  <a16:creationId xmlns:a16="http://schemas.microsoft.com/office/drawing/2014/main" id="{6FAEB151-FB55-4CCB-A03B-A00654B07B6B}"/>
                </a:ext>
              </a:extLst>
            </p:cNvPr>
            <p:cNvGrpSpPr/>
            <p:nvPr/>
          </p:nvGrpSpPr>
          <p:grpSpPr>
            <a:xfrm rot="8309845">
              <a:off x="6342719" y="4230440"/>
              <a:ext cx="371831" cy="397662"/>
              <a:chOff x="3454982" y="1623694"/>
              <a:chExt cx="522226" cy="488747"/>
            </a:xfrm>
          </p:grpSpPr>
          <p:sp>
            <p:nvSpPr>
              <p:cNvPr id="157" name="Freeform 117">
                <a:extLst>
                  <a:ext uri="{FF2B5EF4-FFF2-40B4-BE49-F238E27FC236}">
                    <a16:creationId xmlns:a16="http://schemas.microsoft.com/office/drawing/2014/main" id="{A18040F7-B0E6-43D8-B8C3-AEC4C4086FBD}"/>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58" name="Freeform 118">
                <a:extLst>
                  <a:ext uri="{FF2B5EF4-FFF2-40B4-BE49-F238E27FC236}">
                    <a16:creationId xmlns:a16="http://schemas.microsoft.com/office/drawing/2014/main" id="{1ED1EA29-82CD-4763-9FC5-1D00DACE91F3}"/>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91" name="Group 90">
              <a:extLst>
                <a:ext uri="{FF2B5EF4-FFF2-40B4-BE49-F238E27FC236}">
                  <a16:creationId xmlns:a16="http://schemas.microsoft.com/office/drawing/2014/main" id="{5350A02C-63F8-4E94-A7EF-7344EC7C67E5}"/>
                </a:ext>
              </a:extLst>
            </p:cNvPr>
            <p:cNvGrpSpPr/>
            <p:nvPr/>
          </p:nvGrpSpPr>
          <p:grpSpPr>
            <a:xfrm rot="11873110">
              <a:off x="5729781" y="4372807"/>
              <a:ext cx="371831" cy="449659"/>
              <a:chOff x="3454982" y="1623694"/>
              <a:chExt cx="522226" cy="488747"/>
            </a:xfrm>
          </p:grpSpPr>
          <p:sp>
            <p:nvSpPr>
              <p:cNvPr id="155" name="Freeform 117">
                <a:extLst>
                  <a:ext uri="{FF2B5EF4-FFF2-40B4-BE49-F238E27FC236}">
                    <a16:creationId xmlns:a16="http://schemas.microsoft.com/office/drawing/2014/main" id="{53D7B358-FE63-46F8-BC3B-51CA4CA10512}"/>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56" name="Freeform 118">
                <a:extLst>
                  <a:ext uri="{FF2B5EF4-FFF2-40B4-BE49-F238E27FC236}">
                    <a16:creationId xmlns:a16="http://schemas.microsoft.com/office/drawing/2014/main" id="{6715ED9E-2340-45CC-8CC8-7212282C8689}"/>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92" name="Group 91">
              <a:extLst>
                <a:ext uri="{FF2B5EF4-FFF2-40B4-BE49-F238E27FC236}">
                  <a16:creationId xmlns:a16="http://schemas.microsoft.com/office/drawing/2014/main" id="{F887E61B-E123-4C1F-B930-96D0354AC31F}"/>
                </a:ext>
              </a:extLst>
            </p:cNvPr>
            <p:cNvGrpSpPr/>
            <p:nvPr/>
          </p:nvGrpSpPr>
          <p:grpSpPr>
            <a:xfrm rot="12477406">
              <a:off x="5507645" y="4428880"/>
              <a:ext cx="371831" cy="449659"/>
              <a:chOff x="3454981" y="1623694"/>
              <a:chExt cx="522226" cy="488747"/>
            </a:xfrm>
          </p:grpSpPr>
          <p:sp>
            <p:nvSpPr>
              <p:cNvPr id="153" name="Freeform 117">
                <a:extLst>
                  <a:ext uri="{FF2B5EF4-FFF2-40B4-BE49-F238E27FC236}">
                    <a16:creationId xmlns:a16="http://schemas.microsoft.com/office/drawing/2014/main" id="{D82987FC-50B9-4B6D-9CDF-43350DE407F1}"/>
                  </a:ext>
                </a:extLst>
              </p:cNvPr>
              <p:cNvSpPr>
                <a:spLocks/>
              </p:cNvSpPr>
              <p:nvPr/>
            </p:nvSpPr>
            <p:spPr bwMode="auto">
              <a:xfrm rot="18677954">
                <a:off x="3471720"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54" name="Freeform 118">
                <a:extLst>
                  <a:ext uri="{FF2B5EF4-FFF2-40B4-BE49-F238E27FC236}">
                    <a16:creationId xmlns:a16="http://schemas.microsoft.com/office/drawing/2014/main" id="{26552E36-03FB-44DB-B827-799597D579FB}"/>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93" name="Group 92">
              <a:extLst>
                <a:ext uri="{FF2B5EF4-FFF2-40B4-BE49-F238E27FC236}">
                  <a16:creationId xmlns:a16="http://schemas.microsoft.com/office/drawing/2014/main" id="{8359AD7F-6033-4A57-BE69-05F2A11AD3BC}"/>
                </a:ext>
              </a:extLst>
            </p:cNvPr>
            <p:cNvGrpSpPr/>
            <p:nvPr/>
          </p:nvGrpSpPr>
          <p:grpSpPr>
            <a:xfrm rot="18784117">
              <a:off x="4889011" y="3140076"/>
              <a:ext cx="371831" cy="449659"/>
              <a:chOff x="3454982" y="1623694"/>
              <a:chExt cx="522226" cy="488747"/>
            </a:xfrm>
          </p:grpSpPr>
          <p:sp>
            <p:nvSpPr>
              <p:cNvPr id="151" name="Freeform 117">
                <a:extLst>
                  <a:ext uri="{FF2B5EF4-FFF2-40B4-BE49-F238E27FC236}">
                    <a16:creationId xmlns:a16="http://schemas.microsoft.com/office/drawing/2014/main" id="{2BF60A56-0A2F-4CF9-A2AF-AF60FE8DD574}"/>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52" name="Freeform 118">
                <a:extLst>
                  <a:ext uri="{FF2B5EF4-FFF2-40B4-BE49-F238E27FC236}">
                    <a16:creationId xmlns:a16="http://schemas.microsoft.com/office/drawing/2014/main" id="{29BCFDF5-D785-43CB-8FDA-1498568CE350}"/>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94" name="Group 93">
              <a:extLst>
                <a:ext uri="{FF2B5EF4-FFF2-40B4-BE49-F238E27FC236}">
                  <a16:creationId xmlns:a16="http://schemas.microsoft.com/office/drawing/2014/main" id="{18F183FC-1820-4583-8983-72A411DA71C9}"/>
                </a:ext>
              </a:extLst>
            </p:cNvPr>
            <p:cNvGrpSpPr/>
            <p:nvPr/>
          </p:nvGrpSpPr>
          <p:grpSpPr>
            <a:xfrm rot="20213779">
              <a:off x="5254990" y="2759419"/>
              <a:ext cx="371831" cy="449659"/>
              <a:chOff x="3454982" y="1623694"/>
              <a:chExt cx="522226" cy="488747"/>
            </a:xfrm>
          </p:grpSpPr>
          <p:sp>
            <p:nvSpPr>
              <p:cNvPr id="149" name="Freeform 117">
                <a:extLst>
                  <a:ext uri="{FF2B5EF4-FFF2-40B4-BE49-F238E27FC236}">
                    <a16:creationId xmlns:a16="http://schemas.microsoft.com/office/drawing/2014/main" id="{3F4CE210-FF6B-452D-B315-C48621318389}"/>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50" name="Freeform 118">
                <a:extLst>
                  <a:ext uri="{FF2B5EF4-FFF2-40B4-BE49-F238E27FC236}">
                    <a16:creationId xmlns:a16="http://schemas.microsoft.com/office/drawing/2014/main" id="{BDE2194E-6FC9-494E-A438-217BC4CCC3B6}"/>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95" name="Group 94">
              <a:extLst>
                <a:ext uri="{FF2B5EF4-FFF2-40B4-BE49-F238E27FC236}">
                  <a16:creationId xmlns:a16="http://schemas.microsoft.com/office/drawing/2014/main" id="{134308AE-38D4-45E1-B11F-4A1CE02E1110}"/>
                </a:ext>
              </a:extLst>
            </p:cNvPr>
            <p:cNvGrpSpPr/>
            <p:nvPr/>
          </p:nvGrpSpPr>
          <p:grpSpPr>
            <a:xfrm>
              <a:off x="5499659" y="2756073"/>
              <a:ext cx="394605" cy="519232"/>
              <a:chOff x="3438781" y="1619441"/>
              <a:chExt cx="525219" cy="519232"/>
            </a:xfrm>
          </p:grpSpPr>
          <p:sp>
            <p:nvSpPr>
              <p:cNvPr id="147" name="Freeform 117">
                <a:extLst>
                  <a:ext uri="{FF2B5EF4-FFF2-40B4-BE49-F238E27FC236}">
                    <a16:creationId xmlns:a16="http://schemas.microsoft.com/office/drawing/2014/main" id="{9D50979F-5663-4F82-837A-203704AEFBED}"/>
                  </a:ext>
                </a:extLst>
              </p:cNvPr>
              <p:cNvSpPr>
                <a:spLocks/>
              </p:cNvSpPr>
              <p:nvPr/>
            </p:nvSpPr>
            <p:spPr bwMode="auto">
              <a:xfrm rot="18629394">
                <a:off x="3441775" y="1616447"/>
                <a:ext cx="519232" cy="525219"/>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48" name="Freeform 118">
                <a:extLst>
                  <a:ext uri="{FF2B5EF4-FFF2-40B4-BE49-F238E27FC236}">
                    <a16:creationId xmlns:a16="http://schemas.microsoft.com/office/drawing/2014/main" id="{E561E7D7-0C89-462D-9EBA-8EF5765A3961}"/>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96" name="Group 95">
              <a:extLst>
                <a:ext uri="{FF2B5EF4-FFF2-40B4-BE49-F238E27FC236}">
                  <a16:creationId xmlns:a16="http://schemas.microsoft.com/office/drawing/2014/main" id="{ECB1886E-4960-4F16-AA75-F56D9E507AC4}"/>
                </a:ext>
              </a:extLst>
            </p:cNvPr>
            <p:cNvGrpSpPr/>
            <p:nvPr/>
          </p:nvGrpSpPr>
          <p:grpSpPr>
            <a:xfrm rot="19797432">
              <a:off x="5140094" y="3005185"/>
              <a:ext cx="371831" cy="449659"/>
              <a:chOff x="3454982" y="1623694"/>
              <a:chExt cx="522226" cy="488747"/>
            </a:xfrm>
          </p:grpSpPr>
          <p:sp>
            <p:nvSpPr>
              <p:cNvPr id="145" name="Freeform 117">
                <a:extLst>
                  <a:ext uri="{FF2B5EF4-FFF2-40B4-BE49-F238E27FC236}">
                    <a16:creationId xmlns:a16="http://schemas.microsoft.com/office/drawing/2014/main" id="{665C1364-C7AF-418D-B685-6E2CCE0A43EB}"/>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46" name="Freeform 118">
                <a:extLst>
                  <a:ext uri="{FF2B5EF4-FFF2-40B4-BE49-F238E27FC236}">
                    <a16:creationId xmlns:a16="http://schemas.microsoft.com/office/drawing/2014/main" id="{C0CCAB4D-44CC-4561-B633-A830D784F60E}"/>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97" name="Group 96">
              <a:extLst>
                <a:ext uri="{FF2B5EF4-FFF2-40B4-BE49-F238E27FC236}">
                  <a16:creationId xmlns:a16="http://schemas.microsoft.com/office/drawing/2014/main" id="{8642EC23-B048-44BF-9299-6D91C55F8938}"/>
                </a:ext>
              </a:extLst>
            </p:cNvPr>
            <p:cNvGrpSpPr/>
            <p:nvPr/>
          </p:nvGrpSpPr>
          <p:grpSpPr>
            <a:xfrm rot="19797432">
              <a:off x="5367688" y="3043966"/>
              <a:ext cx="304167" cy="322621"/>
              <a:chOff x="3454982" y="1623694"/>
              <a:chExt cx="522226" cy="488747"/>
            </a:xfrm>
          </p:grpSpPr>
          <p:sp>
            <p:nvSpPr>
              <p:cNvPr id="143" name="Freeform 117">
                <a:extLst>
                  <a:ext uri="{FF2B5EF4-FFF2-40B4-BE49-F238E27FC236}">
                    <a16:creationId xmlns:a16="http://schemas.microsoft.com/office/drawing/2014/main" id="{22C90C3C-1EA1-49AB-BA81-ECEE1899E879}"/>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44" name="Freeform 118">
                <a:extLst>
                  <a:ext uri="{FF2B5EF4-FFF2-40B4-BE49-F238E27FC236}">
                    <a16:creationId xmlns:a16="http://schemas.microsoft.com/office/drawing/2014/main" id="{198F74EC-73BC-4FAC-A21B-15742CF42295}"/>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98" name="Group 97">
              <a:extLst>
                <a:ext uri="{FF2B5EF4-FFF2-40B4-BE49-F238E27FC236}">
                  <a16:creationId xmlns:a16="http://schemas.microsoft.com/office/drawing/2014/main" id="{70DB3E5C-97AA-47E8-BD5C-16DD43B16C5D}"/>
                </a:ext>
              </a:extLst>
            </p:cNvPr>
            <p:cNvGrpSpPr/>
            <p:nvPr/>
          </p:nvGrpSpPr>
          <p:grpSpPr>
            <a:xfrm rot="2462983">
              <a:off x="6129411" y="3013536"/>
              <a:ext cx="304167" cy="322621"/>
              <a:chOff x="3454982" y="1623694"/>
              <a:chExt cx="522226" cy="488747"/>
            </a:xfrm>
          </p:grpSpPr>
          <p:sp>
            <p:nvSpPr>
              <p:cNvPr id="141" name="Freeform 117">
                <a:extLst>
                  <a:ext uri="{FF2B5EF4-FFF2-40B4-BE49-F238E27FC236}">
                    <a16:creationId xmlns:a16="http://schemas.microsoft.com/office/drawing/2014/main" id="{63BBB7E0-CCC5-4BAA-A05F-29AB2F0BB831}"/>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42" name="Freeform 118">
                <a:extLst>
                  <a:ext uri="{FF2B5EF4-FFF2-40B4-BE49-F238E27FC236}">
                    <a16:creationId xmlns:a16="http://schemas.microsoft.com/office/drawing/2014/main" id="{D449EA38-936B-4140-A075-5A912DCBD4D7}"/>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99" name="Group 98">
              <a:extLst>
                <a:ext uri="{FF2B5EF4-FFF2-40B4-BE49-F238E27FC236}">
                  <a16:creationId xmlns:a16="http://schemas.microsoft.com/office/drawing/2014/main" id="{18219C57-7725-42C3-900D-9FF5FF331E9D}"/>
                </a:ext>
              </a:extLst>
            </p:cNvPr>
            <p:cNvGrpSpPr/>
            <p:nvPr/>
          </p:nvGrpSpPr>
          <p:grpSpPr>
            <a:xfrm rot="1984829">
              <a:off x="5983743" y="2808448"/>
              <a:ext cx="304167" cy="382079"/>
              <a:chOff x="3454982" y="1623694"/>
              <a:chExt cx="522226" cy="488747"/>
            </a:xfrm>
          </p:grpSpPr>
          <p:sp>
            <p:nvSpPr>
              <p:cNvPr id="139" name="Freeform 117">
                <a:extLst>
                  <a:ext uri="{FF2B5EF4-FFF2-40B4-BE49-F238E27FC236}">
                    <a16:creationId xmlns:a16="http://schemas.microsoft.com/office/drawing/2014/main" id="{388B5D53-BAEC-4BF1-AEF1-FDAD6CE35AED}"/>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40" name="Freeform 118">
                <a:extLst>
                  <a:ext uri="{FF2B5EF4-FFF2-40B4-BE49-F238E27FC236}">
                    <a16:creationId xmlns:a16="http://schemas.microsoft.com/office/drawing/2014/main" id="{C996B46D-681D-4723-A141-4A9BFFC96E94}"/>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00" name="Group 99">
              <a:extLst>
                <a:ext uri="{FF2B5EF4-FFF2-40B4-BE49-F238E27FC236}">
                  <a16:creationId xmlns:a16="http://schemas.microsoft.com/office/drawing/2014/main" id="{0E064218-BB2C-4B39-99A5-A818E2999A8A}"/>
                </a:ext>
              </a:extLst>
            </p:cNvPr>
            <p:cNvGrpSpPr/>
            <p:nvPr/>
          </p:nvGrpSpPr>
          <p:grpSpPr>
            <a:xfrm rot="920472">
              <a:off x="5775762" y="2861542"/>
              <a:ext cx="287920" cy="411063"/>
              <a:chOff x="3454982" y="1623694"/>
              <a:chExt cx="522226" cy="488747"/>
            </a:xfrm>
          </p:grpSpPr>
          <p:sp>
            <p:nvSpPr>
              <p:cNvPr id="137" name="Freeform 117">
                <a:extLst>
                  <a:ext uri="{FF2B5EF4-FFF2-40B4-BE49-F238E27FC236}">
                    <a16:creationId xmlns:a16="http://schemas.microsoft.com/office/drawing/2014/main" id="{864B9798-A2A4-42A8-8756-92435AE5A14C}"/>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38" name="Freeform 118">
                <a:extLst>
                  <a:ext uri="{FF2B5EF4-FFF2-40B4-BE49-F238E27FC236}">
                    <a16:creationId xmlns:a16="http://schemas.microsoft.com/office/drawing/2014/main" id="{25E2A95A-A0E9-4540-B851-2ACFCC5D6CB4}"/>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01" name="Group 100">
              <a:extLst>
                <a:ext uri="{FF2B5EF4-FFF2-40B4-BE49-F238E27FC236}">
                  <a16:creationId xmlns:a16="http://schemas.microsoft.com/office/drawing/2014/main" id="{37DA7A41-75AD-4ABE-A653-AF4D394263E0}"/>
                </a:ext>
              </a:extLst>
            </p:cNvPr>
            <p:cNvGrpSpPr/>
            <p:nvPr/>
          </p:nvGrpSpPr>
          <p:grpSpPr>
            <a:xfrm rot="4580287">
              <a:off x="6431548" y="3247054"/>
              <a:ext cx="287920" cy="411063"/>
              <a:chOff x="3454982" y="1623694"/>
              <a:chExt cx="522226" cy="488747"/>
            </a:xfrm>
          </p:grpSpPr>
          <p:sp>
            <p:nvSpPr>
              <p:cNvPr id="135" name="Freeform 117">
                <a:extLst>
                  <a:ext uri="{FF2B5EF4-FFF2-40B4-BE49-F238E27FC236}">
                    <a16:creationId xmlns:a16="http://schemas.microsoft.com/office/drawing/2014/main" id="{A8667329-AC76-4FAE-9C9C-612FDCA3379E}"/>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36" name="Freeform 118">
                <a:extLst>
                  <a:ext uri="{FF2B5EF4-FFF2-40B4-BE49-F238E27FC236}">
                    <a16:creationId xmlns:a16="http://schemas.microsoft.com/office/drawing/2014/main" id="{027F2890-07C6-4311-94E6-B0809F6E253B}"/>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02" name="Group 101">
              <a:extLst>
                <a:ext uri="{FF2B5EF4-FFF2-40B4-BE49-F238E27FC236}">
                  <a16:creationId xmlns:a16="http://schemas.microsoft.com/office/drawing/2014/main" id="{4847DC4A-784E-4851-98AB-DB84DA98F546}"/>
                </a:ext>
              </a:extLst>
            </p:cNvPr>
            <p:cNvGrpSpPr/>
            <p:nvPr/>
          </p:nvGrpSpPr>
          <p:grpSpPr>
            <a:xfrm rot="18065025">
              <a:off x="4949066" y="3395745"/>
              <a:ext cx="287920" cy="463226"/>
              <a:chOff x="3454982" y="1623694"/>
              <a:chExt cx="522226" cy="488747"/>
            </a:xfrm>
          </p:grpSpPr>
          <p:sp>
            <p:nvSpPr>
              <p:cNvPr id="133" name="Freeform 117">
                <a:extLst>
                  <a:ext uri="{FF2B5EF4-FFF2-40B4-BE49-F238E27FC236}">
                    <a16:creationId xmlns:a16="http://schemas.microsoft.com/office/drawing/2014/main" id="{CD50CF8C-576A-40E9-BFE5-710D70A51E73}"/>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34" name="Freeform 118">
                <a:extLst>
                  <a:ext uri="{FF2B5EF4-FFF2-40B4-BE49-F238E27FC236}">
                    <a16:creationId xmlns:a16="http://schemas.microsoft.com/office/drawing/2014/main" id="{9B795FBA-D547-4FF1-A4A5-1B756E85B4C5}"/>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03" name="Group 102">
              <a:extLst>
                <a:ext uri="{FF2B5EF4-FFF2-40B4-BE49-F238E27FC236}">
                  <a16:creationId xmlns:a16="http://schemas.microsoft.com/office/drawing/2014/main" id="{D427FFDA-C8AA-4793-B065-2350C695BF79}"/>
                </a:ext>
              </a:extLst>
            </p:cNvPr>
            <p:cNvGrpSpPr/>
            <p:nvPr/>
          </p:nvGrpSpPr>
          <p:grpSpPr>
            <a:xfrm rot="11185819">
              <a:off x="6051121" y="4430253"/>
              <a:ext cx="268018" cy="449659"/>
              <a:chOff x="3454982" y="1623694"/>
              <a:chExt cx="522226" cy="488747"/>
            </a:xfrm>
          </p:grpSpPr>
          <p:sp>
            <p:nvSpPr>
              <p:cNvPr id="131" name="Freeform 117">
                <a:extLst>
                  <a:ext uri="{FF2B5EF4-FFF2-40B4-BE49-F238E27FC236}">
                    <a16:creationId xmlns:a16="http://schemas.microsoft.com/office/drawing/2014/main" id="{D707335D-97E2-4828-9C97-7B3725F78684}"/>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32" name="Freeform 118">
                <a:extLst>
                  <a:ext uri="{FF2B5EF4-FFF2-40B4-BE49-F238E27FC236}">
                    <a16:creationId xmlns:a16="http://schemas.microsoft.com/office/drawing/2014/main" id="{9E90A9D1-E774-4281-A090-606DE01FD149}"/>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04" name="Group 103">
              <a:extLst>
                <a:ext uri="{FF2B5EF4-FFF2-40B4-BE49-F238E27FC236}">
                  <a16:creationId xmlns:a16="http://schemas.microsoft.com/office/drawing/2014/main" id="{4AD7F219-6FF7-4EDA-8713-C0365F87854C}"/>
                </a:ext>
              </a:extLst>
            </p:cNvPr>
            <p:cNvGrpSpPr/>
            <p:nvPr/>
          </p:nvGrpSpPr>
          <p:grpSpPr>
            <a:xfrm rot="15513987">
              <a:off x="5093803" y="3951838"/>
              <a:ext cx="287920" cy="538018"/>
              <a:chOff x="3454982" y="1623694"/>
              <a:chExt cx="522226" cy="488747"/>
            </a:xfrm>
          </p:grpSpPr>
          <p:sp>
            <p:nvSpPr>
              <p:cNvPr id="129" name="Freeform 117">
                <a:extLst>
                  <a:ext uri="{FF2B5EF4-FFF2-40B4-BE49-F238E27FC236}">
                    <a16:creationId xmlns:a16="http://schemas.microsoft.com/office/drawing/2014/main" id="{2E08F53C-4949-4605-A364-813DC5434B3C}"/>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30" name="Freeform 118">
                <a:extLst>
                  <a:ext uri="{FF2B5EF4-FFF2-40B4-BE49-F238E27FC236}">
                    <a16:creationId xmlns:a16="http://schemas.microsoft.com/office/drawing/2014/main" id="{C17FF4EC-3983-4769-A893-A49F2EFF632F}"/>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05" name="Group 104">
              <a:extLst>
                <a:ext uri="{FF2B5EF4-FFF2-40B4-BE49-F238E27FC236}">
                  <a16:creationId xmlns:a16="http://schemas.microsoft.com/office/drawing/2014/main" id="{FEB96A56-8778-4623-81E4-ADE90B22A49E}"/>
                </a:ext>
              </a:extLst>
            </p:cNvPr>
            <p:cNvGrpSpPr/>
            <p:nvPr/>
          </p:nvGrpSpPr>
          <p:grpSpPr>
            <a:xfrm rot="6981718">
              <a:off x="6525078" y="3646119"/>
              <a:ext cx="287920" cy="411063"/>
              <a:chOff x="3454982" y="1623694"/>
              <a:chExt cx="522226" cy="488747"/>
            </a:xfrm>
          </p:grpSpPr>
          <p:sp>
            <p:nvSpPr>
              <p:cNvPr id="127" name="Freeform 117">
                <a:extLst>
                  <a:ext uri="{FF2B5EF4-FFF2-40B4-BE49-F238E27FC236}">
                    <a16:creationId xmlns:a16="http://schemas.microsoft.com/office/drawing/2014/main" id="{FDB57435-93B4-432B-A909-116AEF3331DF}"/>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28" name="Freeform 118">
                <a:extLst>
                  <a:ext uri="{FF2B5EF4-FFF2-40B4-BE49-F238E27FC236}">
                    <a16:creationId xmlns:a16="http://schemas.microsoft.com/office/drawing/2014/main" id="{E50DDACE-7955-4E67-81C9-4B8F60E35E7B}"/>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06" name="Group 105">
              <a:extLst>
                <a:ext uri="{FF2B5EF4-FFF2-40B4-BE49-F238E27FC236}">
                  <a16:creationId xmlns:a16="http://schemas.microsoft.com/office/drawing/2014/main" id="{6F5A0103-0494-4A30-8EF1-2723F77F60EE}"/>
                </a:ext>
              </a:extLst>
            </p:cNvPr>
            <p:cNvGrpSpPr/>
            <p:nvPr/>
          </p:nvGrpSpPr>
          <p:grpSpPr>
            <a:xfrm rot="18395713">
              <a:off x="5111263" y="3308049"/>
              <a:ext cx="304167" cy="322621"/>
              <a:chOff x="3454982" y="1623694"/>
              <a:chExt cx="522226" cy="488747"/>
            </a:xfrm>
          </p:grpSpPr>
          <p:sp>
            <p:nvSpPr>
              <p:cNvPr id="125" name="Freeform 117">
                <a:extLst>
                  <a:ext uri="{FF2B5EF4-FFF2-40B4-BE49-F238E27FC236}">
                    <a16:creationId xmlns:a16="http://schemas.microsoft.com/office/drawing/2014/main" id="{D37ECDD0-149F-4F92-A5DA-D869DF4AFDE9}"/>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26" name="Freeform 118">
                <a:extLst>
                  <a:ext uri="{FF2B5EF4-FFF2-40B4-BE49-F238E27FC236}">
                    <a16:creationId xmlns:a16="http://schemas.microsoft.com/office/drawing/2014/main" id="{A60F7C30-6FDD-498C-A5C7-8FB729E95A64}"/>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07" name="Group 106">
              <a:extLst>
                <a:ext uri="{FF2B5EF4-FFF2-40B4-BE49-F238E27FC236}">
                  <a16:creationId xmlns:a16="http://schemas.microsoft.com/office/drawing/2014/main" id="{2D7371F7-111A-456B-8226-4812D592CF85}"/>
                </a:ext>
              </a:extLst>
            </p:cNvPr>
            <p:cNvGrpSpPr/>
            <p:nvPr/>
          </p:nvGrpSpPr>
          <p:grpSpPr>
            <a:xfrm rot="16430110">
              <a:off x="5021185" y="3687718"/>
              <a:ext cx="304167" cy="331569"/>
              <a:chOff x="3454982" y="1623694"/>
              <a:chExt cx="522226" cy="488747"/>
            </a:xfrm>
          </p:grpSpPr>
          <p:sp>
            <p:nvSpPr>
              <p:cNvPr id="123" name="Freeform 117">
                <a:extLst>
                  <a:ext uri="{FF2B5EF4-FFF2-40B4-BE49-F238E27FC236}">
                    <a16:creationId xmlns:a16="http://schemas.microsoft.com/office/drawing/2014/main" id="{F6B3C7A2-84AB-483A-9AFA-1773E75E85F9}"/>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24" name="Freeform 118">
                <a:extLst>
                  <a:ext uri="{FF2B5EF4-FFF2-40B4-BE49-F238E27FC236}">
                    <a16:creationId xmlns:a16="http://schemas.microsoft.com/office/drawing/2014/main" id="{AA6C20C7-F10F-4AE9-B849-D66FB45A932D}"/>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08" name="Group 107">
              <a:extLst>
                <a:ext uri="{FF2B5EF4-FFF2-40B4-BE49-F238E27FC236}">
                  <a16:creationId xmlns:a16="http://schemas.microsoft.com/office/drawing/2014/main" id="{BE874FBD-BBE0-4785-8193-62AAA098CADB}"/>
                </a:ext>
              </a:extLst>
            </p:cNvPr>
            <p:cNvGrpSpPr/>
            <p:nvPr/>
          </p:nvGrpSpPr>
          <p:grpSpPr>
            <a:xfrm rot="7782131">
              <a:off x="6550320" y="4149913"/>
              <a:ext cx="371831" cy="449659"/>
              <a:chOff x="3454982" y="1623694"/>
              <a:chExt cx="522226" cy="488747"/>
            </a:xfrm>
          </p:grpSpPr>
          <p:sp>
            <p:nvSpPr>
              <p:cNvPr id="121" name="Freeform 117">
                <a:extLst>
                  <a:ext uri="{FF2B5EF4-FFF2-40B4-BE49-F238E27FC236}">
                    <a16:creationId xmlns:a16="http://schemas.microsoft.com/office/drawing/2014/main" id="{8E6435A0-4BDA-4103-ACC1-F2D3369D2013}"/>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22" name="Freeform 118">
                <a:extLst>
                  <a:ext uri="{FF2B5EF4-FFF2-40B4-BE49-F238E27FC236}">
                    <a16:creationId xmlns:a16="http://schemas.microsoft.com/office/drawing/2014/main" id="{F71586DD-2C67-4EF3-A904-85C1072CE7D5}"/>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09" name="Group 108">
              <a:extLst>
                <a:ext uri="{FF2B5EF4-FFF2-40B4-BE49-F238E27FC236}">
                  <a16:creationId xmlns:a16="http://schemas.microsoft.com/office/drawing/2014/main" id="{4C674FF8-531F-4B3B-B9FB-84308D445B70}"/>
                </a:ext>
              </a:extLst>
            </p:cNvPr>
            <p:cNvGrpSpPr/>
            <p:nvPr/>
          </p:nvGrpSpPr>
          <p:grpSpPr>
            <a:xfrm rot="9392343">
              <a:off x="6118344" y="4292558"/>
              <a:ext cx="371831" cy="397662"/>
              <a:chOff x="3454982" y="1623694"/>
              <a:chExt cx="522226" cy="488747"/>
            </a:xfrm>
          </p:grpSpPr>
          <p:sp>
            <p:nvSpPr>
              <p:cNvPr id="119" name="Freeform 117">
                <a:extLst>
                  <a:ext uri="{FF2B5EF4-FFF2-40B4-BE49-F238E27FC236}">
                    <a16:creationId xmlns:a16="http://schemas.microsoft.com/office/drawing/2014/main" id="{1670F990-5244-4D7A-881F-BEABF606FC31}"/>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20" name="Freeform 118">
                <a:extLst>
                  <a:ext uri="{FF2B5EF4-FFF2-40B4-BE49-F238E27FC236}">
                    <a16:creationId xmlns:a16="http://schemas.microsoft.com/office/drawing/2014/main" id="{FD261897-43D7-4F49-93F8-04763415C342}"/>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10" name="Group 109">
              <a:extLst>
                <a:ext uri="{FF2B5EF4-FFF2-40B4-BE49-F238E27FC236}">
                  <a16:creationId xmlns:a16="http://schemas.microsoft.com/office/drawing/2014/main" id="{CEE4FA18-6935-42C5-B782-BDAE766CE700}"/>
                </a:ext>
              </a:extLst>
            </p:cNvPr>
            <p:cNvGrpSpPr/>
            <p:nvPr/>
          </p:nvGrpSpPr>
          <p:grpSpPr>
            <a:xfrm rot="13046165">
              <a:off x="5307451" y="4257204"/>
              <a:ext cx="371831" cy="397662"/>
              <a:chOff x="3454982" y="1623694"/>
              <a:chExt cx="522226" cy="488747"/>
            </a:xfrm>
          </p:grpSpPr>
          <p:sp>
            <p:nvSpPr>
              <p:cNvPr id="117" name="Freeform 117">
                <a:extLst>
                  <a:ext uri="{FF2B5EF4-FFF2-40B4-BE49-F238E27FC236}">
                    <a16:creationId xmlns:a16="http://schemas.microsoft.com/office/drawing/2014/main" id="{BE08641F-116C-4D07-BEF1-F8977C91FB57}"/>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18" name="Freeform 118">
                <a:extLst>
                  <a:ext uri="{FF2B5EF4-FFF2-40B4-BE49-F238E27FC236}">
                    <a16:creationId xmlns:a16="http://schemas.microsoft.com/office/drawing/2014/main" id="{BB58ED52-83D8-4099-89CD-F3F14EA0BCCF}"/>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11" name="Group 110">
              <a:extLst>
                <a:ext uri="{FF2B5EF4-FFF2-40B4-BE49-F238E27FC236}">
                  <a16:creationId xmlns:a16="http://schemas.microsoft.com/office/drawing/2014/main" id="{9AC788EB-0EA3-4346-B8F2-574E94E2EEE1}"/>
                </a:ext>
              </a:extLst>
            </p:cNvPr>
            <p:cNvGrpSpPr/>
            <p:nvPr/>
          </p:nvGrpSpPr>
          <p:grpSpPr>
            <a:xfrm rot="13868839">
              <a:off x="5151631" y="4280673"/>
              <a:ext cx="371831" cy="397662"/>
              <a:chOff x="3454982" y="1623694"/>
              <a:chExt cx="522226" cy="488747"/>
            </a:xfrm>
          </p:grpSpPr>
          <p:sp>
            <p:nvSpPr>
              <p:cNvPr id="115" name="Freeform 117">
                <a:extLst>
                  <a:ext uri="{FF2B5EF4-FFF2-40B4-BE49-F238E27FC236}">
                    <a16:creationId xmlns:a16="http://schemas.microsoft.com/office/drawing/2014/main" id="{45E75258-147F-4623-BD1B-81367554B39C}"/>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16" name="Freeform 118">
                <a:extLst>
                  <a:ext uri="{FF2B5EF4-FFF2-40B4-BE49-F238E27FC236}">
                    <a16:creationId xmlns:a16="http://schemas.microsoft.com/office/drawing/2014/main" id="{8A513CD5-4828-4850-92EB-CBB4E9D470B7}"/>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12" name="Group 111">
              <a:extLst>
                <a:ext uri="{FF2B5EF4-FFF2-40B4-BE49-F238E27FC236}">
                  <a16:creationId xmlns:a16="http://schemas.microsoft.com/office/drawing/2014/main" id="{8603B737-66A1-461E-93F3-D27724CC2DEE}"/>
                </a:ext>
              </a:extLst>
            </p:cNvPr>
            <p:cNvGrpSpPr/>
            <p:nvPr/>
          </p:nvGrpSpPr>
          <p:grpSpPr>
            <a:xfrm rot="16200000">
              <a:off x="4902119" y="3825416"/>
              <a:ext cx="371831" cy="397662"/>
              <a:chOff x="3454982" y="1623694"/>
              <a:chExt cx="522226" cy="488747"/>
            </a:xfrm>
          </p:grpSpPr>
          <p:sp>
            <p:nvSpPr>
              <p:cNvPr id="113" name="Freeform 117">
                <a:extLst>
                  <a:ext uri="{FF2B5EF4-FFF2-40B4-BE49-F238E27FC236}">
                    <a16:creationId xmlns:a16="http://schemas.microsoft.com/office/drawing/2014/main" id="{D0DD50B7-C84D-433C-84C2-89C5BC119F07}"/>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14" name="Freeform 118">
                <a:extLst>
                  <a:ext uri="{FF2B5EF4-FFF2-40B4-BE49-F238E27FC236}">
                    <a16:creationId xmlns:a16="http://schemas.microsoft.com/office/drawing/2014/main" id="{9BED4851-3E51-49C7-A10E-D8F17DA525BB}"/>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sp>
        <p:nvSpPr>
          <p:cNvPr id="249" name="Rectangle 248">
            <a:extLst>
              <a:ext uri="{FF2B5EF4-FFF2-40B4-BE49-F238E27FC236}">
                <a16:creationId xmlns:a16="http://schemas.microsoft.com/office/drawing/2014/main" id="{E18DC8DB-CBC0-4B51-9857-3E979236B47A}"/>
              </a:ext>
            </a:extLst>
          </p:cNvPr>
          <p:cNvSpPr/>
          <p:nvPr/>
        </p:nvSpPr>
        <p:spPr bwMode="auto">
          <a:xfrm>
            <a:off x="1066240" y="4100952"/>
            <a:ext cx="352938" cy="268339"/>
          </a:xfrm>
          <a:prstGeom prst="rect">
            <a:avLst/>
          </a:prstGeom>
          <a:noFill/>
          <a:ln w="222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cxnSp>
        <p:nvCxnSpPr>
          <p:cNvPr id="250" name="Straight Connector 249">
            <a:extLst>
              <a:ext uri="{FF2B5EF4-FFF2-40B4-BE49-F238E27FC236}">
                <a16:creationId xmlns:a16="http://schemas.microsoft.com/office/drawing/2014/main" id="{3E8A6B26-841C-4370-AB9D-507D3022228E}"/>
              </a:ext>
            </a:extLst>
          </p:cNvPr>
          <p:cNvCxnSpPr>
            <a:cxnSpLocks/>
          </p:cNvCxnSpPr>
          <p:nvPr/>
        </p:nvCxnSpPr>
        <p:spPr bwMode="auto">
          <a:xfrm flipV="1">
            <a:off x="1071580" y="1595605"/>
            <a:ext cx="1497888" cy="2513157"/>
          </a:xfrm>
          <a:prstGeom prst="line">
            <a:avLst/>
          </a:prstGeom>
          <a:noFill/>
          <a:ln w="28575" cap="flat" cmpd="sng" algn="ctr">
            <a:solidFill>
              <a:schemeClr val="tx1"/>
            </a:solidFill>
            <a:prstDash val="dash"/>
            <a:round/>
            <a:headEnd type="none" w="med" len="med"/>
            <a:tailEnd type="none" w="med" len="med"/>
          </a:ln>
          <a:effectLst/>
        </p:spPr>
      </p:cxnSp>
      <p:cxnSp>
        <p:nvCxnSpPr>
          <p:cNvPr id="251" name="Straight Connector 250">
            <a:extLst>
              <a:ext uri="{FF2B5EF4-FFF2-40B4-BE49-F238E27FC236}">
                <a16:creationId xmlns:a16="http://schemas.microsoft.com/office/drawing/2014/main" id="{48623A86-3FA6-4C4C-A9C7-30540EE60AAC}"/>
              </a:ext>
            </a:extLst>
          </p:cNvPr>
          <p:cNvCxnSpPr>
            <a:cxnSpLocks/>
            <a:endCxn id="497" idx="5"/>
          </p:cNvCxnSpPr>
          <p:nvPr/>
        </p:nvCxnSpPr>
        <p:spPr bwMode="auto">
          <a:xfrm>
            <a:off x="1069977" y="4374830"/>
            <a:ext cx="1538665" cy="1257372"/>
          </a:xfrm>
          <a:prstGeom prst="line">
            <a:avLst/>
          </a:prstGeom>
          <a:noFill/>
          <a:ln w="28575" cap="flat" cmpd="sng" algn="ctr">
            <a:solidFill>
              <a:schemeClr val="tx1"/>
            </a:solidFill>
            <a:prstDash val="dash"/>
            <a:round/>
            <a:headEnd type="none" w="med" len="med"/>
            <a:tailEnd type="none" w="med" len="med"/>
          </a:ln>
          <a:effectLst/>
        </p:spPr>
      </p:cxnSp>
      <p:sp>
        <p:nvSpPr>
          <p:cNvPr id="252" name="TextBox 251">
            <a:extLst>
              <a:ext uri="{FF2B5EF4-FFF2-40B4-BE49-F238E27FC236}">
                <a16:creationId xmlns:a16="http://schemas.microsoft.com/office/drawing/2014/main" id="{1F4E94A4-BE5A-4191-B88C-A7E497430F0B}"/>
              </a:ext>
            </a:extLst>
          </p:cNvPr>
          <p:cNvSpPr txBox="1"/>
          <p:nvPr/>
        </p:nvSpPr>
        <p:spPr>
          <a:xfrm>
            <a:off x="347346" y="1045927"/>
            <a:ext cx="180559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12121"/>
                </a:solidFill>
                <a:effectLst/>
                <a:uLnTx/>
                <a:uFillTx/>
                <a:latin typeface="Verdana" panose="020B0604030504040204" pitchFamily="34" charset="0"/>
                <a:ea typeface="Verdana" panose="020B0604030504040204" pitchFamily="34" charset="0"/>
                <a:cs typeface="+mn-cs"/>
              </a:rPr>
              <a:t>Vessels</a:t>
            </a:r>
            <a:r>
              <a:rPr kumimoji="0" lang="en-US" sz="1600" b="1" i="0" u="none" strike="noStrike" kern="1200" cap="none" spc="0" normalizeH="0" baseline="30000" noProof="0" dirty="0">
                <a:ln>
                  <a:noFill/>
                </a:ln>
                <a:solidFill>
                  <a:srgbClr val="212121"/>
                </a:solidFill>
                <a:effectLst/>
                <a:uLnTx/>
                <a:uFillTx/>
                <a:latin typeface="Verdana" panose="020B0604030504040204" pitchFamily="34" charset="0"/>
                <a:ea typeface="Verdana" panose="020B0604030504040204" pitchFamily="34" charset="0"/>
                <a:cs typeface="+mn-cs"/>
              </a:rPr>
              <a:t>1</a:t>
            </a:r>
            <a:endParaRPr kumimoji="0" lang="en-US" sz="1600" b="1" i="0" u="none" strike="noStrike" kern="1200" cap="none" spc="0" normalizeH="0" baseline="0" noProof="0" dirty="0">
              <a:ln>
                <a:noFill/>
              </a:ln>
              <a:solidFill>
                <a:srgbClr val="212121"/>
              </a:solidFill>
              <a:effectLst/>
              <a:uLnTx/>
              <a:uFillTx/>
              <a:latin typeface="Verdana" panose="020B0604030504040204" pitchFamily="34" charset="0"/>
              <a:ea typeface="Verdana" panose="020B0604030504040204" pitchFamily="34" charset="0"/>
              <a:cs typeface="+mn-cs"/>
            </a:endParaRPr>
          </a:p>
        </p:txBody>
      </p:sp>
      <p:sp>
        <p:nvSpPr>
          <p:cNvPr id="253" name="TextBox 252">
            <a:extLst>
              <a:ext uri="{FF2B5EF4-FFF2-40B4-BE49-F238E27FC236}">
                <a16:creationId xmlns:a16="http://schemas.microsoft.com/office/drawing/2014/main" id="{C6CF995B-211D-454F-B19B-66884CAC7E20}"/>
              </a:ext>
            </a:extLst>
          </p:cNvPr>
          <p:cNvSpPr txBox="1"/>
          <p:nvPr/>
        </p:nvSpPr>
        <p:spPr>
          <a:xfrm>
            <a:off x="5600700" y="1045927"/>
            <a:ext cx="334135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12121"/>
                </a:solidFill>
                <a:effectLst/>
                <a:uLnTx/>
                <a:uFillTx/>
                <a:latin typeface="Verdana" panose="020B0604030504040204" pitchFamily="34" charset="0"/>
                <a:ea typeface="Verdana" panose="020B0604030504040204" pitchFamily="34" charset="0"/>
                <a:cs typeface="+mn-cs"/>
              </a:rPr>
              <a:t>Therapeutic Pathways</a:t>
            </a:r>
            <a:r>
              <a:rPr kumimoji="0" lang="en-US" sz="1600" b="1" i="0" u="none" strike="noStrike" kern="1200" cap="none" spc="0" normalizeH="0" baseline="30000" noProof="0" dirty="0">
                <a:ln>
                  <a:noFill/>
                </a:ln>
                <a:solidFill>
                  <a:srgbClr val="212121"/>
                </a:solidFill>
                <a:effectLst/>
                <a:uLnTx/>
                <a:uFillTx/>
                <a:latin typeface="Verdana" panose="020B0604030504040204" pitchFamily="34" charset="0"/>
                <a:ea typeface="Verdana" panose="020B0604030504040204" pitchFamily="34" charset="0"/>
                <a:cs typeface="+mn-cs"/>
              </a:rPr>
              <a:t>2</a:t>
            </a:r>
            <a:endParaRPr kumimoji="0" lang="en-US" sz="1600" b="1" i="0" u="none" strike="noStrike" kern="1200" cap="none" spc="0" normalizeH="0" baseline="0" noProof="0" dirty="0">
              <a:ln>
                <a:noFill/>
              </a:ln>
              <a:solidFill>
                <a:srgbClr val="212121"/>
              </a:solidFill>
              <a:effectLst/>
              <a:uLnTx/>
              <a:uFillTx/>
              <a:latin typeface="Verdana" panose="020B0604030504040204" pitchFamily="34" charset="0"/>
              <a:ea typeface="Verdana" panose="020B0604030504040204" pitchFamily="34" charset="0"/>
              <a:cs typeface="+mn-cs"/>
            </a:endParaRPr>
          </a:p>
        </p:txBody>
      </p:sp>
      <p:grpSp>
        <p:nvGrpSpPr>
          <p:cNvPr id="254" name="Group 51">
            <a:extLst>
              <a:ext uri="{FF2B5EF4-FFF2-40B4-BE49-F238E27FC236}">
                <a16:creationId xmlns:a16="http://schemas.microsoft.com/office/drawing/2014/main" id="{0854D957-C4A8-4CA7-AA71-AFFAFABF237C}"/>
              </a:ext>
            </a:extLst>
          </p:cNvPr>
          <p:cNvGrpSpPr>
            <a:grpSpLocks/>
          </p:cNvGrpSpPr>
          <p:nvPr/>
        </p:nvGrpSpPr>
        <p:grpSpPr bwMode="auto">
          <a:xfrm rot="1310976">
            <a:off x="2603237" y="1882818"/>
            <a:ext cx="1590675" cy="268288"/>
            <a:chOff x="102" y="1981"/>
            <a:chExt cx="1002" cy="169"/>
          </a:xfrm>
        </p:grpSpPr>
        <p:sp>
          <p:nvSpPr>
            <p:cNvPr id="255" name="Freeform 52">
              <a:extLst>
                <a:ext uri="{FF2B5EF4-FFF2-40B4-BE49-F238E27FC236}">
                  <a16:creationId xmlns:a16="http://schemas.microsoft.com/office/drawing/2014/main" id="{BBDBCBA2-5F5F-42C3-BEB8-DEF6B57D213E}"/>
                </a:ext>
              </a:extLst>
            </p:cNvPr>
            <p:cNvSpPr>
              <a:spLocks/>
            </p:cNvSpPr>
            <p:nvPr/>
          </p:nvSpPr>
          <p:spPr bwMode="auto">
            <a:xfrm>
              <a:off x="102" y="1981"/>
              <a:ext cx="1002" cy="169"/>
            </a:xfrm>
            <a:custGeom>
              <a:avLst/>
              <a:gdLst>
                <a:gd name="T0" fmla="*/ 34811 w 170"/>
                <a:gd name="T1" fmla="*/ 3173 h 27"/>
                <a:gd name="T2" fmla="*/ 33178 w 170"/>
                <a:gd name="T3" fmla="*/ 6622 h 27"/>
                <a:gd name="T4" fmla="*/ 1839 w 170"/>
                <a:gd name="T5" fmla="*/ 6622 h 27"/>
                <a:gd name="T6" fmla="*/ 0 w 170"/>
                <a:gd name="T7" fmla="*/ 3173 h 27"/>
                <a:gd name="T8" fmla="*/ 0 w 170"/>
                <a:gd name="T9" fmla="*/ 3173 h 27"/>
                <a:gd name="T10" fmla="*/ 1839 w 170"/>
                <a:gd name="T11" fmla="*/ 0 h 27"/>
                <a:gd name="T12" fmla="*/ 33178 w 170"/>
                <a:gd name="T13" fmla="*/ 0 h 27"/>
                <a:gd name="T14" fmla="*/ 34811 w 170"/>
                <a:gd name="T15" fmla="*/ 3173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0" h="27">
                  <a:moveTo>
                    <a:pt x="170" y="13"/>
                  </a:moveTo>
                  <a:cubicBezTo>
                    <a:pt x="170" y="21"/>
                    <a:pt x="170" y="27"/>
                    <a:pt x="162" y="27"/>
                  </a:cubicBezTo>
                  <a:cubicBezTo>
                    <a:pt x="9" y="27"/>
                    <a:pt x="9" y="27"/>
                    <a:pt x="9" y="27"/>
                  </a:cubicBezTo>
                  <a:cubicBezTo>
                    <a:pt x="1" y="27"/>
                    <a:pt x="0" y="21"/>
                    <a:pt x="0" y="13"/>
                  </a:cubicBezTo>
                  <a:cubicBezTo>
                    <a:pt x="0" y="13"/>
                    <a:pt x="0" y="13"/>
                    <a:pt x="0" y="13"/>
                  </a:cubicBezTo>
                  <a:cubicBezTo>
                    <a:pt x="0" y="6"/>
                    <a:pt x="1" y="0"/>
                    <a:pt x="9" y="0"/>
                  </a:cubicBezTo>
                  <a:cubicBezTo>
                    <a:pt x="162" y="0"/>
                    <a:pt x="162" y="0"/>
                    <a:pt x="162" y="0"/>
                  </a:cubicBezTo>
                  <a:cubicBezTo>
                    <a:pt x="170" y="0"/>
                    <a:pt x="170" y="6"/>
                    <a:pt x="170" y="13"/>
                  </a:cubicBezTo>
                  <a:close/>
                </a:path>
              </a:pathLst>
            </a:custGeom>
            <a:solidFill>
              <a:srgbClr val="A59A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56" name="Oval 53">
              <a:extLst>
                <a:ext uri="{FF2B5EF4-FFF2-40B4-BE49-F238E27FC236}">
                  <a16:creationId xmlns:a16="http://schemas.microsoft.com/office/drawing/2014/main" id="{005C42EA-7D48-49F9-9ECF-DBFEC1A92569}"/>
                </a:ext>
              </a:extLst>
            </p:cNvPr>
            <p:cNvSpPr>
              <a:spLocks noChangeArrowheads="1"/>
            </p:cNvSpPr>
            <p:nvPr/>
          </p:nvSpPr>
          <p:spPr bwMode="auto">
            <a:xfrm>
              <a:off x="503" y="2012"/>
              <a:ext cx="135" cy="63"/>
            </a:xfrm>
            <a:prstGeom prst="ellipse">
              <a:avLst/>
            </a:pr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57" name="Oval 54">
              <a:extLst>
                <a:ext uri="{FF2B5EF4-FFF2-40B4-BE49-F238E27FC236}">
                  <a16:creationId xmlns:a16="http://schemas.microsoft.com/office/drawing/2014/main" id="{A56CA442-2176-4B4D-B604-A57E4197D41D}"/>
                </a:ext>
              </a:extLst>
            </p:cNvPr>
            <p:cNvSpPr>
              <a:spLocks noChangeArrowheads="1"/>
            </p:cNvSpPr>
            <p:nvPr/>
          </p:nvSpPr>
          <p:spPr bwMode="auto">
            <a:xfrm>
              <a:off x="532" y="2043"/>
              <a:ext cx="130" cy="57"/>
            </a:xfrm>
            <a:prstGeom prst="ellipse">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58" name="Oval 55">
              <a:extLst>
                <a:ext uri="{FF2B5EF4-FFF2-40B4-BE49-F238E27FC236}">
                  <a16:creationId xmlns:a16="http://schemas.microsoft.com/office/drawing/2014/main" id="{A2CE0CBC-014D-4B95-B0AA-FC92C0C66D88}"/>
                </a:ext>
              </a:extLst>
            </p:cNvPr>
            <p:cNvSpPr>
              <a:spLocks noChangeArrowheads="1"/>
            </p:cNvSpPr>
            <p:nvPr/>
          </p:nvSpPr>
          <p:spPr bwMode="auto">
            <a:xfrm>
              <a:off x="515" y="2025"/>
              <a:ext cx="141" cy="62"/>
            </a:xfrm>
            <a:prstGeom prst="ellipse">
              <a:avLst/>
            </a:pr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59" name="Freeform 56">
              <a:extLst>
                <a:ext uri="{FF2B5EF4-FFF2-40B4-BE49-F238E27FC236}">
                  <a16:creationId xmlns:a16="http://schemas.microsoft.com/office/drawing/2014/main" id="{CE476162-3E71-4CD6-88E7-13AC422C7A77}"/>
                </a:ext>
              </a:extLst>
            </p:cNvPr>
            <p:cNvSpPr>
              <a:spLocks/>
            </p:cNvSpPr>
            <p:nvPr/>
          </p:nvSpPr>
          <p:spPr bwMode="auto">
            <a:xfrm>
              <a:off x="526" y="2031"/>
              <a:ext cx="95" cy="44"/>
            </a:xfrm>
            <a:custGeom>
              <a:avLst/>
              <a:gdLst>
                <a:gd name="T0" fmla="*/ 214 w 16"/>
                <a:gd name="T1" fmla="*/ 987 h 7"/>
                <a:gd name="T2" fmla="*/ 2078 w 16"/>
                <a:gd name="T3" fmla="*/ 239 h 7"/>
                <a:gd name="T4" fmla="*/ 3349 w 16"/>
                <a:gd name="T5" fmla="*/ 515 h 7"/>
                <a:gd name="T6" fmla="*/ 1870 w 16"/>
                <a:gd name="T7" fmla="*/ 0 h 7"/>
                <a:gd name="T8" fmla="*/ 0 w 16"/>
                <a:gd name="T9" fmla="*/ 987 h 7"/>
                <a:gd name="T10" fmla="*/ 849 w 16"/>
                <a:gd name="T11" fmla="*/ 1741 h 7"/>
                <a:gd name="T12" fmla="*/ 214 w 16"/>
                <a:gd name="T13" fmla="*/ 987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 h="7">
                  <a:moveTo>
                    <a:pt x="1" y="4"/>
                  </a:moveTo>
                  <a:cubicBezTo>
                    <a:pt x="1" y="2"/>
                    <a:pt x="6" y="1"/>
                    <a:pt x="10" y="1"/>
                  </a:cubicBezTo>
                  <a:cubicBezTo>
                    <a:pt x="12" y="1"/>
                    <a:pt x="14" y="1"/>
                    <a:pt x="16" y="2"/>
                  </a:cubicBezTo>
                  <a:cubicBezTo>
                    <a:pt x="14" y="1"/>
                    <a:pt x="12" y="0"/>
                    <a:pt x="9" y="0"/>
                  </a:cubicBezTo>
                  <a:cubicBezTo>
                    <a:pt x="4" y="0"/>
                    <a:pt x="0" y="2"/>
                    <a:pt x="0" y="4"/>
                  </a:cubicBezTo>
                  <a:cubicBezTo>
                    <a:pt x="0" y="5"/>
                    <a:pt x="2" y="6"/>
                    <a:pt x="4" y="7"/>
                  </a:cubicBezTo>
                  <a:cubicBezTo>
                    <a:pt x="3" y="6"/>
                    <a:pt x="1" y="6"/>
                    <a:pt x="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60" name="Freeform 57">
              <a:extLst>
                <a:ext uri="{FF2B5EF4-FFF2-40B4-BE49-F238E27FC236}">
                  <a16:creationId xmlns:a16="http://schemas.microsoft.com/office/drawing/2014/main" id="{E1C1E8C1-83C0-40DD-88E0-98D5D63A8815}"/>
                </a:ext>
              </a:extLst>
            </p:cNvPr>
            <p:cNvSpPr>
              <a:spLocks/>
            </p:cNvSpPr>
            <p:nvPr/>
          </p:nvSpPr>
          <p:spPr bwMode="auto">
            <a:xfrm>
              <a:off x="691" y="2012"/>
              <a:ext cx="407" cy="119"/>
            </a:xfrm>
            <a:custGeom>
              <a:avLst/>
              <a:gdLst>
                <a:gd name="T0" fmla="*/ 13537 w 69"/>
                <a:gd name="T1" fmla="*/ 983 h 19"/>
                <a:gd name="T2" fmla="*/ 12735 w 69"/>
                <a:gd name="T3" fmla="*/ 4434 h 19"/>
                <a:gd name="T4" fmla="*/ 0 w 69"/>
                <a:gd name="T5" fmla="*/ 4434 h 19"/>
                <a:gd name="T6" fmla="*/ 12316 w 69"/>
                <a:gd name="T7" fmla="*/ 3451 h 19"/>
                <a:gd name="T8" fmla="*/ 13537 w 69"/>
                <a:gd name="T9" fmla="*/ 983 h 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9" h="19">
                  <a:moveTo>
                    <a:pt x="66" y="4"/>
                  </a:moveTo>
                  <a:cubicBezTo>
                    <a:pt x="66" y="0"/>
                    <a:pt x="69" y="18"/>
                    <a:pt x="62" y="18"/>
                  </a:cubicBezTo>
                  <a:cubicBezTo>
                    <a:pt x="53" y="19"/>
                    <a:pt x="0" y="18"/>
                    <a:pt x="0" y="18"/>
                  </a:cubicBezTo>
                  <a:cubicBezTo>
                    <a:pt x="9" y="18"/>
                    <a:pt x="55" y="18"/>
                    <a:pt x="60" y="14"/>
                  </a:cubicBezTo>
                  <a:cubicBezTo>
                    <a:pt x="65" y="10"/>
                    <a:pt x="65" y="8"/>
                    <a:pt x="66" y="4"/>
                  </a:cubicBezTo>
                  <a:close/>
                </a:path>
              </a:pathLst>
            </a:custGeom>
            <a:solidFill>
              <a:srgbClr val="EDCD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61" name="Freeform 58">
              <a:extLst>
                <a:ext uri="{FF2B5EF4-FFF2-40B4-BE49-F238E27FC236}">
                  <a16:creationId xmlns:a16="http://schemas.microsoft.com/office/drawing/2014/main" id="{9C9609D0-9914-446C-8005-A2A68E8BBA1F}"/>
                </a:ext>
              </a:extLst>
            </p:cNvPr>
            <p:cNvSpPr>
              <a:spLocks/>
            </p:cNvSpPr>
            <p:nvPr/>
          </p:nvSpPr>
          <p:spPr bwMode="auto">
            <a:xfrm>
              <a:off x="120" y="2006"/>
              <a:ext cx="235" cy="106"/>
            </a:xfrm>
            <a:custGeom>
              <a:avLst/>
              <a:gdLst>
                <a:gd name="T0" fmla="*/ 623 w 40"/>
                <a:gd name="T1" fmla="*/ 4122 h 17"/>
                <a:gd name="T2" fmla="*/ 623 w 40"/>
                <a:gd name="T3" fmla="*/ 468 h 17"/>
                <a:gd name="T4" fmla="*/ 8113 w 40"/>
                <a:gd name="T5" fmla="*/ 0 h 17"/>
                <a:gd name="T6" fmla="*/ 828 w 40"/>
                <a:gd name="T7" fmla="*/ 2176 h 17"/>
                <a:gd name="T8" fmla="*/ 623 w 40"/>
                <a:gd name="T9" fmla="*/ 4122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0" h="17">
                  <a:moveTo>
                    <a:pt x="3" y="17"/>
                  </a:moveTo>
                  <a:cubicBezTo>
                    <a:pt x="0" y="13"/>
                    <a:pt x="0" y="4"/>
                    <a:pt x="3" y="2"/>
                  </a:cubicBezTo>
                  <a:cubicBezTo>
                    <a:pt x="5" y="0"/>
                    <a:pt x="23" y="0"/>
                    <a:pt x="40" y="0"/>
                  </a:cubicBezTo>
                  <a:cubicBezTo>
                    <a:pt x="32" y="0"/>
                    <a:pt x="5" y="1"/>
                    <a:pt x="4" y="9"/>
                  </a:cubicBezTo>
                  <a:cubicBezTo>
                    <a:pt x="3" y="11"/>
                    <a:pt x="3" y="17"/>
                    <a:pt x="3" y="17"/>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62" name="Freeform 59">
              <a:extLst>
                <a:ext uri="{FF2B5EF4-FFF2-40B4-BE49-F238E27FC236}">
                  <a16:creationId xmlns:a16="http://schemas.microsoft.com/office/drawing/2014/main" id="{15334DC8-E354-47DD-9785-951068878830}"/>
                </a:ext>
              </a:extLst>
            </p:cNvPr>
            <p:cNvSpPr>
              <a:spLocks/>
            </p:cNvSpPr>
            <p:nvPr/>
          </p:nvSpPr>
          <p:spPr bwMode="auto">
            <a:xfrm>
              <a:off x="102" y="1981"/>
              <a:ext cx="1002" cy="169"/>
            </a:xfrm>
            <a:custGeom>
              <a:avLst/>
              <a:gdLst>
                <a:gd name="T0" fmla="*/ 34811 w 170"/>
                <a:gd name="T1" fmla="*/ 3173 h 27"/>
                <a:gd name="T2" fmla="*/ 33178 w 170"/>
                <a:gd name="T3" fmla="*/ 6622 h 27"/>
                <a:gd name="T4" fmla="*/ 1839 w 170"/>
                <a:gd name="T5" fmla="*/ 6622 h 27"/>
                <a:gd name="T6" fmla="*/ 0 w 170"/>
                <a:gd name="T7" fmla="*/ 3173 h 27"/>
                <a:gd name="T8" fmla="*/ 0 w 170"/>
                <a:gd name="T9" fmla="*/ 3173 h 27"/>
                <a:gd name="T10" fmla="*/ 1839 w 170"/>
                <a:gd name="T11" fmla="*/ 0 h 27"/>
                <a:gd name="T12" fmla="*/ 33178 w 170"/>
                <a:gd name="T13" fmla="*/ 0 h 27"/>
                <a:gd name="T14" fmla="*/ 34811 w 170"/>
                <a:gd name="T15" fmla="*/ 3173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0" h="27">
                  <a:moveTo>
                    <a:pt x="170" y="13"/>
                  </a:moveTo>
                  <a:cubicBezTo>
                    <a:pt x="170" y="21"/>
                    <a:pt x="170" y="27"/>
                    <a:pt x="162" y="27"/>
                  </a:cubicBezTo>
                  <a:cubicBezTo>
                    <a:pt x="9" y="27"/>
                    <a:pt x="9" y="27"/>
                    <a:pt x="9" y="27"/>
                  </a:cubicBezTo>
                  <a:cubicBezTo>
                    <a:pt x="1" y="27"/>
                    <a:pt x="0" y="21"/>
                    <a:pt x="0" y="13"/>
                  </a:cubicBezTo>
                  <a:cubicBezTo>
                    <a:pt x="0" y="13"/>
                    <a:pt x="0" y="13"/>
                    <a:pt x="0" y="13"/>
                  </a:cubicBezTo>
                  <a:cubicBezTo>
                    <a:pt x="0" y="6"/>
                    <a:pt x="1" y="0"/>
                    <a:pt x="9" y="0"/>
                  </a:cubicBezTo>
                  <a:cubicBezTo>
                    <a:pt x="162" y="0"/>
                    <a:pt x="162" y="0"/>
                    <a:pt x="162" y="0"/>
                  </a:cubicBezTo>
                  <a:cubicBezTo>
                    <a:pt x="170" y="0"/>
                    <a:pt x="170" y="6"/>
                    <a:pt x="170" y="13"/>
                  </a:cubicBezTo>
                  <a:close/>
                </a:path>
              </a:pathLst>
            </a:custGeom>
            <a:noFill/>
            <a:ln w="19050"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63" name="Oval 60">
              <a:extLst>
                <a:ext uri="{FF2B5EF4-FFF2-40B4-BE49-F238E27FC236}">
                  <a16:creationId xmlns:a16="http://schemas.microsoft.com/office/drawing/2014/main" id="{B8234F07-603B-48D0-AC2D-F23983450039}"/>
                </a:ext>
              </a:extLst>
            </p:cNvPr>
            <p:cNvSpPr>
              <a:spLocks noChangeArrowheads="1"/>
            </p:cNvSpPr>
            <p:nvPr/>
          </p:nvSpPr>
          <p:spPr bwMode="auto">
            <a:xfrm>
              <a:off x="515" y="2025"/>
              <a:ext cx="141" cy="62"/>
            </a:xfrm>
            <a:prstGeom prst="ellipse">
              <a:avLst/>
            </a:prstGeom>
            <a:noFill/>
            <a:ln w="9525"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64" name="Freeform 61">
              <a:extLst>
                <a:ext uri="{FF2B5EF4-FFF2-40B4-BE49-F238E27FC236}">
                  <a16:creationId xmlns:a16="http://schemas.microsoft.com/office/drawing/2014/main" id="{0A17B6D8-5F03-4EA5-B836-0D713B262541}"/>
                </a:ext>
              </a:extLst>
            </p:cNvPr>
            <p:cNvSpPr>
              <a:spLocks/>
            </p:cNvSpPr>
            <p:nvPr/>
          </p:nvSpPr>
          <p:spPr bwMode="auto">
            <a:xfrm>
              <a:off x="114" y="1993"/>
              <a:ext cx="978" cy="144"/>
            </a:xfrm>
            <a:custGeom>
              <a:avLst/>
              <a:gdLst>
                <a:gd name="T0" fmla="*/ 0 w 166"/>
                <a:gd name="T1" fmla="*/ 2705 h 23"/>
                <a:gd name="T2" fmla="*/ 1426 w 166"/>
                <a:gd name="T3" fmla="*/ 0 h 23"/>
                <a:gd name="T4" fmla="*/ 32734 w 166"/>
                <a:gd name="T5" fmla="*/ 0 h 23"/>
                <a:gd name="T6" fmla="*/ 33947 w 166"/>
                <a:gd name="T7" fmla="*/ 2705 h 23"/>
                <a:gd name="T8" fmla="*/ 32734 w 166"/>
                <a:gd name="T9" fmla="*/ 5647 h 23"/>
                <a:gd name="T10" fmla="*/ 1426 w 166"/>
                <a:gd name="T11" fmla="*/ 5647 h 23"/>
                <a:gd name="T12" fmla="*/ 0 w 166"/>
                <a:gd name="T13" fmla="*/ 2705 h 2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6" h="23">
                  <a:moveTo>
                    <a:pt x="0" y="11"/>
                  </a:moveTo>
                  <a:cubicBezTo>
                    <a:pt x="0" y="2"/>
                    <a:pt x="3" y="0"/>
                    <a:pt x="7" y="0"/>
                  </a:cubicBezTo>
                  <a:cubicBezTo>
                    <a:pt x="160" y="0"/>
                    <a:pt x="160" y="0"/>
                    <a:pt x="160" y="0"/>
                  </a:cubicBezTo>
                  <a:cubicBezTo>
                    <a:pt x="165" y="0"/>
                    <a:pt x="166" y="3"/>
                    <a:pt x="166" y="11"/>
                  </a:cubicBezTo>
                  <a:cubicBezTo>
                    <a:pt x="166" y="20"/>
                    <a:pt x="165" y="23"/>
                    <a:pt x="160" y="23"/>
                  </a:cubicBezTo>
                  <a:cubicBezTo>
                    <a:pt x="7" y="23"/>
                    <a:pt x="7" y="23"/>
                    <a:pt x="7" y="23"/>
                  </a:cubicBezTo>
                  <a:cubicBezTo>
                    <a:pt x="3" y="23"/>
                    <a:pt x="0" y="21"/>
                    <a:pt x="0" y="11"/>
                  </a:cubicBezTo>
                  <a:close/>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grpSp>
      <p:grpSp>
        <p:nvGrpSpPr>
          <p:cNvPr id="265" name="Group 51">
            <a:extLst>
              <a:ext uri="{FF2B5EF4-FFF2-40B4-BE49-F238E27FC236}">
                <a16:creationId xmlns:a16="http://schemas.microsoft.com/office/drawing/2014/main" id="{19858041-2B67-4A23-82AF-3C870C8DE896}"/>
              </a:ext>
            </a:extLst>
          </p:cNvPr>
          <p:cNvGrpSpPr>
            <a:grpSpLocks/>
          </p:cNvGrpSpPr>
          <p:nvPr/>
        </p:nvGrpSpPr>
        <p:grpSpPr bwMode="auto">
          <a:xfrm rot="902221">
            <a:off x="4138604" y="2391846"/>
            <a:ext cx="1590675" cy="268288"/>
            <a:chOff x="102" y="1981"/>
            <a:chExt cx="1002" cy="169"/>
          </a:xfrm>
        </p:grpSpPr>
        <p:sp>
          <p:nvSpPr>
            <p:cNvPr id="266" name="Freeform 52">
              <a:extLst>
                <a:ext uri="{FF2B5EF4-FFF2-40B4-BE49-F238E27FC236}">
                  <a16:creationId xmlns:a16="http://schemas.microsoft.com/office/drawing/2014/main" id="{8754BD9B-4CCA-42C8-9E4F-579436295B77}"/>
                </a:ext>
              </a:extLst>
            </p:cNvPr>
            <p:cNvSpPr>
              <a:spLocks/>
            </p:cNvSpPr>
            <p:nvPr/>
          </p:nvSpPr>
          <p:spPr bwMode="auto">
            <a:xfrm>
              <a:off x="102" y="1981"/>
              <a:ext cx="1002" cy="169"/>
            </a:xfrm>
            <a:custGeom>
              <a:avLst/>
              <a:gdLst>
                <a:gd name="T0" fmla="*/ 34811 w 170"/>
                <a:gd name="T1" fmla="*/ 3173 h 27"/>
                <a:gd name="T2" fmla="*/ 33178 w 170"/>
                <a:gd name="T3" fmla="*/ 6622 h 27"/>
                <a:gd name="T4" fmla="*/ 1839 w 170"/>
                <a:gd name="T5" fmla="*/ 6622 h 27"/>
                <a:gd name="T6" fmla="*/ 0 w 170"/>
                <a:gd name="T7" fmla="*/ 3173 h 27"/>
                <a:gd name="T8" fmla="*/ 0 w 170"/>
                <a:gd name="T9" fmla="*/ 3173 h 27"/>
                <a:gd name="T10" fmla="*/ 1839 w 170"/>
                <a:gd name="T11" fmla="*/ 0 h 27"/>
                <a:gd name="T12" fmla="*/ 33178 w 170"/>
                <a:gd name="T13" fmla="*/ 0 h 27"/>
                <a:gd name="T14" fmla="*/ 34811 w 170"/>
                <a:gd name="T15" fmla="*/ 3173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0" h="27">
                  <a:moveTo>
                    <a:pt x="170" y="13"/>
                  </a:moveTo>
                  <a:cubicBezTo>
                    <a:pt x="170" y="21"/>
                    <a:pt x="170" y="27"/>
                    <a:pt x="162" y="27"/>
                  </a:cubicBezTo>
                  <a:cubicBezTo>
                    <a:pt x="9" y="27"/>
                    <a:pt x="9" y="27"/>
                    <a:pt x="9" y="27"/>
                  </a:cubicBezTo>
                  <a:cubicBezTo>
                    <a:pt x="1" y="27"/>
                    <a:pt x="0" y="21"/>
                    <a:pt x="0" y="13"/>
                  </a:cubicBezTo>
                  <a:cubicBezTo>
                    <a:pt x="0" y="13"/>
                    <a:pt x="0" y="13"/>
                    <a:pt x="0" y="13"/>
                  </a:cubicBezTo>
                  <a:cubicBezTo>
                    <a:pt x="0" y="6"/>
                    <a:pt x="1" y="0"/>
                    <a:pt x="9" y="0"/>
                  </a:cubicBezTo>
                  <a:cubicBezTo>
                    <a:pt x="162" y="0"/>
                    <a:pt x="162" y="0"/>
                    <a:pt x="162" y="0"/>
                  </a:cubicBezTo>
                  <a:cubicBezTo>
                    <a:pt x="170" y="0"/>
                    <a:pt x="170" y="6"/>
                    <a:pt x="170" y="13"/>
                  </a:cubicBezTo>
                  <a:close/>
                </a:path>
              </a:pathLst>
            </a:custGeom>
            <a:solidFill>
              <a:srgbClr val="A59A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67" name="Oval 53">
              <a:extLst>
                <a:ext uri="{FF2B5EF4-FFF2-40B4-BE49-F238E27FC236}">
                  <a16:creationId xmlns:a16="http://schemas.microsoft.com/office/drawing/2014/main" id="{0A70578E-5816-4E40-B117-34B55DD2B28F}"/>
                </a:ext>
              </a:extLst>
            </p:cNvPr>
            <p:cNvSpPr>
              <a:spLocks noChangeArrowheads="1"/>
            </p:cNvSpPr>
            <p:nvPr/>
          </p:nvSpPr>
          <p:spPr bwMode="auto">
            <a:xfrm>
              <a:off x="503" y="2012"/>
              <a:ext cx="135" cy="63"/>
            </a:xfrm>
            <a:prstGeom prst="ellipse">
              <a:avLst/>
            </a:pr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68" name="Oval 54">
              <a:extLst>
                <a:ext uri="{FF2B5EF4-FFF2-40B4-BE49-F238E27FC236}">
                  <a16:creationId xmlns:a16="http://schemas.microsoft.com/office/drawing/2014/main" id="{8E2A5F14-EA9E-49CA-AA4A-0383A6C1B3E6}"/>
                </a:ext>
              </a:extLst>
            </p:cNvPr>
            <p:cNvSpPr>
              <a:spLocks noChangeArrowheads="1"/>
            </p:cNvSpPr>
            <p:nvPr/>
          </p:nvSpPr>
          <p:spPr bwMode="auto">
            <a:xfrm>
              <a:off x="532" y="2043"/>
              <a:ext cx="130" cy="57"/>
            </a:xfrm>
            <a:prstGeom prst="ellipse">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69" name="Oval 55">
              <a:extLst>
                <a:ext uri="{FF2B5EF4-FFF2-40B4-BE49-F238E27FC236}">
                  <a16:creationId xmlns:a16="http://schemas.microsoft.com/office/drawing/2014/main" id="{5D49AE4A-9F1E-4A5E-A47E-70B392E3A4B1}"/>
                </a:ext>
              </a:extLst>
            </p:cNvPr>
            <p:cNvSpPr>
              <a:spLocks noChangeArrowheads="1"/>
            </p:cNvSpPr>
            <p:nvPr/>
          </p:nvSpPr>
          <p:spPr bwMode="auto">
            <a:xfrm>
              <a:off x="515" y="2025"/>
              <a:ext cx="141" cy="62"/>
            </a:xfrm>
            <a:prstGeom prst="ellipse">
              <a:avLst/>
            </a:pr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70" name="Freeform 56">
              <a:extLst>
                <a:ext uri="{FF2B5EF4-FFF2-40B4-BE49-F238E27FC236}">
                  <a16:creationId xmlns:a16="http://schemas.microsoft.com/office/drawing/2014/main" id="{F726D254-6363-49F3-9C71-D8FDE50554B0}"/>
                </a:ext>
              </a:extLst>
            </p:cNvPr>
            <p:cNvSpPr>
              <a:spLocks/>
            </p:cNvSpPr>
            <p:nvPr/>
          </p:nvSpPr>
          <p:spPr bwMode="auto">
            <a:xfrm>
              <a:off x="526" y="2031"/>
              <a:ext cx="95" cy="44"/>
            </a:xfrm>
            <a:custGeom>
              <a:avLst/>
              <a:gdLst>
                <a:gd name="T0" fmla="*/ 214 w 16"/>
                <a:gd name="T1" fmla="*/ 987 h 7"/>
                <a:gd name="T2" fmla="*/ 2078 w 16"/>
                <a:gd name="T3" fmla="*/ 239 h 7"/>
                <a:gd name="T4" fmla="*/ 3349 w 16"/>
                <a:gd name="T5" fmla="*/ 515 h 7"/>
                <a:gd name="T6" fmla="*/ 1870 w 16"/>
                <a:gd name="T7" fmla="*/ 0 h 7"/>
                <a:gd name="T8" fmla="*/ 0 w 16"/>
                <a:gd name="T9" fmla="*/ 987 h 7"/>
                <a:gd name="T10" fmla="*/ 849 w 16"/>
                <a:gd name="T11" fmla="*/ 1741 h 7"/>
                <a:gd name="T12" fmla="*/ 214 w 16"/>
                <a:gd name="T13" fmla="*/ 987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 h="7">
                  <a:moveTo>
                    <a:pt x="1" y="4"/>
                  </a:moveTo>
                  <a:cubicBezTo>
                    <a:pt x="1" y="2"/>
                    <a:pt x="6" y="1"/>
                    <a:pt x="10" y="1"/>
                  </a:cubicBezTo>
                  <a:cubicBezTo>
                    <a:pt x="12" y="1"/>
                    <a:pt x="14" y="1"/>
                    <a:pt x="16" y="2"/>
                  </a:cubicBezTo>
                  <a:cubicBezTo>
                    <a:pt x="14" y="1"/>
                    <a:pt x="12" y="0"/>
                    <a:pt x="9" y="0"/>
                  </a:cubicBezTo>
                  <a:cubicBezTo>
                    <a:pt x="4" y="0"/>
                    <a:pt x="0" y="2"/>
                    <a:pt x="0" y="4"/>
                  </a:cubicBezTo>
                  <a:cubicBezTo>
                    <a:pt x="0" y="5"/>
                    <a:pt x="2" y="6"/>
                    <a:pt x="4" y="7"/>
                  </a:cubicBezTo>
                  <a:cubicBezTo>
                    <a:pt x="3" y="6"/>
                    <a:pt x="1" y="6"/>
                    <a:pt x="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71" name="Freeform 57">
              <a:extLst>
                <a:ext uri="{FF2B5EF4-FFF2-40B4-BE49-F238E27FC236}">
                  <a16:creationId xmlns:a16="http://schemas.microsoft.com/office/drawing/2014/main" id="{C2EA0ECD-8421-4781-B4EE-249B2547EE63}"/>
                </a:ext>
              </a:extLst>
            </p:cNvPr>
            <p:cNvSpPr>
              <a:spLocks/>
            </p:cNvSpPr>
            <p:nvPr/>
          </p:nvSpPr>
          <p:spPr bwMode="auto">
            <a:xfrm>
              <a:off x="691" y="2012"/>
              <a:ext cx="407" cy="119"/>
            </a:xfrm>
            <a:custGeom>
              <a:avLst/>
              <a:gdLst>
                <a:gd name="T0" fmla="*/ 13537 w 69"/>
                <a:gd name="T1" fmla="*/ 983 h 19"/>
                <a:gd name="T2" fmla="*/ 12735 w 69"/>
                <a:gd name="T3" fmla="*/ 4434 h 19"/>
                <a:gd name="T4" fmla="*/ 0 w 69"/>
                <a:gd name="T5" fmla="*/ 4434 h 19"/>
                <a:gd name="T6" fmla="*/ 12316 w 69"/>
                <a:gd name="T7" fmla="*/ 3451 h 19"/>
                <a:gd name="T8" fmla="*/ 13537 w 69"/>
                <a:gd name="T9" fmla="*/ 983 h 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9" h="19">
                  <a:moveTo>
                    <a:pt x="66" y="4"/>
                  </a:moveTo>
                  <a:cubicBezTo>
                    <a:pt x="66" y="0"/>
                    <a:pt x="69" y="18"/>
                    <a:pt x="62" y="18"/>
                  </a:cubicBezTo>
                  <a:cubicBezTo>
                    <a:pt x="53" y="19"/>
                    <a:pt x="0" y="18"/>
                    <a:pt x="0" y="18"/>
                  </a:cubicBezTo>
                  <a:cubicBezTo>
                    <a:pt x="9" y="18"/>
                    <a:pt x="55" y="18"/>
                    <a:pt x="60" y="14"/>
                  </a:cubicBezTo>
                  <a:cubicBezTo>
                    <a:pt x="65" y="10"/>
                    <a:pt x="65" y="8"/>
                    <a:pt x="66" y="4"/>
                  </a:cubicBezTo>
                  <a:close/>
                </a:path>
              </a:pathLst>
            </a:custGeom>
            <a:solidFill>
              <a:srgbClr val="EDCD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72" name="Freeform 58">
              <a:extLst>
                <a:ext uri="{FF2B5EF4-FFF2-40B4-BE49-F238E27FC236}">
                  <a16:creationId xmlns:a16="http://schemas.microsoft.com/office/drawing/2014/main" id="{3AF452F4-BEB6-4D13-BD7C-6C01526CC6B1}"/>
                </a:ext>
              </a:extLst>
            </p:cNvPr>
            <p:cNvSpPr>
              <a:spLocks/>
            </p:cNvSpPr>
            <p:nvPr/>
          </p:nvSpPr>
          <p:spPr bwMode="auto">
            <a:xfrm>
              <a:off x="120" y="2006"/>
              <a:ext cx="235" cy="106"/>
            </a:xfrm>
            <a:custGeom>
              <a:avLst/>
              <a:gdLst>
                <a:gd name="T0" fmla="*/ 623 w 40"/>
                <a:gd name="T1" fmla="*/ 4122 h 17"/>
                <a:gd name="T2" fmla="*/ 623 w 40"/>
                <a:gd name="T3" fmla="*/ 468 h 17"/>
                <a:gd name="T4" fmla="*/ 8113 w 40"/>
                <a:gd name="T5" fmla="*/ 0 h 17"/>
                <a:gd name="T6" fmla="*/ 828 w 40"/>
                <a:gd name="T7" fmla="*/ 2176 h 17"/>
                <a:gd name="T8" fmla="*/ 623 w 40"/>
                <a:gd name="T9" fmla="*/ 4122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0" h="17">
                  <a:moveTo>
                    <a:pt x="3" y="17"/>
                  </a:moveTo>
                  <a:cubicBezTo>
                    <a:pt x="0" y="13"/>
                    <a:pt x="0" y="4"/>
                    <a:pt x="3" y="2"/>
                  </a:cubicBezTo>
                  <a:cubicBezTo>
                    <a:pt x="5" y="0"/>
                    <a:pt x="23" y="0"/>
                    <a:pt x="40" y="0"/>
                  </a:cubicBezTo>
                  <a:cubicBezTo>
                    <a:pt x="32" y="0"/>
                    <a:pt x="5" y="1"/>
                    <a:pt x="4" y="9"/>
                  </a:cubicBezTo>
                  <a:cubicBezTo>
                    <a:pt x="3" y="11"/>
                    <a:pt x="3" y="17"/>
                    <a:pt x="3" y="17"/>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73" name="Freeform 59">
              <a:extLst>
                <a:ext uri="{FF2B5EF4-FFF2-40B4-BE49-F238E27FC236}">
                  <a16:creationId xmlns:a16="http://schemas.microsoft.com/office/drawing/2014/main" id="{6228E372-FECD-4E40-A760-196481FA04EE}"/>
                </a:ext>
              </a:extLst>
            </p:cNvPr>
            <p:cNvSpPr>
              <a:spLocks/>
            </p:cNvSpPr>
            <p:nvPr/>
          </p:nvSpPr>
          <p:spPr bwMode="auto">
            <a:xfrm>
              <a:off x="102" y="1981"/>
              <a:ext cx="1002" cy="169"/>
            </a:xfrm>
            <a:custGeom>
              <a:avLst/>
              <a:gdLst>
                <a:gd name="T0" fmla="*/ 34811 w 170"/>
                <a:gd name="T1" fmla="*/ 3173 h 27"/>
                <a:gd name="T2" fmla="*/ 33178 w 170"/>
                <a:gd name="T3" fmla="*/ 6622 h 27"/>
                <a:gd name="T4" fmla="*/ 1839 w 170"/>
                <a:gd name="T5" fmla="*/ 6622 h 27"/>
                <a:gd name="T6" fmla="*/ 0 w 170"/>
                <a:gd name="T7" fmla="*/ 3173 h 27"/>
                <a:gd name="T8" fmla="*/ 0 w 170"/>
                <a:gd name="T9" fmla="*/ 3173 h 27"/>
                <a:gd name="T10" fmla="*/ 1839 w 170"/>
                <a:gd name="T11" fmla="*/ 0 h 27"/>
                <a:gd name="T12" fmla="*/ 33178 w 170"/>
                <a:gd name="T13" fmla="*/ 0 h 27"/>
                <a:gd name="T14" fmla="*/ 34811 w 170"/>
                <a:gd name="T15" fmla="*/ 3173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0" h="27">
                  <a:moveTo>
                    <a:pt x="170" y="13"/>
                  </a:moveTo>
                  <a:cubicBezTo>
                    <a:pt x="170" y="21"/>
                    <a:pt x="170" y="27"/>
                    <a:pt x="162" y="27"/>
                  </a:cubicBezTo>
                  <a:cubicBezTo>
                    <a:pt x="9" y="27"/>
                    <a:pt x="9" y="27"/>
                    <a:pt x="9" y="27"/>
                  </a:cubicBezTo>
                  <a:cubicBezTo>
                    <a:pt x="1" y="27"/>
                    <a:pt x="0" y="21"/>
                    <a:pt x="0" y="13"/>
                  </a:cubicBezTo>
                  <a:cubicBezTo>
                    <a:pt x="0" y="13"/>
                    <a:pt x="0" y="13"/>
                    <a:pt x="0" y="13"/>
                  </a:cubicBezTo>
                  <a:cubicBezTo>
                    <a:pt x="0" y="6"/>
                    <a:pt x="1" y="0"/>
                    <a:pt x="9" y="0"/>
                  </a:cubicBezTo>
                  <a:cubicBezTo>
                    <a:pt x="162" y="0"/>
                    <a:pt x="162" y="0"/>
                    <a:pt x="162" y="0"/>
                  </a:cubicBezTo>
                  <a:cubicBezTo>
                    <a:pt x="170" y="0"/>
                    <a:pt x="170" y="6"/>
                    <a:pt x="170" y="13"/>
                  </a:cubicBezTo>
                  <a:close/>
                </a:path>
              </a:pathLst>
            </a:custGeom>
            <a:noFill/>
            <a:ln w="19050"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74" name="Oval 60">
              <a:extLst>
                <a:ext uri="{FF2B5EF4-FFF2-40B4-BE49-F238E27FC236}">
                  <a16:creationId xmlns:a16="http://schemas.microsoft.com/office/drawing/2014/main" id="{A25F3D94-3FC4-45FE-9EAB-E3533BE5375B}"/>
                </a:ext>
              </a:extLst>
            </p:cNvPr>
            <p:cNvSpPr>
              <a:spLocks noChangeArrowheads="1"/>
            </p:cNvSpPr>
            <p:nvPr/>
          </p:nvSpPr>
          <p:spPr bwMode="auto">
            <a:xfrm>
              <a:off x="515" y="2025"/>
              <a:ext cx="141" cy="62"/>
            </a:xfrm>
            <a:prstGeom prst="ellipse">
              <a:avLst/>
            </a:prstGeom>
            <a:noFill/>
            <a:ln w="9525"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75" name="Freeform 61">
              <a:extLst>
                <a:ext uri="{FF2B5EF4-FFF2-40B4-BE49-F238E27FC236}">
                  <a16:creationId xmlns:a16="http://schemas.microsoft.com/office/drawing/2014/main" id="{54F2CA14-D130-420F-B90A-4192980D5BB5}"/>
                </a:ext>
              </a:extLst>
            </p:cNvPr>
            <p:cNvSpPr>
              <a:spLocks/>
            </p:cNvSpPr>
            <p:nvPr/>
          </p:nvSpPr>
          <p:spPr bwMode="auto">
            <a:xfrm>
              <a:off x="114" y="1993"/>
              <a:ext cx="978" cy="144"/>
            </a:xfrm>
            <a:custGeom>
              <a:avLst/>
              <a:gdLst>
                <a:gd name="T0" fmla="*/ 0 w 166"/>
                <a:gd name="T1" fmla="*/ 2705 h 23"/>
                <a:gd name="T2" fmla="*/ 1426 w 166"/>
                <a:gd name="T3" fmla="*/ 0 h 23"/>
                <a:gd name="T4" fmla="*/ 32734 w 166"/>
                <a:gd name="T5" fmla="*/ 0 h 23"/>
                <a:gd name="T6" fmla="*/ 33947 w 166"/>
                <a:gd name="T7" fmla="*/ 2705 h 23"/>
                <a:gd name="T8" fmla="*/ 32734 w 166"/>
                <a:gd name="T9" fmla="*/ 5647 h 23"/>
                <a:gd name="T10" fmla="*/ 1426 w 166"/>
                <a:gd name="T11" fmla="*/ 5647 h 23"/>
                <a:gd name="T12" fmla="*/ 0 w 166"/>
                <a:gd name="T13" fmla="*/ 2705 h 2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6" h="23">
                  <a:moveTo>
                    <a:pt x="0" y="11"/>
                  </a:moveTo>
                  <a:cubicBezTo>
                    <a:pt x="0" y="2"/>
                    <a:pt x="3" y="0"/>
                    <a:pt x="7" y="0"/>
                  </a:cubicBezTo>
                  <a:cubicBezTo>
                    <a:pt x="160" y="0"/>
                    <a:pt x="160" y="0"/>
                    <a:pt x="160" y="0"/>
                  </a:cubicBezTo>
                  <a:cubicBezTo>
                    <a:pt x="165" y="0"/>
                    <a:pt x="166" y="3"/>
                    <a:pt x="166" y="11"/>
                  </a:cubicBezTo>
                  <a:cubicBezTo>
                    <a:pt x="166" y="20"/>
                    <a:pt x="165" y="23"/>
                    <a:pt x="160" y="23"/>
                  </a:cubicBezTo>
                  <a:cubicBezTo>
                    <a:pt x="7" y="23"/>
                    <a:pt x="7" y="23"/>
                    <a:pt x="7" y="23"/>
                  </a:cubicBezTo>
                  <a:cubicBezTo>
                    <a:pt x="3" y="23"/>
                    <a:pt x="0" y="21"/>
                    <a:pt x="0" y="11"/>
                  </a:cubicBezTo>
                  <a:close/>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grpSp>
      <p:grpSp>
        <p:nvGrpSpPr>
          <p:cNvPr id="276" name="Group 51">
            <a:extLst>
              <a:ext uri="{FF2B5EF4-FFF2-40B4-BE49-F238E27FC236}">
                <a16:creationId xmlns:a16="http://schemas.microsoft.com/office/drawing/2014/main" id="{49D44188-1085-4903-8D47-9499B2F02A4A}"/>
              </a:ext>
            </a:extLst>
          </p:cNvPr>
          <p:cNvGrpSpPr>
            <a:grpSpLocks/>
          </p:cNvGrpSpPr>
          <p:nvPr/>
        </p:nvGrpSpPr>
        <p:grpSpPr bwMode="auto">
          <a:xfrm rot="392335">
            <a:off x="5717262" y="2702395"/>
            <a:ext cx="1590675" cy="268288"/>
            <a:chOff x="102" y="1981"/>
            <a:chExt cx="1002" cy="169"/>
          </a:xfrm>
        </p:grpSpPr>
        <p:sp>
          <p:nvSpPr>
            <p:cNvPr id="277" name="Freeform 52">
              <a:extLst>
                <a:ext uri="{FF2B5EF4-FFF2-40B4-BE49-F238E27FC236}">
                  <a16:creationId xmlns:a16="http://schemas.microsoft.com/office/drawing/2014/main" id="{1732ED28-1097-46B6-960B-0FA79FAF6D4C}"/>
                </a:ext>
              </a:extLst>
            </p:cNvPr>
            <p:cNvSpPr>
              <a:spLocks/>
            </p:cNvSpPr>
            <p:nvPr/>
          </p:nvSpPr>
          <p:spPr bwMode="auto">
            <a:xfrm>
              <a:off x="102" y="1981"/>
              <a:ext cx="1002" cy="169"/>
            </a:xfrm>
            <a:custGeom>
              <a:avLst/>
              <a:gdLst>
                <a:gd name="T0" fmla="*/ 34811 w 170"/>
                <a:gd name="T1" fmla="*/ 3173 h 27"/>
                <a:gd name="T2" fmla="*/ 33178 w 170"/>
                <a:gd name="T3" fmla="*/ 6622 h 27"/>
                <a:gd name="T4" fmla="*/ 1839 w 170"/>
                <a:gd name="T5" fmla="*/ 6622 h 27"/>
                <a:gd name="T6" fmla="*/ 0 w 170"/>
                <a:gd name="T7" fmla="*/ 3173 h 27"/>
                <a:gd name="T8" fmla="*/ 0 w 170"/>
                <a:gd name="T9" fmla="*/ 3173 h 27"/>
                <a:gd name="T10" fmla="*/ 1839 w 170"/>
                <a:gd name="T11" fmla="*/ 0 h 27"/>
                <a:gd name="T12" fmla="*/ 33178 w 170"/>
                <a:gd name="T13" fmla="*/ 0 h 27"/>
                <a:gd name="T14" fmla="*/ 34811 w 170"/>
                <a:gd name="T15" fmla="*/ 3173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0" h="27">
                  <a:moveTo>
                    <a:pt x="170" y="13"/>
                  </a:moveTo>
                  <a:cubicBezTo>
                    <a:pt x="170" y="21"/>
                    <a:pt x="170" y="27"/>
                    <a:pt x="162" y="27"/>
                  </a:cubicBezTo>
                  <a:cubicBezTo>
                    <a:pt x="9" y="27"/>
                    <a:pt x="9" y="27"/>
                    <a:pt x="9" y="27"/>
                  </a:cubicBezTo>
                  <a:cubicBezTo>
                    <a:pt x="1" y="27"/>
                    <a:pt x="0" y="21"/>
                    <a:pt x="0" y="13"/>
                  </a:cubicBezTo>
                  <a:cubicBezTo>
                    <a:pt x="0" y="13"/>
                    <a:pt x="0" y="13"/>
                    <a:pt x="0" y="13"/>
                  </a:cubicBezTo>
                  <a:cubicBezTo>
                    <a:pt x="0" y="6"/>
                    <a:pt x="1" y="0"/>
                    <a:pt x="9" y="0"/>
                  </a:cubicBezTo>
                  <a:cubicBezTo>
                    <a:pt x="162" y="0"/>
                    <a:pt x="162" y="0"/>
                    <a:pt x="162" y="0"/>
                  </a:cubicBezTo>
                  <a:cubicBezTo>
                    <a:pt x="170" y="0"/>
                    <a:pt x="170" y="6"/>
                    <a:pt x="170" y="13"/>
                  </a:cubicBezTo>
                  <a:close/>
                </a:path>
              </a:pathLst>
            </a:custGeom>
            <a:solidFill>
              <a:srgbClr val="A59A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78" name="Oval 53">
              <a:extLst>
                <a:ext uri="{FF2B5EF4-FFF2-40B4-BE49-F238E27FC236}">
                  <a16:creationId xmlns:a16="http://schemas.microsoft.com/office/drawing/2014/main" id="{3844A7F4-11D3-481C-9F84-5AC91F5288A5}"/>
                </a:ext>
              </a:extLst>
            </p:cNvPr>
            <p:cNvSpPr>
              <a:spLocks noChangeArrowheads="1"/>
            </p:cNvSpPr>
            <p:nvPr/>
          </p:nvSpPr>
          <p:spPr bwMode="auto">
            <a:xfrm>
              <a:off x="503" y="2012"/>
              <a:ext cx="135" cy="63"/>
            </a:xfrm>
            <a:prstGeom prst="ellipse">
              <a:avLst/>
            </a:pr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79" name="Oval 54">
              <a:extLst>
                <a:ext uri="{FF2B5EF4-FFF2-40B4-BE49-F238E27FC236}">
                  <a16:creationId xmlns:a16="http://schemas.microsoft.com/office/drawing/2014/main" id="{633E9627-50DD-45E5-95B6-D33D7DC3B356}"/>
                </a:ext>
              </a:extLst>
            </p:cNvPr>
            <p:cNvSpPr>
              <a:spLocks noChangeArrowheads="1"/>
            </p:cNvSpPr>
            <p:nvPr/>
          </p:nvSpPr>
          <p:spPr bwMode="auto">
            <a:xfrm>
              <a:off x="532" y="2043"/>
              <a:ext cx="130" cy="57"/>
            </a:xfrm>
            <a:prstGeom prst="ellipse">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80" name="Oval 55">
              <a:extLst>
                <a:ext uri="{FF2B5EF4-FFF2-40B4-BE49-F238E27FC236}">
                  <a16:creationId xmlns:a16="http://schemas.microsoft.com/office/drawing/2014/main" id="{38A837D3-31E5-4E89-9DF5-30A76ADF4F22}"/>
                </a:ext>
              </a:extLst>
            </p:cNvPr>
            <p:cNvSpPr>
              <a:spLocks noChangeArrowheads="1"/>
            </p:cNvSpPr>
            <p:nvPr/>
          </p:nvSpPr>
          <p:spPr bwMode="auto">
            <a:xfrm>
              <a:off x="515" y="2025"/>
              <a:ext cx="141" cy="62"/>
            </a:xfrm>
            <a:prstGeom prst="ellipse">
              <a:avLst/>
            </a:pr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81" name="Freeform 56">
              <a:extLst>
                <a:ext uri="{FF2B5EF4-FFF2-40B4-BE49-F238E27FC236}">
                  <a16:creationId xmlns:a16="http://schemas.microsoft.com/office/drawing/2014/main" id="{1A03D77D-F5A3-4555-B8CD-6153733E28BA}"/>
                </a:ext>
              </a:extLst>
            </p:cNvPr>
            <p:cNvSpPr>
              <a:spLocks/>
            </p:cNvSpPr>
            <p:nvPr/>
          </p:nvSpPr>
          <p:spPr bwMode="auto">
            <a:xfrm>
              <a:off x="526" y="2031"/>
              <a:ext cx="95" cy="44"/>
            </a:xfrm>
            <a:custGeom>
              <a:avLst/>
              <a:gdLst>
                <a:gd name="T0" fmla="*/ 214 w 16"/>
                <a:gd name="T1" fmla="*/ 987 h 7"/>
                <a:gd name="T2" fmla="*/ 2078 w 16"/>
                <a:gd name="T3" fmla="*/ 239 h 7"/>
                <a:gd name="T4" fmla="*/ 3349 w 16"/>
                <a:gd name="T5" fmla="*/ 515 h 7"/>
                <a:gd name="T6" fmla="*/ 1870 w 16"/>
                <a:gd name="T7" fmla="*/ 0 h 7"/>
                <a:gd name="T8" fmla="*/ 0 w 16"/>
                <a:gd name="T9" fmla="*/ 987 h 7"/>
                <a:gd name="T10" fmla="*/ 849 w 16"/>
                <a:gd name="T11" fmla="*/ 1741 h 7"/>
                <a:gd name="T12" fmla="*/ 214 w 16"/>
                <a:gd name="T13" fmla="*/ 987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 h="7">
                  <a:moveTo>
                    <a:pt x="1" y="4"/>
                  </a:moveTo>
                  <a:cubicBezTo>
                    <a:pt x="1" y="2"/>
                    <a:pt x="6" y="1"/>
                    <a:pt x="10" y="1"/>
                  </a:cubicBezTo>
                  <a:cubicBezTo>
                    <a:pt x="12" y="1"/>
                    <a:pt x="14" y="1"/>
                    <a:pt x="16" y="2"/>
                  </a:cubicBezTo>
                  <a:cubicBezTo>
                    <a:pt x="14" y="1"/>
                    <a:pt x="12" y="0"/>
                    <a:pt x="9" y="0"/>
                  </a:cubicBezTo>
                  <a:cubicBezTo>
                    <a:pt x="4" y="0"/>
                    <a:pt x="0" y="2"/>
                    <a:pt x="0" y="4"/>
                  </a:cubicBezTo>
                  <a:cubicBezTo>
                    <a:pt x="0" y="5"/>
                    <a:pt x="2" y="6"/>
                    <a:pt x="4" y="7"/>
                  </a:cubicBezTo>
                  <a:cubicBezTo>
                    <a:pt x="3" y="6"/>
                    <a:pt x="1" y="6"/>
                    <a:pt x="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82" name="Freeform 57">
              <a:extLst>
                <a:ext uri="{FF2B5EF4-FFF2-40B4-BE49-F238E27FC236}">
                  <a16:creationId xmlns:a16="http://schemas.microsoft.com/office/drawing/2014/main" id="{B3442EA4-C8C1-4A46-8D8A-3D32D9ECEA5C}"/>
                </a:ext>
              </a:extLst>
            </p:cNvPr>
            <p:cNvSpPr>
              <a:spLocks/>
            </p:cNvSpPr>
            <p:nvPr/>
          </p:nvSpPr>
          <p:spPr bwMode="auto">
            <a:xfrm>
              <a:off x="691" y="2012"/>
              <a:ext cx="407" cy="119"/>
            </a:xfrm>
            <a:custGeom>
              <a:avLst/>
              <a:gdLst>
                <a:gd name="T0" fmla="*/ 13537 w 69"/>
                <a:gd name="T1" fmla="*/ 983 h 19"/>
                <a:gd name="T2" fmla="*/ 12735 w 69"/>
                <a:gd name="T3" fmla="*/ 4434 h 19"/>
                <a:gd name="T4" fmla="*/ 0 w 69"/>
                <a:gd name="T5" fmla="*/ 4434 h 19"/>
                <a:gd name="T6" fmla="*/ 12316 w 69"/>
                <a:gd name="T7" fmla="*/ 3451 h 19"/>
                <a:gd name="T8" fmla="*/ 13537 w 69"/>
                <a:gd name="T9" fmla="*/ 983 h 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9" h="19">
                  <a:moveTo>
                    <a:pt x="66" y="4"/>
                  </a:moveTo>
                  <a:cubicBezTo>
                    <a:pt x="66" y="0"/>
                    <a:pt x="69" y="18"/>
                    <a:pt x="62" y="18"/>
                  </a:cubicBezTo>
                  <a:cubicBezTo>
                    <a:pt x="53" y="19"/>
                    <a:pt x="0" y="18"/>
                    <a:pt x="0" y="18"/>
                  </a:cubicBezTo>
                  <a:cubicBezTo>
                    <a:pt x="9" y="18"/>
                    <a:pt x="55" y="18"/>
                    <a:pt x="60" y="14"/>
                  </a:cubicBezTo>
                  <a:cubicBezTo>
                    <a:pt x="65" y="10"/>
                    <a:pt x="65" y="8"/>
                    <a:pt x="66" y="4"/>
                  </a:cubicBezTo>
                  <a:close/>
                </a:path>
              </a:pathLst>
            </a:custGeom>
            <a:solidFill>
              <a:srgbClr val="EDCD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83" name="Freeform 58">
              <a:extLst>
                <a:ext uri="{FF2B5EF4-FFF2-40B4-BE49-F238E27FC236}">
                  <a16:creationId xmlns:a16="http://schemas.microsoft.com/office/drawing/2014/main" id="{075E0134-903F-4CFD-9D55-CA79066AA027}"/>
                </a:ext>
              </a:extLst>
            </p:cNvPr>
            <p:cNvSpPr>
              <a:spLocks/>
            </p:cNvSpPr>
            <p:nvPr/>
          </p:nvSpPr>
          <p:spPr bwMode="auto">
            <a:xfrm>
              <a:off x="120" y="2006"/>
              <a:ext cx="235" cy="106"/>
            </a:xfrm>
            <a:custGeom>
              <a:avLst/>
              <a:gdLst>
                <a:gd name="T0" fmla="*/ 623 w 40"/>
                <a:gd name="T1" fmla="*/ 4122 h 17"/>
                <a:gd name="T2" fmla="*/ 623 w 40"/>
                <a:gd name="T3" fmla="*/ 468 h 17"/>
                <a:gd name="T4" fmla="*/ 8113 w 40"/>
                <a:gd name="T5" fmla="*/ 0 h 17"/>
                <a:gd name="T6" fmla="*/ 828 w 40"/>
                <a:gd name="T7" fmla="*/ 2176 h 17"/>
                <a:gd name="T8" fmla="*/ 623 w 40"/>
                <a:gd name="T9" fmla="*/ 4122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0" h="17">
                  <a:moveTo>
                    <a:pt x="3" y="17"/>
                  </a:moveTo>
                  <a:cubicBezTo>
                    <a:pt x="0" y="13"/>
                    <a:pt x="0" y="4"/>
                    <a:pt x="3" y="2"/>
                  </a:cubicBezTo>
                  <a:cubicBezTo>
                    <a:pt x="5" y="0"/>
                    <a:pt x="23" y="0"/>
                    <a:pt x="40" y="0"/>
                  </a:cubicBezTo>
                  <a:cubicBezTo>
                    <a:pt x="32" y="0"/>
                    <a:pt x="5" y="1"/>
                    <a:pt x="4" y="9"/>
                  </a:cubicBezTo>
                  <a:cubicBezTo>
                    <a:pt x="3" y="11"/>
                    <a:pt x="3" y="17"/>
                    <a:pt x="3" y="17"/>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84" name="Freeform 59">
              <a:extLst>
                <a:ext uri="{FF2B5EF4-FFF2-40B4-BE49-F238E27FC236}">
                  <a16:creationId xmlns:a16="http://schemas.microsoft.com/office/drawing/2014/main" id="{6359BDBD-42BC-4991-8F41-B818EC644E3E}"/>
                </a:ext>
              </a:extLst>
            </p:cNvPr>
            <p:cNvSpPr>
              <a:spLocks/>
            </p:cNvSpPr>
            <p:nvPr/>
          </p:nvSpPr>
          <p:spPr bwMode="auto">
            <a:xfrm>
              <a:off x="102" y="1981"/>
              <a:ext cx="1002" cy="169"/>
            </a:xfrm>
            <a:custGeom>
              <a:avLst/>
              <a:gdLst>
                <a:gd name="T0" fmla="*/ 34811 w 170"/>
                <a:gd name="T1" fmla="*/ 3173 h 27"/>
                <a:gd name="T2" fmla="*/ 33178 w 170"/>
                <a:gd name="T3" fmla="*/ 6622 h 27"/>
                <a:gd name="T4" fmla="*/ 1839 w 170"/>
                <a:gd name="T5" fmla="*/ 6622 h 27"/>
                <a:gd name="T6" fmla="*/ 0 w 170"/>
                <a:gd name="T7" fmla="*/ 3173 h 27"/>
                <a:gd name="T8" fmla="*/ 0 w 170"/>
                <a:gd name="T9" fmla="*/ 3173 h 27"/>
                <a:gd name="T10" fmla="*/ 1839 w 170"/>
                <a:gd name="T11" fmla="*/ 0 h 27"/>
                <a:gd name="T12" fmla="*/ 33178 w 170"/>
                <a:gd name="T13" fmla="*/ 0 h 27"/>
                <a:gd name="T14" fmla="*/ 34811 w 170"/>
                <a:gd name="T15" fmla="*/ 3173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0" h="27">
                  <a:moveTo>
                    <a:pt x="170" y="13"/>
                  </a:moveTo>
                  <a:cubicBezTo>
                    <a:pt x="170" y="21"/>
                    <a:pt x="170" y="27"/>
                    <a:pt x="162" y="27"/>
                  </a:cubicBezTo>
                  <a:cubicBezTo>
                    <a:pt x="9" y="27"/>
                    <a:pt x="9" y="27"/>
                    <a:pt x="9" y="27"/>
                  </a:cubicBezTo>
                  <a:cubicBezTo>
                    <a:pt x="1" y="27"/>
                    <a:pt x="0" y="21"/>
                    <a:pt x="0" y="13"/>
                  </a:cubicBezTo>
                  <a:cubicBezTo>
                    <a:pt x="0" y="13"/>
                    <a:pt x="0" y="13"/>
                    <a:pt x="0" y="13"/>
                  </a:cubicBezTo>
                  <a:cubicBezTo>
                    <a:pt x="0" y="6"/>
                    <a:pt x="1" y="0"/>
                    <a:pt x="9" y="0"/>
                  </a:cubicBezTo>
                  <a:cubicBezTo>
                    <a:pt x="162" y="0"/>
                    <a:pt x="162" y="0"/>
                    <a:pt x="162" y="0"/>
                  </a:cubicBezTo>
                  <a:cubicBezTo>
                    <a:pt x="170" y="0"/>
                    <a:pt x="170" y="6"/>
                    <a:pt x="170" y="13"/>
                  </a:cubicBezTo>
                  <a:close/>
                </a:path>
              </a:pathLst>
            </a:custGeom>
            <a:noFill/>
            <a:ln w="19050"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85" name="Oval 60">
              <a:extLst>
                <a:ext uri="{FF2B5EF4-FFF2-40B4-BE49-F238E27FC236}">
                  <a16:creationId xmlns:a16="http://schemas.microsoft.com/office/drawing/2014/main" id="{05FC4C0C-5984-4479-AA27-5E04C228B303}"/>
                </a:ext>
              </a:extLst>
            </p:cNvPr>
            <p:cNvSpPr>
              <a:spLocks noChangeArrowheads="1"/>
            </p:cNvSpPr>
            <p:nvPr/>
          </p:nvSpPr>
          <p:spPr bwMode="auto">
            <a:xfrm>
              <a:off x="515" y="2025"/>
              <a:ext cx="141" cy="62"/>
            </a:xfrm>
            <a:prstGeom prst="ellipse">
              <a:avLst/>
            </a:prstGeom>
            <a:noFill/>
            <a:ln w="9525"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86" name="Freeform 61">
              <a:extLst>
                <a:ext uri="{FF2B5EF4-FFF2-40B4-BE49-F238E27FC236}">
                  <a16:creationId xmlns:a16="http://schemas.microsoft.com/office/drawing/2014/main" id="{2C2727D9-EDD4-4F2E-B1F7-1FAA5542656B}"/>
                </a:ext>
              </a:extLst>
            </p:cNvPr>
            <p:cNvSpPr>
              <a:spLocks/>
            </p:cNvSpPr>
            <p:nvPr/>
          </p:nvSpPr>
          <p:spPr bwMode="auto">
            <a:xfrm>
              <a:off x="114" y="1993"/>
              <a:ext cx="978" cy="144"/>
            </a:xfrm>
            <a:custGeom>
              <a:avLst/>
              <a:gdLst>
                <a:gd name="T0" fmla="*/ 0 w 166"/>
                <a:gd name="T1" fmla="*/ 2705 h 23"/>
                <a:gd name="T2" fmla="*/ 1426 w 166"/>
                <a:gd name="T3" fmla="*/ 0 h 23"/>
                <a:gd name="T4" fmla="*/ 32734 w 166"/>
                <a:gd name="T5" fmla="*/ 0 h 23"/>
                <a:gd name="T6" fmla="*/ 33947 w 166"/>
                <a:gd name="T7" fmla="*/ 2705 h 23"/>
                <a:gd name="T8" fmla="*/ 32734 w 166"/>
                <a:gd name="T9" fmla="*/ 5647 h 23"/>
                <a:gd name="T10" fmla="*/ 1426 w 166"/>
                <a:gd name="T11" fmla="*/ 5647 h 23"/>
                <a:gd name="T12" fmla="*/ 0 w 166"/>
                <a:gd name="T13" fmla="*/ 2705 h 2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6" h="23">
                  <a:moveTo>
                    <a:pt x="0" y="11"/>
                  </a:moveTo>
                  <a:cubicBezTo>
                    <a:pt x="0" y="2"/>
                    <a:pt x="3" y="0"/>
                    <a:pt x="7" y="0"/>
                  </a:cubicBezTo>
                  <a:cubicBezTo>
                    <a:pt x="160" y="0"/>
                    <a:pt x="160" y="0"/>
                    <a:pt x="160" y="0"/>
                  </a:cubicBezTo>
                  <a:cubicBezTo>
                    <a:pt x="165" y="0"/>
                    <a:pt x="166" y="3"/>
                    <a:pt x="166" y="11"/>
                  </a:cubicBezTo>
                  <a:cubicBezTo>
                    <a:pt x="166" y="20"/>
                    <a:pt x="165" y="23"/>
                    <a:pt x="160" y="23"/>
                  </a:cubicBezTo>
                  <a:cubicBezTo>
                    <a:pt x="7" y="23"/>
                    <a:pt x="7" y="23"/>
                    <a:pt x="7" y="23"/>
                  </a:cubicBezTo>
                  <a:cubicBezTo>
                    <a:pt x="3" y="23"/>
                    <a:pt x="0" y="21"/>
                    <a:pt x="0" y="11"/>
                  </a:cubicBezTo>
                  <a:close/>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grpSp>
      <p:grpSp>
        <p:nvGrpSpPr>
          <p:cNvPr id="287" name="Group 51">
            <a:extLst>
              <a:ext uri="{FF2B5EF4-FFF2-40B4-BE49-F238E27FC236}">
                <a16:creationId xmlns:a16="http://schemas.microsoft.com/office/drawing/2014/main" id="{493ED5B2-0501-46A7-B789-BB48C4476156}"/>
              </a:ext>
            </a:extLst>
          </p:cNvPr>
          <p:cNvGrpSpPr>
            <a:grpSpLocks/>
          </p:cNvGrpSpPr>
          <p:nvPr/>
        </p:nvGrpSpPr>
        <p:grpSpPr bwMode="auto">
          <a:xfrm rot="170542">
            <a:off x="7335952" y="2834418"/>
            <a:ext cx="1590675" cy="268288"/>
            <a:chOff x="102" y="1981"/>
            <a:chExt cx="1002" cy="169"/>
          </a:xfrm>
        </p:grpSpPr>
        <p:sp>
          <p:nvSpPr>
            <p:cNvPr id="288" name="Freeform 52">
              <a:extLst>
                <a:ext uri="{FF2B5EF4-FFF2-40B4-BE49-F238E27FC236}">
                  <a16:creationId xmlns:a16="http://schemas.microsoft.com/office/drawing/2014/main" id="{A889365D-A10F-4DBE-AFBC-C5B3094C61D2}"/>
                </a:ext>
              </a:extLst>
            </p:cNvPr>
            <p:cNvSpPr>
              <a:spLocks/>
            </p:cNvSpPr>
            <p:nvPr/>
          </p:nvSpPr>
          <p:spPr bwMode="auto">
            <a:xfrm>
              <a:off x="102" y="1981"/>
              <a:ext cx="1002" cy="169"/>
            </a:xfrm>
            <a:custGeom>
              <a:avLst/>
              <a:gdLst>
                <a:gd name="T0" fmla="*/ 34811 w 170"/>
                <a:gd name="T1" fmla="*/ 3173 h 27"/>
                <a:gd name="T2" fmla="*/ 33178 w 170"/>
                <a:gd name="T3" fmla="*/ 6622 h 27"/>
                <a:gd name="T4" fmla="*/ 1839 w 170"/>
                <a:gd name="T5" fmla="*/ 6622 h 27"/>
                <a:gd name="T6" fmla="*/ 0 w 170"/>
                <a:gd name="T7" fmla="*/ 3173 h 27"/>
                <a:gd name="T8" fmla="*/ 0 w 170"/>
                <a:gd name="T9" fmla="*/ 3173 h 27"/>
                <a:gd name="T10" fmla="*/ 1839 w 170"/>
                <a:gd name="T11" fmla="*/ 0 h 27"/>
                <a:gd name="T12" fmla="*/ 33178 w 170"/>
                <a:gd name="T13" fmla="*/ 0 h 27"/>
                <a:gd name="T14" fmla="*/ 34811 w 170"/>
                <a:gd name="T15" fmla="*/ 3173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0" h="27">
                  <a:moveTo>
                    <a:pt x="170" y="13"/>
                  </a:moveTo>
                  <a:cubicBezTo>
                    <a:pt x="170" y="21"/>
                    <a:pt x="170" y="27"/>
                    <a:pt x="162" y="27"/>
                  </a:cubicBezTo>
                  <a:cubicBezTo>
                    <a:pt x="9" y="27"/>
                    <a:pt x="9" y="27"/>
                    <a:pt x="9" y="27"/>
                  </a:cubicBezTo>
                  <a:cubicBezTo>
                    <a:pt x="1" y="27"/>
                    <a:pt x="0" y="21"/>
                    <a:pt x="0" y="13"/>
                  </a:cubicBezTo>
                  <a:cubicBezTo>
                    <a:pt x="0" y="13"/>
                    <a:pt x="0" y="13"/>
                    <a:pt x="0" y="13"/>
                  </a:cubicBezTo>
                  <a:cubicBezTo>
                    <a:pt x="0" y="6"/>
                    <a:pt x="1" y="0"/>
                    <a:pt x="9" y="0"/>
                  </a:cubicBezTo>
                  <a:cubicBezTo>
                    <a:pt x="162" y="0"/>
                    <a:pt x="162" y="0"/>
                    <a:pt x="162" y="0"/>
                  </a:cubicBezTo>
                  <a:cubicBezTo>
                    <a:pt x="170" y="0"/>
                    <a:pt x="170" y="6"/>
                    <a:pt x="170" y="13"/>
                  </a:cubicBezTo>
                  <a:close/>
                </a:path>
              </a:pathLst>
            </a:custGeom>
            <a:solidFill>
              <a:srgbClr val="A59A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89" name="Oval 53">
              <a:extLst>
                <a:ext uri="{FF2B5EF4-FFF2-40B4-BE49-F238E27FC236}">
                  <a16:creationId xmlns:a16="http://schemas.microsoft.com/office/drawing/2014/main" id="{22F12890-C4BD-44BE-B649-88458498E01F}"/>
                </a:ext>
              </a:extLst>
            </p:cNvPr>
            <p:cNvSpPr>
              <a:spLocks noChangeArrowheads="1"/>
            </p:cNvSpPr>
            <p:nvPr/>
          </p:nvSpPr>
          <p:spPr bwMode="auto">
            <a:xfrm>
              <a:off x="503" y="2012"/>
              <a:ext cx="135" cy="63"/>
            </a:xfrm>
            <a:prstGeom prst="ellipse">
              <a:avLst/>
            </a:pr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90" name="Oval 54">
              <a:extLst>
                <a:ext uri="{FF2B5EF4-FFF2-40B4-BE49-F238E27FC236}">
                  <a16:creationId xmlns:a16="http://schemas.microsoft.com/office/drawing/2014/main" id="{B19084B2-3922-40CD-9F5F-F9CF19DC461A}"/>
                </a:ext>
              </a:extLst>
            </p:cNvPr>
            <p:cNvSpPr>
              <a:spLocks noChangeArrowheads="1"/>
            </p:cNvSpPr>
            <p:nvPr/>
          </p:nvSpPr>
          <p:spPr bwMode="auto">
            <a:xfrm>
              <a:off x="532" y="2043"/>
              <a:ext cx="130" cy="57"/>
            </a:xfrm>
            <a:prstGeom prst="ellipse">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91" name="Oval 55">
              <a:extLst>
                <a:ext uri="{FF2B5EF4-FFF2-40B4-BE49-F238E27FC236}">
                  <a16:creationId xmlns:a16="http://schemas.microsoft.com/office/drawing/2014/main" id="{308A5E43-4C0E-416B-BC8C-641D66E4722A}"/>
                </a:ext>
              </a:extLst>
            </p:cNvPr>
            <p:cNvSpPr>
              <a:spLocks noChangeArrowheads="1"/>
            </p:cNvSpPr>
            <p:nvPr/>
          </p:nvSpPr>
          <p:spPr bwMode="auto">
            <a:xfrm>
              <a:off x="515" y="2025"/>
              <a:ext cx="141" cy="62"/>
            </a:xfrm>
            <a:prstGeom prst="ellipse">
              <a:avLst/>
            </a:pr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92" name="Freeform 56">
              <a:extLst>
                <a:ext uri="{FF2B5EF4-FFF2-40B4-BE49-F238E27FC236}">
                  <a16:creationId xmlns:a16="http://schemas.microsoft.com/office/drawing/2014/main" id="{4580A808-0ED1-48FB-A37F-599BB6EFEE4A}"/>
                </a:ext>
              </a:extLst>
            </p:cNvPr>
            <p:cNvSpPr>
              <a:spLocks/>
            </p:cNvSpPr>
            <p:nvPr/>
          </p:nvSpPr>
          <p:spPr bwMode="auto">
            <a:xfrm>
              <a:off x="526" y="2031"/>
              <a:ext cx="95" cy="44"/>
            </a:xfrm>
            <a:custGeom>
              <a:avLst/>
              <a:gdLst>
                <a:gd name="T0" fmla="*/ 214 w 16"/>
                <a:gd name="T1" fmla="*/ 987 h 7"/>
                <a:gd name="T2" fmla="*/ 2078 w 16"/>
                <a:gd name="T3" fmla="*/ 239 h 7"/>
                <a:gd name="T4" fmla="*/ 3349 w 16"/>
                <a:gd name="T5" fmla="*/ 515 h 7"/>
                <a:gd name="T6" fmla="*/ 1870 w 16"/>
                <a:gd name="T7" fmla="*/ 0 h 7"/>
                <a:gd name="T8" fmla="*/ 0 w 16"/>
                <a:gd name="T9" fmla="*/ 987 h 7"/>
                <a:gd name="T10" fmla="*/ 849 w 16"/>
                <a:gd name="T11" fmla="*/ 1741 h 7"/>
                <a:gd name="T12" fmla="*/ 214 w 16"/>
                <a:gd name="T13" fmla="*/ 987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 h="7">
                  <a:moveTo>
                    <a:pt x="1" y="4"/>
                  </a:moveTo>
                  <a:cubicBezTo>
                    <a:pt x="1" y="2"/>
                    <a:pt x="6" y="1"/>
                    <a:pt x="10" y="1"/>
                  </a:cubicBezTo>
                  <a:cubicBezTo>
                    <a:pt x="12" y="1"/>
                    <a:pt x="14" y="1"/>
                    <a:pt x="16" y="2"/>
                  </a:cubicBezTo>
                  <a:cubicBezTo>
                    <a:pt x="14" y="1"/>
                    <a:pt x="12" y="0"/>
                    <a:pt x="9" y="0"/>
                  </a:cubicBezTo>
                  <a:cubicBezTo>
                    <a:pt x="4" y="0"/>
                    <a:pt x="0" y="2"/>
                    <a:pt x="0" y="4"/>
                  </a:cubicBezTo>
                  <a:cubicBezTo>
                    <a:pt x="0" y="5"/>
                    <a:pt x="2" y="6"/>
                    <a:pt x="4" y="7"/>
                  </a:cubicBezTo>
                  <a:cubicBezTo>
                    <a:pt x="3" y="6"/>
                    <a:pt x="1" y="6"/>
                    <a:pt x="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93" name="Freeform 57">
              <a:extLst>
                <a:ext uri="{FF2B5EF4-FFF2-40B4-BE49-F238E27FC236}">
                  <a16:creationId xmlns:a16="http://schemas.microsoft.com/office/drawing/2014/main" id="{316C37B2-423D-41D1-A04D-5564786F9F4B}"/>
                </a:ext>
              </a:extLst>
            </p:cNvPr>
            <p:cNvSpPr>
              <a:spLocks/>
            </p:cNvSpPr>
            <p:nvPr/>
          </p:nvSpPr>
          <p:spPr bwMode="auto">
            <a:xfrm>
              <a:off x="691" y="2012"/>
              <a:ext cx="407" cy="119"/>
            </a:xfrm>
            <a:custGeom>
              <a:avLst/>
              <a:gdLst>
                <a:gd name="T0" fmla="*/ 13537 w 69"/>
                <a:gd name="T1" fmla="*/ 983 h 19"/>
                <a:gd name="T2" fmla="*/ 12735 w 69"/>
                <a:gd name="T3" fmla="*/ 4434 h 19"/>
                <a:gd name="T4" fmla="*/ 0 w 69"/>
                <a:gd name="T5" fmla="*/ 4434 h 19"/>
                <a:gd name="T6" fmla="*/ 12316 w 69"/>
                <a:gd name="T7" fmla="*/ 3451 h 19"/>
                <a:gd name="T8" fmla="*/ 13537 w 69"/>
                <a:gd name="T9" fmla="*/ 983 h 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9" h="19">
                  <a:moveTo>
                    <a:pt x="66" y="4"/>
                  </a:moveTo>
                  <a:cubicBezTo>
                    <a:pt x="66" y="0"/>
                    <a:pt x="69" y="18"/>
                    <a:pt x="62" y="18"/>
                  </a:cubicBezTo>
                  <a:cubicBezTo>
                    <a:pt x="53" y="19"/>
                    <a:pt x="0" y="18"/>
                    <a:pt x="0" y="18"/>
                  </a:cubicBezTo>
                  <a:cubicBezTo>
                    <a:pt x="9" y="18"/>
                    <a:pt x="55" y="18"/>
                    <a:pt x="60" y="14"/>
                  </a:cubicBezTo>
                  <a:cubicBezTo>
                    <a:pt x="65" y="10"/>
                    <a:pt x="65" y="8"/>
                    <a:pt x="66" y="4"/>
                  </a:cubicBezTo>
                  <a:close/>
                </a:path>
              </a:pathLst>
            </a:custGeom>
            <a:solidFill>
              <a:srgbClr val="EDCD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94" name="Freeform 58">
              <a:extLst>
                <a:ext uri="{FF2B5EF4-FFF2-40B4-BE49-F238E27FC236}">
                  <a16:creationId xmlns:a16="http://schemas.microsoft.com/office/drawing/2014/main" id="{4699DC86-E447-437F-BB5A-AFBD6203915E}"/>
                </a:ext>
              </a:extLst>
            </p:cNvPr>
            <p:cNvSpPr>
              <a:spLocks/>
            </p:cNvSpPr>
            <p:nvPr/>
          </p:nvSpPr>
          <p:spPr bwMode="auto">
            <a:xfrm>
              <a:off x="120" y="2006"/>
              <a:ext cx="235" cy="106"/>
            </a:xfrm>
            <a:custGeom>
              <a:avLst/>
              <a:gdLst>
                <a:gd name="T0" fmla="*/ 623 w 40"/>
                <a:gd name="T1" fmla="*/ 4122 h 17"/>
                <a:gd name="T2" fmla="*/ 623 w 40"/>
                <a:gd name="T3" fmla="*/ 468 h 17"/>
                <a:gd name="T4" fmla="*/ 8113 w 40"/>
                <a:gd name="T5" fmla="*/ 0 h 17"/>
                <a:gd name="T6" fmla="*/ 828 w 40"/>
                <a:gd name="T7" fmla="*/ 2176 h 17"/>
                <a:gd name="T8" fmla="*/ 623 w 40"/>
                <a:gd name="T9" fmla="*/ 4122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0" h="17">
                  <a:moveTo>
                    <a:pt x="3" y="17"/>
                  </a:moveTo>
                  <a:cubicBezTo>
                    <a:pt x="0" y="13"/>
                    <a:pt x="0" y="4"/>
                    <a:pt x="3" y="2"/>
                  </a:cubicBezTo>
                  <a:cubicBezTo>
                    <a:pt x="5" y="0"/>
                    <a:pt x="23" y="0"/>
                    <a:pt x="40" y="0"/>
                  </a:cubicBezTo>
                  <a:cubicBezTo>
                    <a:pt x="32" y="0"/>
                    <a:pt x="5" y="1"/>
                    <a:pt x="4" y="9"/>
                  </a:cubicBezTo>
                  <a:cubicBezTo>
                    <a:pt x="3" y="11"/>
                    <a:pt x="3" y="17"/>
                    <a:pt x="3" y="17"/>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95" name="Freeform 59">
              <a:extLst>
                <a:ext uri="{FF2B5EF4-FFF2-40B4-BE49-F238E27FC236}">
                  <a16:creationId xmlns:a16="http://schemas.microsoft.com/office/drawing/2014/main" id="{FD766EF4-CBF0-4F62-9BD3-133CC5B64D0F}"/>
                </a:ext>
              </a:extLst>
            </p:cNvPr>
            <p:cNvSpPr>
              <a:spLocks/>
            </p:cNvSpPr>
            <p:nvPr/>
          </p:nvSpPr>
          <p:spPr bwMode="auto">
            <a:xfrm>
              <a:off x="102" y="1981"/>
              <a:ext cx="1002" cy="169"/>
            </a:xfrm>
            <a:custGeom>
              <a:avLst/>
              <a:gdLst>
                <a:gd name="T0" fmla="*/ 34811 w 170"/>
                <a:gd name="T1" fmla="*/ 3173 h 27"/>
                <a:gd name="T2" fmla="*/ 33178 w 170"/>
                <a:gd name="T3" fmla="*/ 6622 h 27"/>
                <a:gd name="T4" fmla="*/ 1839 w 170"/>
                <a:gd name="T5" fmla="*/ 6622 h 27"/>
                <a:gd name="T6" fmla="*/ 0 w 170"/>
                <a:gd name="T7" fmla="*/ 3173 h 27"/>
                <a:gd name="T8" fmla="*/ 0 w 170"/>
                <a:gd name="T9" fmla="*/ 3173 h 27"/>
                <a:gd name="T10" fmla="*/ 1839 w 170"/>
                <a:gd name="T11" fmla="*/ 0 h 27"/>
                <a:gd name="T12" fmla="*/ 33178 w 170"/>
                <a:gd name="T13" fmla="*/ 0 h 27"/>
                <a:gd name="T14" fmla="*/ 34811 w 170"/>
                <a:gd name="T15" fmla="*/ 3173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0" h="27">
                  <a:moveTo>
                    <a:pt x="170" y="13"/>
                  </a:moveTo>
                  <a:cubicBezTo>
                    <a:pt x="170" y="21"/>
                    <a:pt x="170" y="27"/>
                    <a:pt x="162" y="27"/>
                  </a:cubicBezTo>
                  <a:cubicBezTo>
                    <a:pt x="9" y="27"/>
                    <a:pt x="9" y="27"/>
                    <a:pt x="9" y="27"/>
                  </a:cubicBezTo>
                  <a:cubicBezTo>
                    <a:pt x="1" y="27"/>
                    <a:pt x="0" y="21"/>
                    <a:pt x="0" y="13"/>
                  </a:cubicBezTo>
                  <a:cubicBezTo>
                    <a:pt x="0" y="13"/>
                    <a:pt x="0" y="13"/>
                    <a:pt x="0" y="13"/>
                  </a:cubicBezTo>
                  <a:cubicBezTo>
                    <a:pt x="0" y="6"/>
                    <a:pt x="1" y="0"/>
                    <a:pt x="9" y="0"/>
                  </a:cubicBezTo>
                  <a:cubicBezTo>
                    <a:pt x="162" y="0"/>
                    <a:pt x="162" y="0"/>
                    <a:pt x="162" y="0"/>
                  </a:cubicBezTo>
                  <a:cubicBezTo>
                    <a:pt x="170" y="0"/>
                    <a:pt x="170" y="6"/>
                    <a:pt x="170" y="13"/>
                  </a:cubicBezTo>
                  <a:close/>
                </a:path>
              </a:pathLst>
            </a:custGeom>
            <a:noFill/>
            <a:ln w="19050"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96" name="Oval 60">
              <a:extLst>
                <a:ext uri="{FF2B5EF4-FFF2-40B4-BE49-F238E27FC236}">
                  <a16:creationId xmlns:a16="http://schemas.microsoft.com/office/drawing/2014/main" id="{02EE619F-C403-46B3-8E78-F27D5203A5AD}"/>
                </a:ext>
              </a:extLst>
            </p:cNvPr>
            <p:cNvSpPr>
              <a:spLocks noChangeArrowheads="1"/>
            </p:cNvSpPr>
            <p:nvPr/>
          </p:nvSpPr>
          <p:spPr bwMode="auto">
            <a:xfrm>
              <a:off x="515" y="2025"/>
              <a:ext cx="141" cy="62"/>
            </a:xfrm>
            <a:prstGeom prst="ellipse">
              <a:avLst/>
            </a:prstGeom>
            <a:noFill/>
            <a:ln w="9525"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97" name="Freeform 61">
              <a:extLst>
                <a:ext uri="{FF2B5EF4-FFF2-40B4-BE49-F238E27FC236}">
                  <a16:creationId xmlns:a16="http://schemas.microsoft.com/office/drawing/2014/main" id="{5EB90391-3EBC-4A7C-A034-1B4BDD4541DA}"/>
                </a:ext>
              </a:extLst>
            </p:cNvPr>
            <p:cNvSpPr>
              <a:spLocks/>
            </p:cNvSpPr>
            <p:nvPr/>
          </p:nvSpPr>
          <p:spPr bwMode="auto">
            <a:xfrm>
              <a:off x="114" y="1993"/>
              <a:ext cx="978" cy="144"/>
            </a:xfrm>
            <a:custGeom>
              <a:avLst/>
              <a:gdLst>
                <a:gd name="T0" fmla="*/ 0 w 166"/>
                <a:gd name="T1" fmla="*/ 2705 h 23"/>
                <a:gd name="T2" fmla="*/ 1426 w 166"/>
                <a:gd name="T3" fmla="*/ 0 h 23"/>
                <a:gd name="T4" fmla="*/ 32734 w 166"/>
                <a:gd name="T5" fmla="*/ 0 h 23"/>
                <a:gd name="T6" fmla="*/ 33947 w 166"/>
                <a:gd name="T7" fmla="*/ 2705 h 23"/>
                <a:gd name="T8" fmla="*/ 32734 w 166"/>
                <a:gd name="T9" fmla="*/ 5647 h 23"/>
                <a:gd name="T10" fmla="*/ 1426 w 166"/>
                <a:gd name="T11" fmla="*/ 5647 h 23"/>
                <a:gd name="T12" fmla="*/ 0 w 166"/>
                <a:gd name="T13" fmla="*/ 2705 h 2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6" h="23">
                  <a:moveTo>
                    <a:pt x="0" y="11"/>
                  </a:moveTo>
                  <a:cubicBezTo>
                    <a:pt x="0" y="2"/>
                    <a:pt x="3" y="0"/>
                    <a:pt x="7" y="0"/>
                  </a:cubicBezTo>
                  <a:cubicBezTo>
                    <a:pt x="160" y="0"/>
                    <a:pt x="160" y="0"/>
                    <a:pt x="160" y="0"/>
                  </a:cubicBezTo>
                  <a:cubicBezTo>
                    <a:pt x="165" y="0"/>
                    <a:pt x="166" y="3"/>
                    <a:pt x="166" y="11"/>
                  </a:cubicBezTo>
                  <a:cubicBezTo>
                    <a:pt x="166" y="20"/>
                    <a:pt x="165" y="23"/>
                    <a:pt x="160" y="23"/>
                  </a:cubicBezTo>
                  <a:cubicBezTo>
                    <a:pt x="7" y="23"/>
                    <a:pt x="7" y="23"/>
                    <a:pt x="7" y="23"/>
                  </a:cubicBezTo>
                  <a:cubicBezTo>
                    <a:pt x="3" y="23"/>
                    <a:pt x="0" y="21"/>
                    <a:pt x="0" y="11"/>
                  </a:cubicBezTo>
                  <a:close/>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grpSp>
      <p:grpSp>
        <p:nvGrpSpPr>
          <p:cNvPr id="298" name="Group 51">
            <a:extLst>
              <a:ext uri="{FF2B5EF4-FFF2-40B4-BE49-F238E27FC236}">
                <a16:creationId xmlns:a16="http://schemas.microsoft.com/office/drawing/2014/main" id="{34427E22-2FB0-4465-A5E2-C6323ECDBF35}"/>
              </a:ext>
            </a:extLst>
          </p:cNvPr>
          <p:cNvGrpSpPr>
            <a:grpSpLocks/>
          </p:cNvGrpSpPr>
          <p:nvPr/>
        </p:nvGrpSpPr>
        <p:grpSpPr bwMode="auto">
          <a:xfrm>
            <a:off x="8933276" y="2884649"/>
            <a:ext cx="1590675" cy="268288"/>
            <a:chOff x="102" y="1981"/>
            <a:chExt cx="1002" cy="169"/>
          </a:xfrm>
        </p:grpSpPr>
        <p:sp>
          <p:nvSpPr>
            <p:cNvPr id="299" name="Freeform 52">
              <a:extLst>
                <a:ext uri="{FF2B5EF4-FFF2-40B4-BE49-F238E27FC236}">
                  <a16:creationId xmlns:a16="http://schemas.microsoft.com/office/drawing/2014/main" id="{30DF8B44-B31E-4A85-ADFE-D257A3E2D5B4}"/>
                </a:ext>
              </a:extLst>
            </p:cNvPr>
            <p:cNvSpPr>
              <a:spLocks/>
            </p:cNvSpPr>
            <p:nvPr/>
          </p:nvSpPr>
          <p:spPr bwMode="auto">
            <a:xfrm>
              <a:off x="102" y="1981"/>
              <a:ext cx="1002" cy="169"/>
            </a:xfrm>
            <a:custGeom>
              <a:avLst/>
              <a:gdLst>
                <a:gd name="T0" fmla="*/ 34811 w 170"/>
                <a:gd name="T1" fmla="*/ 3173 h 27"/>
                <a:gd name="T2" fmla="*/ 33178 w 170"/>
                <a:gd name="T3" fmla="*/ 6622 h 27"/>
                <a:gd name="T4" fmla="*/ 1839 w 170"/>
                <a:gd name="T5" fmla="*/ 6622 h 27"/>
                <a:gd name="T6" fmla="*/ 0 w 170"/>
                <a:gd name="T7" fmla="*/ 3173 h 27"/>
                <a:gd name="T8" fmla="*/ 0 w 170"/>
                <a:gd name="T9" fmla="*/ 3173 h 27"/>
                <a:gd name="T10" fmla="*/ 1839 w 170"/>
                <a:gd name="T11" fmla="*/ 0 h 27"/>
                <a:gd name="T12" fmla="*/ 33178 w 170"/>
                <a:gd name="T13" fmla="*/ 0 h 27"/>
                <a:gd name="T14" fmla="*/ 34811 w 170"/>
                <a:gd name="T15" fmla="*/ 3173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0" h="27">
                  <a:moveTo>
                    <a:pt x="170" y="13"/>
                  </a:moveTo>
                  <a:cubicBezTo>
                    <a:pt x="170" y="21"/>
                    <a:pt x="170" y="27"/>
                    <a:pt x="162" y="27"/>
                  </a:cubicBezTo>
                  <a:cubicBezTo>
                    <a:pt x="9" y="27"/>
                    <a:pt x="9" y="27"/>
                    <a:pt x="9" y="27"/>
                  </a:cubicBezTo>
                  <a:cubicBezTo>
                    <a:pt x="1" y="27"/>
                    <a:pt x="0" y="21"/>
                    <a:pt x="0" y="13"/>
                  </a:cubicBezTo>
                  <a:cubicBezTo>
                    <a:pt x="0" y="13"/>
                    <a:pt x="0" y="13"/>
                    <a:pt x="0" y="13"/>
                  </a:cubicBezTo>
                  <a:cubicBezTo>
                    <a:pt x="0" y="6"/>
                    <a:pt x="1" y="0"/>
                    <a:pt x="9" y="0"/>
                  </a:cubicBezTo>
                  <a:cubicBezTo>
                    <a:pt x="162" y="0"/>
                    <a:pt x="162" y="0"/>
                    <a:pt x="162" y="0"/>
                  </a:cubicBezTo>
                  <a:cubicBezTo>
                    <a:pt x="170" y="0"/>
                    <a:pt x="170" y="6"/>
                    <a:pt x="170" y="13"/>
                  </a:cubicBezTo>
                  <a:close/>
                </a:path>
              </a:pathLst>
            </a:custGeom>
            <a:solidFill>
              <a:srgbClr val="A59A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00" name="Oval 53">
              <a:extLst>
                <a:ext uri="{FF2B5EF4-FFF2-40B4-BE49-F238E27FC236}">
                  <a16:creationId xmlns:a16="http://schemas.microsoft.com/office/drawing/2014/main" id="{CCABEB4A-FF90-43B6-81E3-F1F5142DDD1A}"/>
                </a:ext>
              </a:extLst>
            </p:cNvPr>
            <p:cNvSpPr>
              <a:spLocks noChangeArrowheads="1"/>
            </p:cNvSpPr>
            <p:nvPr/>
          </p:nvSpPr>
          <p:spPr bwMode="auto">
            <a:xfrm>
              <a:off x="503" y="2012"/>
              <a:ext cx="135" cy="63"/>
            </a:xfrm>
            <a:prstGeom prst="ellipse">
              <a:avLst/>
            </a:pr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01" name="Oval 54">
              <a:extLst>
                <a:ext uri="{FF2B5EF4-FFF2-40B4-BE49-F238E27FC236}">
                  <a16:creationId xmlns:a16="http://schemas.microsoft.com/office/drawing/2014/main" id="{2D83F8F5-54FE-4A80-8381-C59C66F95E16}"/>
                </a:ext>
              </a:extLst>
            </p:cNvPr>
            <p:cNvSpPr>
              <a:spLocks noChangeArrowheads="1"/>
            </p:cNvSpPr>
            <p:nvPr/>
          </p:nvSpPr>
          <p:spPr bwMode="auto">
            <a:xfrm>
              <a:off x="532" y="2043"/>
              <a:ext cx="130" cy="57"/>
            </a:xfrm>
            <a:prstGeom prst="ellipse">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02" name="Oval 55">
              <a:extLst>
                <a:ext uri="{FF2B5EF4-FFF2-40B4-BE49-F238E27FC236}">
                  <a16:creationId xmlns:a16="http://schemas.microsoft.com/office/drawing/2014/main" id="{EB512DE6-A98E-4552-9FBA-7ACCFF387143}"/>
                </a:ext>
              </a:extLst>
            </p:cNvPr>
            <p:cNvSpPr>
              <a:spLocks noChangeArrowheads="1"/>
            </p:cNvSpPr>
            <p:nvPr/>
          </p:nvSpPr>
          <p:spPr bwMode="auto">
            <a:xfrm>
              <a:off x="515" y="2025"/>
              <a:ext cx="141" cy="62"/>
            </a:xfrm>
            <a:prstGeom prst="ellipse">
              <a:avLst/>
            </a:pr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03" name="Freeform 56">
              <a:extLst>
                <a:ext uri="{FF2B5EF4-FFF2-40B4-BE49-F238E27FC236}">
                  <a16:creationId xmlns:a16="http://schemas.microsoft.com/office/drawing/2014/main" id="{E74B334E-7E56-496E-B69A-759CBB0B8B8D}"/>
                </a:ext>
              </a:extLst>
            </p:cNvPr>
            <p:cNvSpPr>
              <a:spLocks/>
            </p:cNvSpPr>
            <p:nvPr/>
          </p:nvSpPr>
          <p:spPr bwMode="auto">
            <a:xfrm>
              <a:off x="526" y="2031"/>
              <a:ext cx="95" cy="44"/>
            </a:xfrm>
            <a:custGeom>
              <a:avLst/>
              <a:gdLst>
                <a:gd name="T0" fmla="*/ 214 w 16"/>
                <a:gd name="T1" fmla="*/ 987 h 7"/>
                <a:gd name="T2" fmla="*/ 2078 w 16"/>
                <a:gd name="T3" fmla="*/ 239 h 7"/>
                <a:gd name="T4" fmla="*/ 3349 w 16"/>
                <a:gd name="T5" fmla="*/ 515 h 7"/>
                <a:gd name="T6" fmla="*/ 1870 w 16"/>
                <a:gd name="T7" fmla="*/ 0 h 7"/>
                <a:gd name="T8" fmla="*/ 0 w 16"/>
                <a:gd name="T9" fmla="*/ 987 h 7"/>
                <a:gd name="T10" fmla="*/ 849 w 16"/>
                <a:gd name="T11" fmla="*/ 1741 h 7"/>
                <a:gd name="T12" fmla="*/ 214 w 16"/>
                <a:gd name="T13" fmla="*/ 987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 h="7">
                  <a:moveTo>
                    <a:pt x="1" y="4"/>
                  </a:moveTo>
                  <a:cubicBezTo>
                    <a:pt x="1" y="2"/>
                    <a:pt x="6" y="1"/>
                    <a:pt x="10" y="1"/>
                  </a:cubicBezTo>
                  <a:cubicBezTo>
                    <a:pt x="12" y="1"/>
                    <a:pt x="14" y="1"/>
                    <a:pt x="16" y="2"/>
                  </a:cubicBezTo>
                  <a:cubicBezTo>
                    <a:pt x="14" y="1"/>
                    <a:pt x="12" y="0"/>
                    <a:pt x="9" y="0"/>
                  </a:cubicBezTo>
                  <a:cubicBezTo>
                    <a:pt x="4" y="0"/>
                    <a:pt x="0" y="2"/>
                    <a:pt x="0" y="4"/>
                  </a:cubicBezTo>
                  <a:cubicBezTo>
                    <a:pt x="0" y="5"/>
                    <a:pt x="2" y="6"/>
                    <a:pt x="4" y="7"/>
                  </a:cubicBezTo>
                  <a:cubicBezTo>
                    <a:pt x="3" y="6"/>
                    <a:pt x="1" y="6"/>
                    <a:pt x="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04" name="Freeform 57">
              <a:extLst>
                <a:ext uri="{FF2B5EF4-FFF2-40B4-BE49-F238E27FC236}">
                  <a16:creationId xmlns:a16="http://schemas.microsoft.com/office/drawing/2014/main" id="{13C37D8D-217B-4A77-B9EB-D36D48E06845}"/>
                </a:ext>
              </a:extLst>
            </p:cNvPr>
            <p:cNvSpPr>
              <a:spLocks/>
            </p:cNvSpPr>
            <p:nvPr/>
          </p:nvSpPr>
          <p:spPr bwMode="auto">
            <a:xfrm>
              <a:off x="691" y="2012"/>
              <a:ext cx="407" cy="119"/>
            </a:xfrm>
            <a:custGeom>
              <a:avLst/>
              <a:gdLst>
                <a:gd name="T0" fmla="*/ 13537 w 69"/>
                <a:gd name="T1" fmla="*/ 983 h 19"/>
                <a:gd name="T2" fmla="*/ 12735 w 69"/>
                <a:gd name="T3" fmla="*/ 4434 h 19"/>
                <a:gd name="T4" fmla="*/ 0 w 69"/>
                <a:gd name="T5" fmla="*/ 4434 h 19"/>
                <a:gd name="T6" fmla="*/ 12316 w 69"/>
                <a:gd name="T7" fmla="*/ 3451 h 19"/>
                <a:gd name="T8" fmla="*/ 13537 w 69"/>
                <a:gd name="T9" fmla="*/ 983 h 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9" h="19">
                  <a:moveTo>
                    <a:pt x="66" y="4"/>
                  </a:moveTo>
                  <a:cubicBezTo>
                    <a:pt x="66" y="0"/>
                    <a:pt x="69" y="18"/>
                    <a:pt x="62" y="18"/>
                  </a:cubicBezTo>
                  <a:cubicBezTo>
                    <a:pt x="53" y="19"/>
                    <a:pt x="0" y="18"/>
                    <a:pt x="0" y="18"/>
                  </a:cubicBezTo>
                  <a:cubicBezTo>
                    <a:pt x="9" y="18"/>
                    <a:pt x="55" y="18"/>
                    <a:pt x="60" y="14"/>
                  </a:cubicBezTo>
                  <a:cubicBezTo>
                    <a:pt x="65" y="10"/>
                    <a:pt x="65" y="8"/>
                    <a:pt x="66" y="4"/>
                  </a:cubicBezTo>
                  <a:close/>
                </a:path>
              </a:pathLst>
            </a:custGeom>
            <a:solidFill>
              <a:srgbClr val="EDCD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05" name="Freeform 58">
              <a:extLst>
                <a:ext uri="{FF2B5EF4-FFF2-40B4-BE49-F238E27FC236}">
                  <a16:creationId xmlns:a16="http://schemas.microsoft.com/office/drawing/2014/main" id="{F0AE8170-3687-47AA-9771-72E54F8F6EA6}"/>
                </a:ext>
              </a:extLst>
            </p:cNvPr>
            <p:cNvSpPr>
              <a:spLocks/>
            </p:cNvSpPr>
            <p:nvPr/>
          </p:nvSpPr>
          <p:spPr bwMode="auto">
            <a:xfrm>
              <a:off x="120" y="2006"/>
              <a:ext cx="235" cy="106"/>
            </a:xfrm>
            <a:custGeom>
              <a:avLst/>
              <a:gdLst>
                <a:gd name="T0" fmla="*/ 623 w 40"/>
                <a:gd name="T1" fmla="*/ 4122 h 17"/>
                <a:gd name="T2" fmla="*/ 623 w 40"/>
                <a:gd name="T3" fmla="*/ 468 h 17"/>
                <a:gd name="T4" fmla="*/ 8113 w 40"/>
                <a:gd name="T5" fmla="*/ 0 h 17"/>
                <a:gd name="T6" fmla="*/ 828 w 40"/>
                <a:gd name="T7" fmla="*/ 2176 h 17"/>
                <a:gd name="T8" fmla="*/ 623 w 40"/>
                <a:gd name="T9" fmla="*/ 4122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0" h="17">
                  <a:moveTo>
                    <a:pt x="3" y="17"/>
                  </a:moveTo>
                  <a:cubicBezTo>
                    <a:pt x="0" y="13"/>
                    <a:pt x="0" y="4"/>
                    <a:pt x="3" y="2"/>
                  </a:cubicBezTo>
                  <a:cubicBezTo>
                    <a:pt x="5" y="0"/>
                    <a:pt x="23" y="0"/>
                    <a:pt x="40" y="0"/>
                  </a:cubicBezTo>
                  <a:cubicBezTo>
                    <a:pt x="32" y="0"/>
                    <a:pt x="5" y="1"/>
                    <a:pt x="4" y="9"/>
                  </a:cubicBezTo>
                  <a:cubicBezTo>
                    <a:pt x="3" y="11"/>
                    <a:pt x="3" y="17"/>
                    <a:pt x="3" y="17"/>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06" name="Freeform 59">
              <a:extLst>
                <a:ext uri="{FF2B5EF4-FFF2-40B4-BE49-F238E27FC236}">
                  <a16:creationId xmlns:a16="http://schemas.microsoft.com/office/drawing/2014/main" id="{A6E6A636-02A6-49FC-8E49-5879449418EB}"/>
                </a:ext>
              </a:extLst>
            </p:cNvPr>
            <p:cNvSpPr>
              <a:spLocks/>
            </p:cNvSpPr>
            <p:nvPr/>
          </p:nvSpPr>
          <p:spPr bwMode="auto">
            <a:xfrm>
              <a:off x="102" y="1981"/>
              <a:ext cx="1002" cy="169"/>
            </a:xfrm>
            <a:custGeom>
              <a:avLst/>
              <a:gdLst>
                <a:gd name="T0" fmla="*/ 34811 w 170"/>
                <a:gd name="T1" fmla="*/ 3173 h 27"/>
                <a:gd name="T2" fmla="*/ 33178 w 170"/>
                <a:gd name="T3" fmla="*/ 6622 h 27"/>
                <a:gd name="T4" fmla="*/ 1839 w 170"/>
                <a:gd name="T5" fmla="*/ 6622 h 27"/>
                <a:gd name="T6" fmla="*/ 0 w 170"/>
                <a:gd name="T7" fmla="*/ 3173 h 27"/>
                <a:gd name="T8" fmla="*/ 0 w 170"/>
                <a:gd name="T9" fmla="*/ 3173 h 27"/>
                <a:gd name="T10" fmla="*/ 1839 w 170"/>
                <a:gd name="T11" fmla="*/ 0 h 27"/>
                <a:gd name="T12" fmla="*/ 33178 w 170"/>
                <a:gd name="T13" fmla="*/ 0 h 27"/>
                <a:gd name="T14" fmla="*/ 34811 w 170"/>
                <a:gd name="T15" fmla="*/ 3173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0" h="27">
                  <a:moveTo>
                    <a:pt x="170" y="13"/>
                  </a:moveTo>
                  <a:cubicBezTo>
                    <a:pt x="170" y="21"/>
                    <a:pt x="170" y="27"/>
                    <a:pt x="162" y="27"/>
                  </a:cubicBezTo>
                  <a:cubicBezTo>
                    <a:pt x="9" y="27"/>
                    <a:pt x="9" y="27"/>
                    <a:pt x="9" y="27"/>
                  </a:cubicBezTo>
                  <a:cubicBezTo>
                    <a:pt x="1" y="27"/>
                    <a:pt x="0" y="21"/>
                    <a:pt x="0" y="13"/>
                  </a:cubicBezTo>
                  <a:cubicBezTo>
                    <a:pt x="0" y="13"/>
                    <a:pt x="0" y="13"/>
                    <a:pt x="0" y="13"/>
                  </a:cubicBezTo>
                  <a:cubicBezTo>
                    <a:pt x="0" y="6"/>
                    <a:pt x="1" y="0"/>
                    <a:pt x="9" y="0"/>
                  </a:cubicBezTo>
                  <a:cubicBezTo>
                    <a:pt x="162" y="0"/>
                    <a:pt x="162" y="0"/>
                    <a:pt x="162" y="0"/>
                  </a:cubicBezTo>
                  <a:cubicBezTo>
                    <a:pt x="170" y="0"/>
                    <a:pt x="170" y="6"/>
                    <a:pt x="170" y="13"/>
                  </a:cubicBezTo>
                  <a:close/>
                </a:path>
              </a:pathLst>
            </a:custGeom>
            <a:noFill/>
            <a:ln w="19050"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07" name="Oval 60">
              <a:extLst>
                <a:ext uri="{FF2B5EF4-FFF2-40B4-BE49-F238E27FC236}">
                  <a16:creationId xmlns:a16="http://schemas.microsoft.com/office/drawing/2014/main" id="{0CFBD3EB-D946-44E1-889E-2DF134E44F79}"/>
                </a:ext>
              </a:extLst>
            </p:cNvPr>
            <p:cNvSpPr>
              <a:spLocks noChangeArrowheads="1"/>
            </p:cNvSpPr>
            <p:nvPr/>
          </p:nvSpPr>
          <p:spPr bwMode="auto">
            <a:xfrm>
              <a:off x="515" y="2025"/>
              <a:ext cx="141" cy="62"/>
            </a:xfrm>
            <a:prstGeom prst="ellipse">
              <a:avLst/>
            </a:prstGeom>
            <a:noFill/>
            <a:ln w="9525"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08" name="Freeform 61">
              <a:extLst>
                <a:ext uri="{FF2B5EF4-FFF2-40B4-BE49-F238E27FC236}">
                  <a16:creationId xmlns:a16="http://schemas.microsoft.com/office/drawing/2014/main" id="{452AF6CA-7148-4F76-BF13-8F429DB44373}"/>
                </a:ext>
              </a:extLst>
            </p:cNvPr>
            <p:cNvSpPr>
              <a:spLocks/>
            </p:cNvSpPr>
            <p:nvPr/>
          </p:nvSpPr>
          <p:spPr bwMode="auto">
            <a:xfrm>
              <a:off x="114" y="1993"/>
              <a:ext cx="978" cy="144"/>
            </a:xfrm>
            <a:custGeom>
              <a:avLst/>
              <a:gdLst>
                <a:gd name="T0" fmla="*/ 0 w 166"/>
                <a:gd name="T1" fmla="*/ 2705 h 23"/>
                <a:gd name="T2" fmla="*/ 1426 w 166"/>
                <a:gd name="T3" fmla="*/ 0 h 23"/>
                <a:gd name="T4" fmla="*/ 32734 w 166"/>
                <a:gd name="T5" fmla="*/ 0 h 23"/>
                <a:gd name="T6" fmla="*/ 33947 w 166"/>
                <a:gd name="T7" fmla="*/ 2705 h 23"/>
                <a:gd name="T8" fmla="*/ 32734 w 166"/>
                <a:gd name="T9" fmla="*/ 5647 h 23"/>
                <a:gd name="T10" fmla="*/ 1426 w 166"/>
                <a:gd name="T11" fmla="*/ 5647 h 23"/>
                <a:gd name="T12" fmla="*/ 0 w 166"/>
                <a:gd name="T13" fmla="*/ 2705 h 2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6" h="23">
                  <a:moveTo>
                    <a:pt x="0" y="11"/>
                  </a:moveTo>
                  <a:cubicBezTo>
                    <a:pt x="0" y="2"/>
                    <a:pt x="3" y="0"/>
                    <a:pt x="7" y="0"/>
                  </a:cubicBezTo>
                  <a:cubicBezTo>
                    <a:pt x="160" y="0"/>
                    <a:pt x="160" y="0"/>
                    <a:pt x="160" y="0"/>
                  </a:cubicBezTo>
                  <a:cubicBezTo>
                    <a:pt x="165" y="0"/>
                    <a:pt x="166" y="3"/>
                    <a:pt x="166" y="11"/>
                  </a:cubicBezTo>
                  <a:cubicBezTo>
                    <a:pt x="166" y="20"/>
                    <a:pt x="165" y="23"/>
                    <a:pt x="160" y="23"/>
                  </a:cubicBezTo>
                  <a:cubicBezTo>
                    <a:pt x="7" y="23"/>
                    <a:pt x="7" y="23"/>
                    <a:pt x="7" y="23"/>
                  </a:cubicBezTo>
                  <a:cubicBezTo>
                    <a:pt x="3" y="23"/>
                    <a:pt x="0" y="21"/>
                    <a:pt x="0" y="11"/>
                  </a:cubicBezTo>
                  <a:close/>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grpSp>
      <p:grpSp>
        <p:nvGrpSpPr>
          <p:cNvPr id="309" name="Group 51">
            <a:extLst>
              <a:ext uri="{FF2B5EF4-FFF2-40B4-BE49-F238E27FC236}">
                <a16:creationId xmlns:a16="http://schemas.microsoft.com/office/drawing/2014/main" id="{05AD9719-9384-43BD-9288-7288864B7485}"/>
              </a:ext>
            </a:extLst>
          </p:cNvPr>
          <p:cNvGrpSpPr>
            <a:grpSpLocks/>
          </p:cNvGrpSpPr>
          <p:nvPr/>
        </p:nvGrpSpPr>
        <p:grpSpPr bwMode="auto">
          <a:xfrm>
            <a:off x="10541212" y="2874499"/>
            <a:ext cx="1301065" cy="268288"/>
            <a:chOff x="102" y="1981"/>
            <a:chExt cx="1002" cy="169"/>
          </a:xfrm>
        </p:grpSpPr>
        <p:sp>
          <p:nvSpPr>
            <p:cNvPr id="310" name="Freeform 52">
              <a:extLst>
                <a:ext uri="{FF2B5EF4-FFF2-40B4-BE49-F238E27FC236}">
                  <a16:creationId xmlns:a16="http://schemas.microsoft.com/office/drawing/2014/main" id="{FEFE23EB-B07A-498F-A68B-CA785B252A80}"/>
                </a:ext>
              </a:extLst>
            </p:cNvPr>
            <p:cNvSpPr>
              <a:spLocks/>
            </p:cNvSpPr>
            <p:nvPr/>
          </p:nvSpPr>
          <p:spPr bwMode="auto">
            <a:xfrm>
              <a:off x="102" y="1981"/>
              <a:ext cx="1002" cy="169"/>
            </a:xfrm>
            <a:custGeom>
              <a:avLst/>
              <a:gdLst>
                <a:gd name="T0" fmla="*/ 34811 w 170"/>
                <a:gd name="T1" fmla="*/ 3173 h 27"/>
                <a:gd name="T2" fmla="*/ 33178 w 170"/>
                <a:gd name="T3" fmla="*/ 6622 h 27"/>
                <a:gd name="T4" fmla="*/ 1839 w 170"/>
                <a:gd name="T5" fmla="*/ 6622 h 27"/>
                <a:gd name="T6" fmla="*/ 0 w 170"/>
                <a:gd name="T7" fmla="*/ 3173 h 27"/>
                <a:gd name="T8" fmla="*/ 0 w 170"/>
                <a:gd name="T9" fmla="*/ 3173 h 27"/>
                <a:gd name="T10" fmla="*/ 1839 w 170"/>
                <a:gd name="T11" fmla="*/ 0 h 27"/>
                <a:gd name="T12" fmla="*/ 33178 w 170"/>
                <a:gd name="T13" fmla="*/ 0 h 27"/>
                <a:gd name="T14" fmla="*/ 34811 w 170"/>
                <a:gd name="T15" fmla="*/ 3173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0" h="27">
                  <a:moveTo>
                    <a:pt x="170" y="13"/>
                  </a:moveTo>
                  <a:cubicBezTo>
                    <a:pt x="170" y="21"/>
                    <a:pt x="170" y="27"/>
                    <a:pt x="162" y="27"/>
                  </a:cubicBezTo>
                  <a:cubicBezTo>
                    <a:pt x="9" y="27"/>
                    <a:pt x="9" y="27"/>
                    <a:pt x="9" y="27"/>
                  </a:cubicBezTo>
                  <a:cubicBezTo>
                    <a:pt x="1" y="27"/>
                    <a:pt x="0" y="21"/>
                    <a:pt x="0" y="13"/>
                  </a:cubicBezTo>
                  <a:cubicBezTo>
                    <a:pt x="0" y="13"/>
                    <a:pt x="0" y="13"/>
                    <a:pt x="0" y="13"/>
                  </a:cubicBezTo>
                  <a:cubicBezTo>
                    <a:pt x="0" y="6"/>
                    <a:pt x="1" y="0"/>
                    <a:pt x="9" y="0"/>
                  </a:cubicBezTo>
                  <a:cubicBezTo>
                    <a:pt x="162" y="0"/>
                    <a:pt x="162" y="0"/>
                    <a:pt x="162" y="0"/>
                  </a:cubicBezTo>
                  <a:cubicBezTo>
                    <a:pt x="170" y="0"/>
                    <a:pt x="170" y="6"/>
                    <a:pt x="170" y="13"/>
                  </a:cubicBezTo>
                  <a:close/>
                </a:path>
              </a:pathLst>
            </a:custGeom>
            <a:solidFill>
              <a:srgbClr val="A59A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11" name="Oval 53">
              <a:extLst>
                <a:ext uri="{FF2B5EF4-FFF2-40B4-BE49-F238E27FC236}">
                  <a16:creationId xmlns:a16="http://schemas.microsoft.com/office/drawing/2014/main" id="{4A01809D-59DA-4B8C-9C6B-755294903868}"/>
                </a:ext>
              </a:extLst>
            </p:cNvPr>
            <p:cNvSpPr>
              <a:spLocks noChangeArrowheads="1"/>
            </p:cNvSpPr>
            <p:nvPr/>
          </p:nvSpPr>
          <p:spPr bwMode="auto">
            <a:xfrm>
              <a:off x="503" y="2012"/>
              <a:ext cx="135" cy="63"/>
            </a:xfrm>
            <a:prstGeom prst="ellipse">
              <a:avLst/>
            </a:pr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12" name="Oval 54">
              <a:extLst>
                <a:ext uri="{FF2B5EF4-FFF2-40B4-BE49-F238E27FC236}">
                  <a16:creationId xmlns:a16="http://schemas.microsoft.com/office/drawing/2014/main" id="{3FA1A634-2715-46CB-AF0F-A4A56ADC991E}"/>
                </a:ext>
              </a:extLst>
            </p:cNvPr>
            <p:cNvSpPr>
              <a:spLocks noChangeArrowheads="1"/>
            </p:cNvSpPr>
            <p:nvPr/>
          </p:nvSpPr>
          <p:spPr bwMode="auto">
            <a:xfrm>
              <a:off x="532" y="2043"/>
              <a:ext cx="130" cy="57"/>
            </a:xfrm>
            <a:prstGeom prst="ellipse">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13" name="Oval 55">
              <a:extLst>
                <a:ext uri="{FF2B5EF4-FFF2-40B4-BE49-F238E27FC236}">
                  <a16:creationId xmlns:a16="http://schemas.microsoft.com/office/drawing/2014/main" id="{AF177BCB-7754-46E8-B1D1-07A938563658}"/>
                </a:ext>
              </a:extLst>
            </p:cNvPr>
            <p:cNvSpPr>
              <a:spLocks noChangeArrowheads="1"/>
            </p:cNvSpPr>
            <p:nvPr/>
          </p:nvSpPr>
          <p:spPr bwMode="auto">
            <a:xfrm>
              <a:off x="515" y="2025"/>
              <a:ext cx="141" cy="62"/>
            </a:xfrm>
            <a:prstGeom prst="ellipse">
              <a:avLst/>
            </a:pr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14" name="Freeform 56">
              <a:extLst>
                <a:ext uri="{FF2B5EF4-FFF2-40B4-BE49-F238E27FC236}">
                  <a16:creationId xmlns:a16="http://schemas.microsoft.com/office/drawing/2014/main" id="{345141CD-8289-4990-BB6A-A255D5ACB266}"/>
                </a:ext>
              </a:extLst>
            </p:cNvPr>
            <p:cNvSpPr>
              <a:spLocks/>
            </p:cNvSpPr>
            <p:nvPr/>
          </p:nvSpPr>
          <p:spPr bwMode="auto">
            <a:xfrm>
              <a:off x="526" y="2031"/>
              <a:ext cx="95" cy="44"/>
            </a:xfrm>
            <a:custGeom>
              <a:avLst/>
              <a:gdLst>
                <a:gd name="T0" fmla="*/ 214 w 16"/>
                <a:gd name="T1" fmla="*/ 987 h 7"/>
                <a:gd name="T2" fmla="*/ 2078 w 16"/>
                <a:gd name="T3" fmla="*/ 239 h 7"/>
                <a:gd name="T4" fmla="*/ 3349 w 16"/>
                <a:gd name="T5" fmla="*/ 515 h 7"/>
                <a:gd name="T6" fmla="*/ 1870 w 16"/>
                <a:gd name="T7" fmla="*/ 0 h 7"/>
                <a:gd name="T8" fmla="*/ 0 w 16"/>
                <a:gd name="T9" fmla="*/ 987 h 7"/>
                <a:gd name="T10" fmla="*/ 849 w 16"/>
                <a:gd name="T11" fmla="*/ 1741 h 7"/>
                <a:gd name="T12" fmla="*/ 214 w 16"/>
                <a:gd name="T13" fmla="*/ 987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 h="7">
                  <a:moveTo>
                    <a:pt x="1" y="4"/>
                  </a:moveTo>
                  <a:cubicBezTo>
                    <a:pt x="1" y="2"/>
                    <a:pt x="6" y="1"/>
                    <a:pt x="10" y="1"/>
                  </a:cubicBezTo>
                  <a:cubicBezTo>
                    <a:pt x="12" y="1"/>
                    <a:pt x="14" y="1"/>
                    <a:pt x="16" y="2"/>
                  </a:cubicBezTo>
                  <a:cubicBezTo>
                    <a:pt x="14" y="1"/>
                    <a:pt x="12" y="0"/>
                    <a:pt x="9" y="0"/>
                  </a:cubicBezTo>
                  <a:cubicBezTo>
                    <a:pt x="4" y="0"/>
                    <a:pt x="0" y="2"/>
                    <a:pt x="0" y="4"/>
                  </a:cubicBezTo>
                  <a:cubicBezTo>
                    <a:pt x="0" y="5"/>
                    <a:pt x="2" y="6"/>
                    <a:pt x="4" y="7"/>
                  </a:cubicBezTo>
                  <a:cubicBezTo>
                    <a:pt x="3" y="6"/>
                    <a:pt x="1" y="6"/>
                    <a:pt x="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15" name="Freeform 57">
              <a:extLst>
                <a:ext uri="{FF2B5EF4-FFF2-40B4-BE49-F238E27FC236}">
                  <a16:creationId xmlns:a16="http://schemas.microsoft.com/office/drawing/2014/main" id="{1B9A575F-C6C9-4026-9BD7-DE352D5A0E60}"/>
                </a:ext>
              </a:extLst>
            </p:cNvPr>
            <p:cNvSpPr>
              <a:spLocks/>
            </p:cNvSpPr>
            <p:nvPr/>
          </p:nvSpPr>
          <p:spPr bwMode="auto">
            <a:xfrm>
              <a:off x="691" y="2012"/>
              <a:ext cx="407" cy="119"/>
            </a:xfrm>
            <a:custGeom>
              <a:avLst/>
              <a:gdLst>
                <a:gd name="T0" fmla="*/ 13537 w 69"/>
                <a:gd name="T1" fmla="*/ 983 h 19"/>
                <a:gd name="T2" fmla="*/ 12735 w 69"/>
                <a:gd name="T3" fmla="*/ 4434 h 19"/>
                <a:gd name="T4" fmla="*/ 0 w 69"/>
                <a:gd name="T5" fmla="*/ 4434 h 19"/>
                <a:gd name="T6" fmla="*/ 12316 w 69"/>
                <a:gd name="T7" fmla="*/ 3451 h 19"/>
                <a:gd name="T8" fmla="*/ 13537 w 69"/>
                <a:gd name="T9" fmla="*/ 983 h 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9" h="19">
                  <a:moveTo>
                    <a:pt x="66" y="4"/>
                  </a:moveTo>
                  <a:cubicBezTo>
                    <a:pt x="66" y="0"/>
                    <a:pt x="69" y="18"/>
                    <a:pt x="62" y="18"/>
                  </a:cubicBezTo>
                  <a:cubicBezTo>
                    <a:pt x="53" y="19"/>
                    <a:pt x="0" y="18"/>
                    <a:pt x="0" y="18"/>
                  </a:cubicBezTo>
                  <a:cubicBezTo>
                    <a:pt x="9" y="18"/>
                    <a:pt x="55" y="18"/>
                    <a:pt x="60" y="14"/>
                  </a:cubicBezTo>
                  <a:cubicBezTo>
                    <a:pt x="65" y="10"/>
                    <a:pt x="65" y="8"/>
                    <a:pt x="66" y="4"/>
                  </a:cubicBezTo>
                  <a:close/>
                </a:path>
              </a:pathLst>
            </a:custGeom>
            <a:solidFill>
              <a:srgbClr val="EDCD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16" name="Freeform 58">
              <a:extLst>
                <a:ext uri="{FF2B5EF4-FFF2-40B4-BE49-F238E27FC236}">
                  <a16:creationId xmlns:a16="http://schemas.microsoft.com/office/drawing/2014/main" id="{CBD8A1A9-F6D3-40A1-85B6-44CE8779AC99}"/>
                </a:ext>
              </a:extLst>
            </p:cNvPr>
            <p:cNvSpPr>
              <a:spLocks/>
            </p:cNvSpPr>
            <p:nvPr/>
          </p:nvSpPr>
          <p:spPr bwMode="auto">
            <a:xfrm>
              <a:off x="120" y="2006"/>
              <a:ext cx="235" cy="106"/>
            </a:xfrm>
            <a:custGeom>
              <a:avLst/>
              <a:gdLst>
                <a:gd name="T0" fmla="*/ 623 w 40"/>
                <a:gd name="T1" fmla="*/ 4122 h 17"/>
                <a:gd name="T2" fmla="*/ 623 w 40"/>
                <a:gd name="T3" fmla="*/ 468 h 17"/>
                <a:gd name="T4" fmla="*/ 8113 w 40"/>
                <a:gd name="T5" fmla="*/ 0 h 17"/>
                <a:gd name="T6" fmla="*/ 828 w 40"/>
                <a:gd name="T7" fmla="*/ 2176 h 17"/>
                <a:gd name="T8" fmla="*/ 623 w 40"/>
                <a:gd name="T9" fmla="*/ 4122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0" h="17">
                  <a:moveTo>
                    <a:pt x="3" y="17"/>
                  </a:moveTo>
                  <a:cubicBezTo>
                    <a:pt x="0" y="13"/>
                    <a:pt x="0" y="4"/>
                    <a:pt x="3" y="2"/>
                  </a:cubicBezTo>
                  <a:cubicBezTo>
                    <a:pt x="5" y="0"/>
                    <a:pt x="23" y="0"/>
                    <a:pt x="40" y="0"/>
                  </a:cubicBezTo>
                  <a:cubicBezTo>
                    <a:pt x="32" y="0"/>
                    <a:pt x="5" y="1"/>
                    <a:pt x="4" y="9"/>
                  </a:cubicBezTo>
                  <a:cubicBezTo>
                    <a:pt x="3" y="11"/>
                    <a:pt x="3" y="17"/>
                    <a:pt x="3" y="17"/>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17" name="Freeform 59">
              <a:extLst>
                <a:ext uri="{FF2B5EF4-FFF2-40B4-BE49-F238E27FC236}">
                  <a16:creationId xmlns:a16="http://schemas.microsoft.com/office/drawing/2014/main" id="{38993893-B631-4D71-B796-1CE10A073DFB}"/>
                </a:ext>
              </a:extLst>
            </p:cNvPr>
            <p:cNvSpPr>
              <a:spLocks/>
            </p:cNvSpPr>
            <p:nvPr/>
          </p:nvSpPr>
          <p:spPr bwMode="auto">
            <a:xfrm>
              <a:off x="102" y="1981"/>
              <a:ext cx="1002" cy="169"/>
            </a:xfrm>
            <a:custGeom>
              <a:avLst/>
              <a:gdLst>
                <a:gd name="T0" fmla="*/ 34811 w 170"/>
                <a:gd name="T1" fmla="*/ 3173 h 27"/>
                <a:gd name="T2" fmla="*/ 33178 w 170"/>
                <a:gd name="T3" fmla="*/ 6622 h 27"/>
                <a:gd name="T4" fmla="*/ 1839 w 170"/>
                <a:gd name="T5" fmla="*/ 6622 h 27"/>
                <a:gd name="T6" fmla="*/ 0 w 170"/>
                <a:gd name="T7" fmla="*/ 3173 h 27"/>
                <a:gd name="T8" fmla="*/ 0 w 170"/>
                <a:gd name="T9" fmla="*/ 3173 h 27"/>
                <a:gd name="T10" fmla="*/ 1839 w 170"/>
                <a:gd name="T11" fmla="*/ 0 h 27"/>
                <a:gd name="T12" fmla="*/ 33178 w 170"/>
                <a:gd name="T13" fmla="*/ 0 h 27"/>
                <a:gd name="T14" fmla="*/ 34811 w 170"/>
                <a:gd name="T15" fmla="*/ 3173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0" h="27">
                  <a:moveTo>
                    <a:pt x="170" y="13"/>
                  </a:moveTo>
                  <a:cubicBezTo>
                    <a:pt x="170" y="21"/>
                    <a:pt x="170" y="27"/>
                    <a:pt x="162" y="27"/>
                  </a:cubicBezTo>
                  <a:cubicBezTo>
                    <a:pt x="9" y="27"/>
                    <a:pt x="9" y="27"/>
                    <a:pt x="9" y="27"/>
                  </a:cubicBezTo>
                  <a:cubicBezTo>
                    <a:pt x="1" y="27"/>
                    <a:pt x="0" y="21"/>
                    <a:pt x="0" y="13"/>
                  </a:cubicBezTo>
                  <a:cubicBezTo>
                    <a:pt x="0" y="13"/>
                    <a:pt x="0" y="13"/>
                    <a:pt x="0" y="13"/>
                  </a:cubicBezTo>
                  <a:cubicBezTo>
                    <a:pt x="0" y="6"/>
                    <a:pt x="1" y="0"/>
                    <a:pt x="9" y="0"/>
                  </a:cubicBezTo>
                  <a:cubicBezTo>
                    <a:pt x="162" y="0"/>
                    <a:pt x="162" y="0"/>
                    <a:pt x="162" y="0"/>
                  </a:cubicBezTo>
                  <a:cubicBezTo>
                    <a:pt x="170" y="0"/>
                    <a:pt x="170" y="6"/>
                    <a:pt x="170" y="13"/>
                  </a:cubicBezTo>
                  <a:close/>
                </a:path>
              </a:pathLst>
            </a:custGeom>
            <a:noFill/>
            <a:ln w="19050"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18" name="Oval 60">
              <a:extLst>
                <a:ext uri="{FF2B5EF4-FFF2-40B4-BE49-F238E27FC236}">
                  <a16:creationId xmlns:a16="http://schemas.microsoft.com/office/drawing/2014/main" id="{8CE7DA4D-8C3D-4692-A3A2-6F178B75085A}"/>
                </a:ext>
              </a:extLst>
            </p:cNvPr>
            <p:cNvSpPr>
              <a:spLocks noChangeArrowheads="1"/>
            </p:cNvSpPr>
            <p:nvPr/>
          </p:nvSpPr>
          <p:spPr bwMode="auto">
            <a:xfrm>
              <a:off x="515" y="2025"/>
              <a:ext cx="141" cy="62"/>
            </a:xfrm>
            <a:prstGeom prst="ellipse">
              <a:avLst/>
            </a:prstGeom>
            <a:noFill/>
            <a:ln w="9525"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19" name="Freeform 61">
              <a:extLst>
                <a:ext uri="{FF2B5EF4-FFF2-40B4-BE49-F238E27FC236}">
                  <a16:creationId xmlns:a16="http://schemas.microsoft.com/office/drawing/2014/main" id="{FE77C2E4-2352-4251-89C8-8744FBC8EA1F}"/>
                </a:ext>
              </a:extLst>
            </p:cNvPr>
            <p:cNvSpPr>
              <a:spLocks/>
            </p:cNvSpPr>
            <p:nvPr/>
          </p:nvSpPr>
          <p:spPr bwMode="auto">
            <a:xfrm>
              <a:off x="114" y="1993"/>
              <a:ext cx="978" cy="144"/>
            </a:xfrm>
            <a:custGeom>
              <a:avLst/>
              <a:gdLst>
                <a:gd name="T0" fmla="*/ 0 w 166"/>
                <a:gd name="T1" fmla="*/ 2705 h 23"/>
                <a:gd name="T2" fmla="*/ 1426 w 166"/>
                <a:gd name="T3" fmla="*/ 0 h 23"/>
                <a:gd name="T4" fmla="*/ 32734 w 166"/>
                <a:gd name="T5" fmla="*/ 0 h 23"/>
                <a:gd name="T6" fmla="*/ 33947 w 166"/>
                <a:gd name="T7" fmla="*/ 2705 h 23"/>
                <a:gd name="T8" fmla="*/ 32734 w 166"/>
                <a:gd name="T9" fmla="*/ 5647 h 23"/>
                <a:gd name="T10" fmla="*/ 1426 w 166"/>
                <a:gd name="T11" fmla="*/ 5647 h 23"/>
                <a:gd name="T12" fmla="*/ 0 w 166"/>
                <a:gd name="T13" fmla="*/ 2705 h 2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6" h="23">
                  <a:moveTo>
                    <a:pt x="0" y="11"/>
                  </a:moveTo>
                  <a:cubicBezTo>
                    <a:pt x="0" y="2"/>
                    <a:pt x="3" y="0"/>
                    <a:pt x="7" y="0"/>
                  </a:cubicBezTo>
                  <a:cubicBezTo>
                    <a:pt x="160" y="0"/>
                    <a:pt x="160" y="0"/>
                    <a:pt x="160" y="0"/>
                  </a:cubicBezTo>
                  <a:cubicBezTo>
                    <a:pt x="165" y="0"/>
                    <a:pt x="166" y="3"/>
                    <a:pt x="166" y="11"/>
                  </a:cubicBezTo>
                  <a:cubicBezTo>
                    <a:pt x="166" y="20"/>
                    <a:pt x="165" y="23"/>
                    <a:pt x="160" y="23"/>
                  </a:cubicBezTo>
                  <a:cubicBezTo>
                    <a:pt x="7" y="23"/>
                    <a:pt x="7" y="23"/>
                    <a:pt x="7" y="23"/>
                  </a:cubicBezTo>
                  <a:cubicBezTo>
                    <a:pt x="3" y="23"/>
                    <a:pt x="0" y="21"/>
                    <a:pt x="0" y="11"/>
                  </a:cubicBezTo>
                  <a:close/>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grpSp>
      <p:sp>
        <p:nvSpPr>
          <p:cNvPr id="320" name="Rectangle 319">
            <a:extLst>
              <a:ext uri="{FF2B5EF4-FFF2-40B4-BE49-F238E27FC236}">
                <a16:creationId xmlns:a16="http://schemas.microsoft.com/office/drawing/2014/main" id="{33E57D18-B639-47E9-BE34-62D5710E0D66}"/>
              </a:ext>
            </a:extLst>
          </p:cNvPr>
          <p:cNvSpPr/>
          <p:nvPr/>
        </p:nvSpPr>
        <p:spPr bwMode="auto">
          <a:xfrm>
            <a:off x="2594115" y="1581867"/>
            <a:ext cx="9254512" cy="4050096"/>
          </a:xfrm>
          <a:prstGeom prst="rect">
            <a:avLst/>
          </a:prstGeom>
          <a:noFill/>
          <a:ln w="28575"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grpSp>
        <p:nvGrpSpPr>
          <p:cNvPr id="321" name="Group 34">
            <a:extLst>
              <a:ext uri="{FF2B5EF4-FFF2-40B4-BE49-F238E27FC236}">
                <a16:creationId xmlns:a16="http://schemas.microsoft.com/office/drawing/2014/main" id="{7E6FA135-59BD-40BF-AB06-F447B2A7304F}"/>
              </a:ext>
            </a:extLst>
          </p:cNvPr>
          <p:cNvGrpSpPr>
            <a:grpSpLocks/>
          </p:cNvGrpSpPr>
          <p:nvPr/>
        </p:nvGrpSpPr>
        <p:grpSpPr bwMode="auto">
          <a:xfrm rot="1101543">
            <a:off x="2600125" y="3784689"/>
            <a:ext cx="1216155" cy="572183"/>
            <a:chOff x="3557" y="2640"/>
            <a:chExt cx="940" cy="470"/>
          </a:xfrm>
        </p:grpSpPr>
        <p:sp>
          <p:nvSpPr>
            <p:cNvPr id="322" name="Freeform 23">
              <a:extLst>
                <a:ext uri="{FF2B5EF4-FFF2-40B4-BE49-F238E27FC236}">
                  <a16:creationId xmlns:a16="http://schemas.microsoft.com/office/drawing/2014/main" id="{8BBE6B41-60CA-4F5F-8F1F-7B2EA20FCB24}"/>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23" name="Oval 25">
              <a:extLst>
                <a:ext uri="{FF2B5EF4-FFF2-40B4-BE49-F238E27FC236}">
                  <a16:creationId xmlns:a16="http://schemas.microsoft.com/office/drawing/2014/main" id="{8F996FAF-C231-4CE9-A062-5A4E0A7DD68D}"/>
                </a:ext>
              </a:extLst>
            </p:cNvPr>
            <p:cNvSpPr>
              <a:spLocks noChangeArrowheads="1"/>
            </p:cNvSpPr>
            <p:nvPr/>
          </p:nvSpPr>
          <p:spPr bwMode="auto">
            <a:xfrm>
              <a:off x="3942" y="2856"/>
              <a:ext cx="155" cy="72"/>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24" name="Oval 26">
              <a:extLst>
                <a:ext uri="{FF2B5EF4-FFF2-40B4-BE49-F238E27FC236}">
                  <a16:creationId xmlns:a16="http://schemas.microsoft.com/office/drawing/2014/main" id="{2E0CA913-F2C1-4258-BE23-FD65A3C4682F}"/>
                </a:ext>
              </a:extLst>
            </p:cNvPr>
            <p:cNvSpPr>
              <a:spLocks noChangeArrowheads="1"/>
            </p:cNvSpPr>
            <p:nvPr/>
          </p:nvSpPr>
          <p:spPr bwMode="auto">
            <a:xfrm>
              <a:off x="3925" y="2837"/>
              <a:ext cx="155" cy="72"/>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25" name="Freeform 27">
              <a:extLst>
                <a:ext uri="{FF2B5EF4-FFF2-40B4-BE49-F238E27FC236}">
                  <a16:creationId xmlns:a16="http://schemas.microsoft.com/office/drawing/2014/main" id="{6A3D3F52-F51E-4FB3-97D9-592C195D4FBF}"/>
                </a:ext>
              </a:extLst>
            </p:cNvPr>
            <p:cNvSpPr>
              <a:spLocks/>
            </p:cNvSpPr>
            <p:nvPr/>
          </p:nvSpPr>
          <p:spPr bwMode="auto">
            <a:xfrm>
              <a:off x="3952" y="2840"/>
              <a:ext cx="128" cy="69"/>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26" name="Freeform 28">
              <a:extLst>
                <a:ext uri="{FF2B5EF4-FFF2-40B4-BE49-F238E27FC236}">
                  <a16:creationId xmlns:a16="http://schemas.microsoft.com/office/drawing/2014/main" id="{84FE1563-0C6F-4F13-ACD5-A630B7A42721}"/>
                </a:ext>
              </a:extLst>
            </p:cNvPr>
            <p:cNvSpPr>
              <a:spLocks/>
            </p:cNvSpPr>
            <p:nvPr/>
          </p:nvSpPr>
          <p:spPr bwMode="auto">
            <a:xfrm>
              <a:off x="3940" y="2843"/>
              <a:ext cx="115" cy="5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27" name="Freeform 30">
              <a:extLst>
                <a:ext uri="{FF2B5EF4-FFF2-40B4-BE49-F238E27FC236}">
                  <a16:creationId xmlns:a16="http://schemas.microsoft.com/office/drawing/2014/main" id="{52B328DB-135F-4533-9E3C-53CBF9FEDAA0}"/>
                </a:ext>
              </a:extLst>
            </p:cNvPr>
            <p:cNvSpPr>
              <a:spLocks/>
            </p:cNvSpPr>
            <p:nvPr/>
          </p:nvSpPr>
          <p:spPr bwMode="auto">
            <a:xfrm>
              <a:off x="3672" y="2659"/>
              <a:ext cx="523" cy="160"/>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28" name="Freeform 32">
              <a:extLst>
                <a:ext uri="{FF2B5EF4-FFF2-40B4-BE49-F238E27FC236}">
                  <a16:creationId xmlns:a16="http://schemas.microsoft.com/office/drawing/2014/main" id="{61DD52DC-8CF3-4FB1-B03A-FB1BD9BB348A}"/>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29" name="Oval 33">
              <a:extLst>
                <a:ext uri="{FF2B5EF4-FFF2-40B4-BE49-F238E27FC236}">
                  <a16:creationId xmlns:a16="http://schemas.microsoft.com/office/drawing/2014/main" id="{15BD88D9-0DC8-4F88-AAB1-9F855C2508F4}"/>
                </a:ext>
              </a:extLst>
            </p:cNvPr>
            <p:cNvSpPr>
              <a:spLocks noChangeArrowheads="1"/>
            </p:cNvSpPr>
            <p:nvPr/>
          </p:nvSpPr>
          <p:spPr bwMode="auto">
            <a:xfrm>
              <a:off x="3925" y="2837"/>
              <a:ext cx="155" cy="72"/>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330" name="Group 34">
            <a:extLst>
              <a:ext uri="{FF2B5EF4-FFF2-40B4-BE49-F238E27FC236}">
                <a16:creationId xmlns:a16="http://schemas.microsoft.com/office/drawing/2014/main" id="{22235B19-C1AC-4792-BB19-CB0787195082}"/>
              </a:ext>
            </a:extLst>
          </p:cNvPr>
          <p:cNvGrpSpPr>
            <a:grpSpLocks/>
          </p:cNvGrpSpPr>
          <p:nvPr/>
        </p:nvGrpSpPr>
        <p:grpSpPr bwMode="auto">
          <a:xfrm rot="671323">
            <a:off x="3807611" y="4100139"/>
            <a:ext cx="1216155" cy="572183"/>
            <a:chOff x="3557" y="2640"/>
            <a:chExt cx="940" cy="470"/>
          </a:xfrm>
        </p:grpSpPr>
        <p:sp>
          <p:nvSpPr>
            <p:cNvPr id="331" name="Freeform 23">
              <a:extLst>
                <a:ext uri="{FF2B5EF4-FFF2-40B4-BE49-F238E27FC236}">
                  <a16:creationId xmlns:a16="http://schemas.microsoft.com/office/drawing/2014/main" id="{5156C83F-B55D-49AB-AC31-DC57C651C34E}"/>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32" name="Oval 25">
              <a:extLst>
                <a:ext uri="{FF2B5EF4-FFF2-40B4-BE49-F238E27FC236}">
                  <a16:creationId xmlns:a16="http://schemas.microsoft.com/office/drawing/2014/main" id="{4F51450F-119E-4EBF-A4C7-3AD45C0126A7}"/>
                </a:ext>
              </a:extLst>
            </p:cNvPr>
            <p:cNvSpPr>
              <a:spLocks noChangeArrowheads="1"/>
            </p:cNvSpPr>
            <p:nvPr/>
          </p:nvSpPr>
          <p:spPr bwMode="auto">
            <a:xfrm>
              <a:off x="3942" y="2856"/>
              <a:ext cx="155" cy="72"/>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33" name="Oval 26">
              <a:extLst>
                <a:ext uri="{FF2B5EF4-FFF2-40B4-BE49-F238E27FC236}">
                  <a16:creationId xmlns:a16="http://schemas.microsoft.com/office/drawing/2014/main" id="{40C769D5-D779-4B10-AC66-A00CC7AB3A40}"/>
                </a:ext>
              </a:extLst>
            </p:cNvPr>
            <p:cNvSpPr>
              <a:spLocks noChangeArrowheads="1"/>
            </p:cNvSpPr>
            <p:nvPr/>
          </p:nvSpPr>
          <p:spPr bwMode="auto">
            <a:xfrm>
              <a:off x="3925" y="2837"/>
              <a:ext cx="155" cy="72"/>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34" name="Freeform 27">
              <a:extLst>
                <a:ext uri="{FF2B5EF4-FFF2-40B4-BE49-F238E27FC236}">
                  <a16:creationId xmlns:a16="http://schemas.microsoft.com/office/drawing/2014/main" id="{67E59834-DA40-48C5-941B-E8C1804D362E}"/>
                </a:ext>
              </a:extLst>
            </p:cNvPr>
            <p:cNvSpPr>
              <a:spLocks/>
            </p:cNvSpPr>
            <p:nvPr/>
          </p:nvSpPr>
          <p:spPr bwMode="auto">
            <a:xfrm>
              <a:off x="3952" y="2840"/>
              <a:ext cx="128" cy="69"/>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35" name="Freeform 28">
              <a:extLst>
                <a:ext uri="{FF2B5EF4-FFF2-40B4-BE49-F238E27FC236}">
                  <a16:creationId xmlns:a16="http://schemas.microsoft.com/office/drawing/2014/main" id="{442EF015-AF6F-4DE1-B573-D51CE98B4C53}"/>
                </a:ext>
              </a:extLst>
            </p:cNvPr>
            <p:cNvSpPr>
              <a:spLocks/>
            </p:cNvSpPr>
            <p:nvPr/>
          </p:nvSpPr>
          <p:spPr bwMode="auto">
            <a:xfrm>
              <a:off x="3940" y="2843"/>
              <a:ext cx="115" cy="5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36" name="Freeform 30">
              <a:extLst>
                <a:ext uri="{FF2B5EF4-FFF2-40B4-BE49-F238E27FC236}">
                  <a16:creationId xmlns:a16="http://schemas.microsoft.com/office/drawing/2014/main" id="{DCC54CF0-A278-4216-9989-A572AEEC1A5F}"/>
                </a:ext>
              </a:extLst>
            </p:cNvPr>
            <p:cNvSpPr>
              <a:spLocks/>
            </p:cNvSpPr>
            <p:nvPr/>
          </p:nvSpPr>
          <p:spPr bwMode="auto">
            <a:xfrm>
              <a:off x="3672" y="2659"/>
              <a:ext cx="523" cy="160"/>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37" name="Freeform 32">
              <a:extLst>
                <a:ext uri="{FF2B5EF4-FFF2-40B4-BE49-F238E27FC236}">
                  <a16:creationId xmlns:a16="http://schemas.microsoft.com/office/drawing/2014/main" id="{1C788A11-6ABF-4D81-948A-CEE1408762F1}"/>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38" name="Oval 33">
              <a:extLst>
                <a:ext uri="{FF2B5EF4-FFF2-40B4-BE49-F238E27FC236}">
                  <a16:creationId xmlns:a16="http://schemas.microsoft.com/office/drawing/2014/main" id="{EE23FC21-7E88-4469-AF4E-FF8C3092B9A6}"/>
                </a:ext>
              </a:extLst>
            </p:cNvPr>
            <p:cNvSpPr>
              <a:spLocks noChangeArrowheads="1"/>
            </p:cNvSpPr>
            <p:nvPr/>
          </p:nvSpPr>
          <p:spPr bwMode="auto">
            <a:xfrm>
              <a:off x="3925" y="2837"/>
              <a:ext cx="155" cy="72"/>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339" name="Group 34">
            <a:extLst>
              <a:ext uri="{FF2B5EF4-FFF2-40B4-BE49-F238E27FC236}">
                <a16:creationId xmlns:a16="http://schemas.microsoft.com/office/drawing/2014/main" id="{CAB61C3A-6FAF-4040-9348-7C57072E6624}"/>
              </a:ext>
            </a:extLst>
          </p:cNvPr>
          <p:cNvGrpSpPr>
            <a:grpSpLocks/>
          </p:cNvGrpSpPr>
          <p:nvPr/>
        </p:nvGrpSpPr>
        <p:grpSpPr bwMode="auto">
          <a:xfrm rot="671323">
            <a:off x="5030424" y="4340746"/>
            <a:ext cx="1216155" cy="572183"/>
            <a:chOff x="3557" y="2640"/>
            <a:chExt cx="940" cy="470"/>
          </a:xfrm>
        </p:grpSpPr>
        <p:sp>
          <p:nvSpPr>
            <p:cNvPr id="340" name="Freeform 23">
              <a:extLst>
                <a:ext uri="{FF2B5EF4-FFF2-40B4-BE49-F238E27FC236}">
                  <a16:creationId xmlns:a16="http://schemas.microsoft.com/office/drawing/2014/main" id="{EE112F6F-2B58-4769-80ED-0D42D490F488}"/>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41" name="Oval 25">
              <a:extLst>
                <a:ext uri="{FF2B5EF4-FFF2-40B4-BE49-F238E27FC236}">
                  <a16:creationId xmlns:a16="http://schemas.microsoft.com/office/drawing/2014/main" id="{2429E6C7-C70C-47D9-9A63-4D89BB80146C}"/>
                </a:ext>
              </a:extLst>
            </p:cNvPr>
            <p:cNvSpPr>
              <a:spLocks noChangeArrowheads="1"/>
            </p:cNvSpPr>
            <p:nvPr/>
          </p:nvSpPr>
          <p:spPr bwMode="auto">
            <a:xfrm>
              <a:off x="3942" y="2856"/>
              <a:ext cx="155" cy="72"/>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42" name="Oval 26">
              <a:extLst>
                <a:ext uri="{FF2B5EF4-FFF2-40B4-BE49-F238E27FC236}">
                  <a16:creationId xmlns:a16="http://schemas.microsoft.com/office/drawing/2014/main" id="{0CF76F51-A527-4089-B193-E5774A4D8F3B}"/>
                </a:ext>
              </a:extLst>
            </p:cNvPr>
            <p:cNvSpPr>
              <a:spLocks noChangeArrowheads="1"/>
            </p:cNvSpPr>
            <p:nvPr/>
          </p:nvSpPr>
          <p:spPr bwMode="auto">
            <a:xfrm>
              <a:off x="3925" y="2837"/>
              <a:ext cx="155" cy="72"/>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43" name="Freeform 27">
              <a:extLst>
                <a:ext uri="{FF2B5EF4-FFF2-40B4-BE49-F238E27FC236}">
                  <a16:creationId xmlns:a16="http://schemas.microsoft.com/office/drawing/2014/main" id="{F2241EEC-6162-4968-ADF9-16A44C03A141}"/>
                </a:ext>
              </a:extLst>
            </p:cNvPr>
            <p:cNvSpPr>
              <a:spLocks/>
            </p:cNvSpPr>
            <p:nvPr/>
          </p:nvSpPr>
          <p:spPr bwMode="auto">
            <a:xfrm>
              <a:off x="3952" y="2840"/>
              <a:ext cx="128" cy="69"/>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44" name="Freeform 28">
              <a:extLst>
                <a:ext uri="{FF2B5EF4-FFF2-40B4-BE49-F238E27FC236}">
                  <a16:creationId xmlns:a16="http://schemas.microsoft.com/office/drawing/2014/main" id="{C496778B-223A-4C95-A4A0-45962F4681DC}"/>
                </a:ext>
              </a:extLst>
            </p:cNvPr>
            <p:cNvSpPr>
              <a:spLocks/>
            </p:cNvSpPr>
            <p:nvPr/>
          </p:nvSpPr>
          <p:spPr bwMode="auto">
            <a:xfrm>
              <a:off x="3940" y="2843"/>
              <a:ext cx="115" cy="5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45" name="Freeform 30">
              <a:extLst>
                <a:ext uri="{FF2B5EF4-FFF2-40B4-BE49-F238E27FC236}">
                  <a16:creationId xmlns:a16="http://schemas.microsoft.com/office/drawing/2014/main" id="{72D9129C-F30F-4995-98B7-2B1EA49BA43F}"/>
                </a:ext>
              </a:extLst>
            </p:cNvPr>
            <p:cNvSpPr>
              <a:spLocks/>
            </p:cNvSpPr>
            <p:nvPr/>
          </p:nvSpPr>
          <p:spPr bwMode="auto">
            <a:xfrm>
              <a:off x="3672" y="2659"/>
              <a:ext cx="523" cy="160"/>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46" name="Freeform 32">
              <a:extLst>
                <a:ext uri="{FF2B5EF4-FFF2-40B4-BE49-F238E27FC236}">
                  <a16:creationId xmlns:a16="http://schemas.microsoft.com/office/drawing/2014/main" id="{A6371984-4AA2-418B-BDF8-A91BBCC736E9}"/>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47" name="Oval 33">
              <a:extLst>
                <a:ext uri="{FF2B5EF4-FFF2-40B4-BE49-F238E27FC236}">
                  <a16:creationId xmlns:a16="http://schemas.microsoft.com/office/drawing/2014/main" id="{3FB9C27B-E274-4EF2-978E-1B3D56854C78}"/>
                </a:ext>
              </a:extLst>
            </p:cNvPr>
            <p:cNvSpPr>
              <a:spLocks noChangeArrowheads="1"/>
            </p:cNvSpPr>
            <p:nvPr/>
          </p:nvSpPr>
          <p:spPr bwMode="auto">
            <a:xfrm>
              <a:off x="3925" y="2837"/>
              <a:ext cx="155" cy="72"/>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348" name="Group 34">
            <a:extLst>
              <a:ext uri="{FF2B5EF4-FFF2-40B4-BE49-F238E27FC236}">
                <a16:creationId xmlns:a16="http://schemas.microsoft.com/office/drawing/2014/main" id="{1B494EB8-34D2-461F-A4ED-7E4B7FFCBF77}"/>
              </a:ext>
            </a:extLst>
          </p:cNvPr>
          <p:cNvGrpSpPr>
            <a:grpSpLocks/>
          </p:cNvGrpSpPr>
          <p:nvPr/>
        </p:nvGrpSpPr>
        <p:grpSpPr bwMode="auto">
          <a:xfrm rot="521830">
            <a:off x="6260926" y="4551460"/>
            <a:ext cx="1216155" cy="572183"/>
            <a:chOff x="3557" y="2640"/>
            <a:chExt cx="940" cy="470"/>
          </a:xfrm>
        </p:grpSpPr>
        <p:sp>
          <p:nvSpPr>
            <p:cNvPr id="349" name="Freeform 23">
              <a:extLst>
                <a:ext uri="{FF2B5EF4-FFF2-40B4-BE49-F238E27FC236}">
                  <a16:creationId xmlns:a16="http://schemas.microsoft.com/office/drawing/2014/main" id="{71E10C1E-B0FD-49E9-9073-CA17BAAFEB49}"/>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50" name="Oval 25">
              <a:extLst>
                <a:ext uri="{FF2B5EF4-FFF2-40B4-BE49-F238E27FC236}">
                  <a16:creationId xmlns:a16="http://schemas.microsoft.com/office/drawing/2014/main" id="{DA921104-D909-4B14-98E1-9FD404B2B534}"/>
                </a:ext>
              </a:extLst>
            </p:cNvPr>
            <p:cNvSpPr>
              <a:spLocks noChangeArrowheads="1"/>
            </p:cNvSpPr>
            <p:nvPr/>
          </p:nvSpPr>
          <p:spPr bwMode="auto">
            <a:xfrm>
              <a:off x="3942" y="2856"/>
              <a:ext cx="155" cy="72"/>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51" name="Oval 26">
              <a:extLst>
                <a:ext uri="{FF2B5EF4-FFF2-40B4-BE49-F238E27FC236}">
                  <a16:creationId xmlns:a16="http://schemas.microsoft.com/office/drawing/2014/main" id="{EA1395EB-787F-4E94-9C02-E7CE07D073C8}"/>
                </a:ext>
              </a:extLst>
            </p:cNvPr>
            <p:cNvSpPr>
              <a:spLocks noChangeArrowheads="1"/>
            </p:cNvSpPr>
            <p:nvPr/>
          </p:nvSpPr>
          <p:spPr bwMode="auto">
            <a:xfrm>
              <a:off x="3925" y="2837"/>
              <a:ext cx="155" cy="72"/>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52" name="Freeform 27">
              <a:extLst>
                <a:ext uri="{FF2B5EF4-FFF2-40B4-BE49-F238E27FC236}">
                  <a16:creationId xmlns:a16="http://schemas.microsoft.com/office/drawing/2014/main" id="{2E2CD173-B445-4551-B461-BEF9514494A1}"/>
                </a:ext>
              </a:extLst>
            </p:cNvPr>
            <p:cNvSpPr>
              <a:spLocks/>
            </p:cNvSpPr>
            <p:nvPr/>
          </p:nvSpPr>
          <p:spPr bwMode="auto">
            <a:xfrm>
              <a:off x="3952" y="2840"/>
              <a:ext cx="128" cy="69"/>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53" name="Freeform 28">
              <a:extLst>
                <a:ext uri="{FF2B5EF4-FFF2-40B4-BE49-F238E27FC236}">
                  <a16:creationId xmlns:a16="http://schemas.microsoft.com/office/drawing/2014/main" id="{EDBCE90A-87C7-4219-BC59-6FD1305955BB}"/>
                </a:ext>
              </a:extLst>
            </p:cNvPr>
            <p:cNvSpPr>
              <a:spLocks/>
            </p:cNvSpPr>
            <p:nvPr/>
          </p:nvSpPr>
          <p:spPr bwMode="auto">
            <a:xfrm>
              <a:off x="3940" y="2843"/>
              <a:ext cx="115" cy="5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54" name="Freeform 30">
              <a:extLst>
                <a:ext uri="{FF2B5EF4-FFF2-40B4-BE49-F238E27FC236}">
                  <a16:creationId xmlns:a16="http://schemas.microsoft.com/office/drawing/2014/main" id="{38A85349-B592-40F6-867B-0140A51DD379}"/>
                </a:ext>
              </a:extLst>
            </p:cNvPr>
            <p:cNvSpPr>
              <a:spLocks/>
            </p:cNvSpPr>
            <p:nvPr/>
          </p:nvSpPr>
          <p:spPr bwMode="auto">
            <a:xfrm>
              <a:off x="3672" y="2659"/>
              <a:ext cx="523" cy="160"/>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55" name="Freeform 32">
              <a:extLst>
                <a:ext uri="{FF2B5EF4-FFF2-40B4-BE49-F238E27FC236}">
                  <a16:creationId xmlns:a16="http://schemas.microsoft.com/office/drawing/2014/main" id="{A6B9A716-11FB-47CE-A4A2-70C8CC2A110A}"/>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56" name="Oval 33">
              <a:extLst>
                <a:ext uri="{FF2B5EF4-FFF2-40B4-BE49-F238E27FC236}">
                  <a16:creationId xmlns:a16="http://schemas.microsoft.com/office/drawing/2014/main" id="{6856F9C6-7415-4409-80A0-E1FAEDB46F8F}"/>
                </a:ext>
              </a:extLst>
            </p:cNvPr>
            <p:cNvSpPr>
              <a:spLocks noChangeArrowheads="1"/>
            </p:cNvSpPr>
            <p:nvPr/>
          </p:nvSpPr>
          <p:spPr bwMode="auto">
            <a:xfrm>
              <a:off x="3925" y="2837"/>
              <a:ext cx="155" cy="72"/>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357" name="Group 34">
            <a:extLst>
              <a:ext uri="{FF2B5EF4-FFF2-40B4-BE49-F238E27FC236}">
                <a16:creationId xmlns:a16="http://schemas.microsoft.com/office/drawing/2014/main" id="{CCB9281E-DA99-4DF4-A8A5-A122A2899573}"/>
              </a:ext>
            </a:extLst>
          </p:cNvPr>
          <p:cNvGrpSpPr>
            <a:grpSpLocks/>
          </p:cNvGrpSpPr>
          <p:nvPr/>
        </p:nvGrpSpPr>
        <p:grpSpPr bwMode="auto">
          <a:xfrm rot="394922">
            <a:off x="7505341" y="4702574"/>
            <a:ext cx="1216155" cy="572183"/>
            <a:chOff x="3557" y="2640"/>
            <a:chExt cx="940" cy="470"/>
          </a:xfrm>
        </p:grpSpPr>
        <p:sp>
          <p:nvSpPr>
            <p:cNvPr id="358" name="Freeform 23">
              <a:extLst>
                <a:ext uri="{FF2B5EF4-FFF2-40B4-BE49-F238E27FC236}">
                  <a16:creationId xmlns:a16="http://schemas.microsoft.com/office/drawing/2014/main" id="{B47C1C50-5ECC-498D-8F51-C4A406307D26}"/>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59" name="Oval 25">
              <a:extLst>
                <a:ext uri="{FF2B5EF4-FFF2-40B4-BE49-F238E27FC236}">
                  <a16:creationId xmlns:a16="http://schemas.microsoft.com/office/drawing/2014/main" id="{E7B6F590-B934-4A2C-8A67-1350710463D8}"/>
                </a:ext>
              </a:extLst>
            </p:cNvPr>
            <p:cNvSpPr>
              <a:spLocks noChangeArrowheads="1"/>
            </p:cNvSpPr>
            <p:nvPr/>
          </p:nvSpPr>
          <p:spPr bwMode="auto">
            <a:xfrm>
              <a:off x="3942" y="2856"/>
              <a:ext cx="155" cy="72"/>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60" name="Oval 26">
              <a:extLst>
                <a:ext uri="{FF2B5EF4-FFF2-40B4-BE49-F238E27FC236}">
                  <a16:creationId xmlns:a16="http://schemas.microsoft.com/office/drawing/2014/main" id="{1306D69A-8186-4C43-AB3D-1637E88A5ED7}"/>
                </a:ext>
              </a:extLst>
            </p:cNvPr>
            <p:cNvSpPr>
              <a:spLocks noChangeArrowheads="1"/>
            </p:cNvSpPr>
            <p:nvPr/>
          </p:nvSpPr>
          <p:spPr bwMode="auto">
            <a:xfrm>
              <a:off x="3925" y="2837"/>
              <a:ext cx="155" cy="72"/>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61" name="Freeform 27">
              <a:extLst>
                <a:ext uri="{FF2B5EF4-FFF2-40B4-BE49-F238E27FC236}">
                  <a16:creationId xmlns:a16="http://schemas.microsoft.com/office/drawing/2014/main" id="{3A7DD445-35B0-4E6A-B2AD-66AEC6CF509A}"/>
                </a:ext>
              </a:extLst>
            </p:cNvPr>
            <p:cNvSpPr>
              <a:spLocks/>
            </p:cNvSpPr>
            <p:nvPr/>
          </p:nvSpPr>
          <p:spPr bwMode="auto">
            <a:xfrm>
              <a:off x="3952" y="2840"/>
              <a:ext cx="128" cy="69"/>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62" name="Freeform 28">
              <a:extLst>
                <a:ext uri="{FF2B5EF4-FFF2-40B4-BE49-F238E27FC236}">
                  <a16:creationId xmlns:a16="http://schemas.microsoft.com/office/drawing/2014/main" id="{F54B8237-2517-4D1E-B504-AFC242B67BE6}"/>
                </a:ext>
              </a:extLst>
            </p:cNvPr>
            <p:cNvSpPr>
              <a:spLocks/>
            </p:cNvSpPr>
            <p:nvPr/>
          </p:nvSpPr>
          <p:spPr bwMode="auto">
            <a:xfrm>
              <a:off x="3940" y="2843"/>
              <a:ext cx="115" cy="5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63" name="Freeform 30">
              <a:extLst>
                <a:ext uri="{FF2B5EF4-FFF2-40B4-BE49-F238E27FC236}">
                  <a16:creationId xmlns:a16="http://schemas.microsoft.com/office/drawing/2014/main" id="{5C7EBBC1-3D0E-4E69-A355-59A75A9F023B}"/>
                </a:ext>
              </a:extLst>
            </p:cNvPr>
            <p:cNvSpPr>
              <a:spLocks/>
            </p:cNvSpPr>
            <p:nvPr/>
          </p:nvSpPr>
          <p:spPr bwMode="auto">
            <a:xfrm>
              <a:off x="3672" y="2659"/>
              <a:ext cx="523" cy="160"/>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64" name="Freeform 32">
              <a:extLst>
                <a:ext uri="{FF2B5EF4-FFF2-40B4-BE49-F238E27FC236}">
                  <a16:creationId xmlns:a16="http://schemas.microsoft.com/office/drawing/2014/main" id="{2B6E606B-9C0F-4671-82BC-5ED2E05C0EB2}"/>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65" name="Oval 33">
              <a:extLst>
                <a:ext uri="{FF2B5EF4-FFF2-40B4-BE49-F238E27FC236}">
                  <a16:creationId xmlns:a16="http://schemas.microsoft.com/office/drawing/2014/main" id="{91C88BB2-F35C-4376-B816-C141D24C7952}"/>
                </a:ext>
              </a:extLst>
            </p:cNvPr>
            <p:cNvSpPr>
              <a:spLocks noChangeArrowheads="1"/>
            </p:cNvSpPr>
            <p:nvPr/>
          </p:nvSpPr>
          <p:spPr bwMode="auto">
            <a:xfrm>
              <a:off x="3925" y="2837"/>
              <a:ext cx="155" cy="72"/>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366" name="Group 34">
            <a:extLst>
              <a:ext uri="{FF2B5EF4-FFF2-40B4-BE49-F238E27FC236}">
                <a16:creationId xmlns:a16="http://schemas.microsoft.com/office/drawing/2014/main" id="{6337A0AA-EAFD-4C0B-BAD2-41B5E6706839}"/>
              </a:ext>
            </a:extLst>
          </p:cNvPr>
          <p:cNvGrpSpPr>
            <a:grpSpLocks/>
          </p:cNvGrpSpPr>
          <p:nvPr/>
        </p:nvGrpSpPr>
        <p:grpSpPr bwMode="auto">
          <a:xfrm rot="306870">
            <a:off x="8770545" y="4824935"/>
            <a:ext cx="1216155" cy="572183"/>
            <a:chOff x="3557" y="2640"/>
            <a:chExt cx="940" cy="470"/>
          </a:xfrm>
        </p:grpSpPr>
        <p:sp>
          <p:nvSpPr>
            <p:cNvPr id="367" name="Freeform 23">
              <a:extLst>
                <a:ext uri="{FF2B5EF4-FFF2-40B4-BE49-F238E27FC236}">
                  <a16:creationId xmlns:a16="http://schemas.microsoft.com/office/drawing/2014/main" id="{3C16C3A9-9012-43AD-93F4-28653F1753FF}"/>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68" name="Oval 25">
              <a:extLst>
                <a:ext uri="{FF2B5EF4-FFF2-40B4-BE49-F238E27FC236}">
                  <a16:creationId xmlns:a16="http://schemas.microsoft.com/office/drawing/2014/main" id="{9798CEED-CB5A-494E-9701-54B3C9612A19}"/>
                </a:ext>
              </a:extLst>
            </p:cNvPr>
            <p:cNvSpPr>
              <a:spLocks noChangeArrowheads="1"/>
            </p:cNvSpPr>
            <p:nvPr/>
          </p:nvSpPr>
          <p:spPr bwMode="auto">
            <a:xfrm>
              <a:off x="3942" y="2856"/>
              <a:ext cx="155" cy="72"/>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69" name="Oval 26">
              <a:extLst>
                <a:ext uri="{FF2B5EF4-FFF2-40B4-BE49-F238E27FC236}">
                  <a16:creationId xmlns:a16="http://schemas.microsoft.com/office/drawing/2014/main" id="{4D573FD6-1651-4CD5-B067-CAC962D95440}"/>
                </a:ext>
              </a:extLst>
            </p:cNvPr>
            <p:cNvSpPr>
              <a:spLocks noChangeArrowheads="1"/>
            </p:cNvSpPr>
            <p:nvPr/>
          </p:nvSpPr>
          <p:spPr bwMode="auto">
            <a:xfrm>
              <a:off x="3925" y="2837"/>
              <a:ext cx="155" cy="72"/>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70" name="Freeform 27">
              <a:extLst>
                <a:ext uri="{FF2B5EF4-FFF2-40B4-BE49-F238E27FC236}">
                  <a16:creationId xmlns:a16="http://schemas.microsoft.com/office/drawing/2014/main" id="{56ECC856-2225-4B7D-8D45-1C3FC6C5B8AE}"/>
                </a:ext>
              </a:extLst>
            </p:cNvPr>
            <p:cNvSpPr>
              <a:spLocks/>
            </p:cNvSpPr>
            <p:nvPr/>
          </p:nvSpPr>
          <p:spPr bwMode="auto">
            <a:xfrm>
              <a:off x="3952" y="2840"/>
              <a:ext cx="128" cy="69"/>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71" name="Freeform 28">
              <a:extLst>
                <a:ext uri="{FF2B5EF4-FFF2-40B4-BE49-F238E27FC236}">
                  <a16:creationId xmlns:a16="http://schemas.microsoft.com/office/drawing/2014/main" id="{946BF5CC-8FE3-4767-8B7D-82ECF0370B60}"/>
                </a:ext>
              </a:extLst>
            </p:cNvPr>
            <p:cNvSpPr>
              <a:spLocks/>
            </p:cNvSpPr>
            <p:nvPr/>
          </p:nvSpPr>
          <p:spPr bwMode="auto">
            <a:xfrm>
              <a:off x="3940" y="2843"/>
              <a:ext cx="115" cy="5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72" name="Freeform 30">
              <a:extLst>
                <a:ext uri="{FF2B5EF4-FFF2-40B4-BE49-F238E27FC236}">
                  <a16:creationId xmlns:a16="http://schemas.microsoft.com/office/drawing/2014/main" id="{61347FA2-7B4F-4056-8285-5A6D191939DC}"/>
                </a:ext>
              </a:extLst>
            </p:cNvPr>
            <p:cNvSpPr>
              <a:spLocks/>
            </p:cNvSpPr>
            <p:nvPr/>
          </p:nvSpPr>
          <p:spPr bwMode="auto">
            <a:xfrm>
              <a:off x="3672" y="2659"/>
              <a:ext cx="523" cy="160"/>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73" name="Freeform 32">
              <a:extLst>
                <a:ext uri="{FF2B5EF4-FFF2-40B4-BE49-F238E27FC236}">
                  <a16:creationId xmlns:a16="http://schemas.microsoft.com/office/drawing/2014/main" id="{A26F0ECB-BBD8-4DCE-9BCA-F5125863AFF3}"/>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74" name="Oval 33">
              <a:extLst>
                <a:ext uri="{FF2B5EF4-FFF2-40B4-BE49-F238E27FC236}">
                  <a16:creationId xmlns:a16="http://schemas.microsoft.com/office/drawing/2014/main" id="{1DF9081A-DC3B-4BAB-9FD9-731E95206737}"/>
                </a:ext>
              </a:extLst>
            </p:cNvPr>
            <p:cNvSpPr>
              <a:spLocks noChangeArrowheads="1"/>
            </p:cNvSpPr>
            <p:nvPr/>
          </p:nvSpPr>
          <p:spPr bwMode="auto">
            <a:xfrm>
              <a:off x="3925" y="2837"/>
              <a:ext cx="155" cy="72"/>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375" name="Group 34">
            <a:extLst>
              <a:ext uri="{FF2B5EF4-FFF2-40B4-BE49-F238E27FC236}">
                <a16:creationId xmlns:a16="http://schemas.microsoft.com/office/drawing/2014/main" id="{AEF3770D-F7EF-4AE8-B742-8B912A29659A}"/>
              </a:ext>
            </a:extLst>
          </p:cNvPr>
          <p:cNvGrpSpPr>
            <a:grpSpLocks/>
          </p:cNvGrpSpPr>
          <p:nvPr/>
        </p:nvGrpSpPr>
        <p:grpSpPr bwMode="auto">
          <a:xfrm rot="306870">
            <a:off x="10021601" y="4926210"/>
            <a:ext cx="1216155" cy="572183"/>
            <a:chOff x="3557" y="2640"/>
            <a:chExt cx="940" cy="470"/>
          </a:xfrm>
        </p:grpSpPr>
        <p:sp>
          <p:nvSpPr>
            <p:cNvPr id="376" name="Freeform 23">
              <a:extLst>
                <a:ext uri="{FF2B5EF4-FFF2-40B4-BE49-F238E27FC236}">
                  <a16:creationId xmlns:a16="http://schemas.microsoft.com/office/drawing/2014/main" id="{AF56AEF5-C9B4-48E0-AFA0-2EB3D1EE6F6F}"/>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77" name="Oval 25">
              <a:extLst>
                <a:ext uri="{FF2B5EF4-FFF2-40B4-BE49-F238E27FC236}">
                  <a16:creationId xmlns:a16="http://schemas.microsoft.com/office/drawing/2014/main" id="{B3B46C56-F2BE-4F75-ABCB-8DC2D29551AA}"/>
                </a:ext>
              </a:extLst>
            </p:cNvPr>
            <p:cNvSpPr>
              <a:spLocks noChangeArrowheads="1"/>
            </p:cNvSpPr>
            <p:nvPr/>
          </p:nvSpPr>
          <p:spPr bwMode="auto">
            <a:xfrm>
              <a:off x="3942" y="2856"/>
              <a:ext cx="155" cy="72"/>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78" name="Oval 26">
              <a:extLst>
                <a:ext uri="{FF2B5EF4-FFF2-40B4-BE49-F238E27FC236}">
                  <a16:creationId xmlns:a16="http://schemas.microsoft.com/office/drawing/2014/main" id="{5C6F96FB-3C31-42FD-ABA6-04A9E5963ADE}"/>
                </a:ext>
              </a:extLst>
            </p:cNvPr>
            <p:cNvSpPr>
              <a:spLocks noChangeArrowheads="1"/>
            </p:cNvSpPr>
            <p:nvPr/>
          </p:nvSpPr>
          <p:spPr bwMode="auto">
            <a:xfrm>
              <a:off x="3925" y="2837"/>
              <a:ext cx="155" cy="72"/>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79" name="Freeform 27">
              <a:extLst>
                <a:ext uri="{FF2B5EF4-FFF2-40B4-BE49-F238E27FC236}">
                  <a16:creationId xmlns:a16="http://schemas.microsoft.com/office/drawing/2014/main" id="{2E51B508-B1DD-40B7-B741-9B97EA68A34D}"/>
                </a:ext>
              </a:extLst>
            </p:cNvPr>
            <p:cNvSpPr>
              <a:spLocks/>
            </p:cNvSpPr>
            <p:nvPr/>
          </p:nvSpPr>
          <p:spPr bwMode="auto">
            <a:xfrm>
              <a:off x="3952" y="2840"/>
              <a:ext cx="128" cy="69"/>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80" name="Freeform 28">
              <a:extLst>
                <a:ext uri="{FF2B5EF4-FFF2-40B4-BE49-F238E27FC236}">
                  <a16:creationId xmlns:a16="http://schemas.microsoft.com/office/drawing/2014/main" id="{C919F9B4-8D74-46DA-9610-F6ED965CE8F8}"/>
                </a:ext>
              </a:extLst>
            </p:cNvPr>
            <p:cNvSpPr>
              <a:spLocks/>
            </p:cNvSpPr>
            <p:nvPr/>
          </p:nvSpPr>
          <p:spPr bwMode="auto">
            <a:xfrm>
              <a:off x="3940" y="2843"/>
              <a:ext cx="115" cy="5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81" name="Freeform 30">
              <a:extLst>
                <a:ext uri="{FF2B5EF4-FFF2-40B4-BE49-F238E27FC236}">
                  <a16:creationId xmlns:a16="http://schemas.microsoft.com/office/drawing/2014/main" id="{31918038-D352-4D85-9492-020640DD1A5E}"/>
                </a:ext>
              </a:extLst>
            </p:cNvPr>
            <p:cNvSpPr>
              <a:spLocks/>
            </p:cNvSpPr>
            <p:nvPr/>
          </p:nvSpPr>
          <p:spPr bwMode="auto">
            <a:xfrm>
              <a:off x="3672" y="2659"/>
              <a:ext cx="523" cy="160"/>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82" name="Freeform 32">
              <a:extLst>
                <a:ext uri="{FF2B5EF4-FFF2-40B4-BE49-F238E27FC236}">
                  <a16:creationId xmlns:a16="http://schemas.microsoft.com/office/drawing/2014/main" id="{2F861154-5DF7-4B97-8C94-250F7AB39B02}"/>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83" name="Oval 33">
              <a:extLst>
                <a:ext uri="{FF2B5EF4-FFF2-40B4-BE49-F238E27FC236}">
                  <a16:creationId xmlns:a16="http://schemas.microsoft.com/office/drawing/2014/main" id="{393EB550-600D-42A5-B30B-9D3117048704}"/>
                </a:ext>
              </a:extLst>
            </p:cNvPr>
            <p:cNvSpPr>
              <a:spLocks noChangeArrowheads="1"/>
            </p:cNvSpPr>
            <p:nvPr/>
          </p:nvSpPr>
          <p:spPr bwMode="auto">
            <a:xfrm>
              <a:off x="3925" y="2837"/>
              <a:ext cx="155" cy="72"/>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sp>
        <p:nvSpPr>
          <p:cNvPr id="384" name="Freeform: Shape 383">
            <a:extLst>
              <a:ext uri="{FF2B5EF4-FFF2-40B4-BE49-F238E27FC236}">
                <a16:creationId xmlns:a16="http://schemas.microsoft.com/office/drawing/2014/main" id="{50617B81-3870-4F73-84E3-85B331D86205}"/>
              </a:ext>
            </a:extLst>
          </p:cNvPr>
          <p:cNvSpPr>
            <a:spLocks/>
          </p:cNvSpPr>
          <p:nvPr/>
        </p:nvSpPr>
        <p:spPr bwMode="auto">
          <a:xfrm rot="306870">
            <a:off x="11281552" y="5045295"/>
            <a:ext cx="574926" cy="504298"/>
          </a:xfrm>
          <a:custGeom>
            <a:avLst/>
            <a:gdLst>
              <a:gd name="connsiteX0" fmla="*/ 529790 w 574926"/>
              <a:gd name="connsiteY0" fmla="*/ 0 h 504298"/>
              <a:gd name="connsiteX1" fmla="*/ 574926 w 574926"/>
              <a:gd name="connsiteY1" fmla="*/ 504298 h 504298"/>
              <a:gd name="connsiteX2" fmla="*/ 569066 w 574926"/>
              <a:gd name="connsiteY2" fmla="*/ 502562 h 504298"/>
              <a:gd name="connsiteX3" fmla="*/ 336555 w 574926"/>
              <a:gd name="connsiteY3" fmla="*/ 415191 h 504298"/>
              <a:gd name="connsiteX4" fmla="*/ 0 w 574926"/>
              <a:gd name="connsiteY4" fmla="*/ 249388 h 504298"/>
              <a:gd name="connsiteX5" fmla="*/ 264177 w 574926"/>
              <a:gd name="connsiteY5" fmla="*/ 106342 h 504298"/>
              <a:gd name="connsiteX6" fmla="*/ 499403 w 574926"/>
              <a:gd name="connsiteY6" fmla="*/ 10843 h 50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4926" h="504298">
                <a:moveTo>
                  <a:pt x="529790" y="0"/>
                </a:moveTo>
                <a:lnTo>
                  <a:pt x="574926" y="504298"/>
                </a:lnTo>
                <a:lnTo>
                  <a:pt x="569066" y="502562"/>
                </a:lnTo>
                <a:cubicBezTo>
                  <a:pt x="513878" y="484275"/>
                  <a:pt x="437883" y="455829"/>
                  <a:pt x="336555" y="415191"/>
                </a:cubicBezTo>
                <a:cubicBezTo>
                  <a:pt x="141136" y="337165"/>
                  <a:pt x="0" y="285149"/>
                  <a:pt x="0" y="249388"/>
                </a:cubicBezTo>
                <a:cubicBezTo>
                  <a:pt x="0" y="210375"/>
                  <a:pt x="144755" y="151857"/>
                  <a:pt x="264177" y="106342"/>
                </a:cubicBezTo>
                <a:cubicBezTo>
                  <a:pt x="332935" y="78708"/>
                  <a:pt x="420692" y="41321"/>
                  <a:pt x="499403" y="10843"/>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85" name="Freeform: Shape 384">
            <a:extLst>
              <a:ext uri="{FF2B5EF4-FFF2-40B4-BE49-F238E27FC236}">
                <a16:creationId xmlns:a16="http://schemas.microsoft.com/office/drawing/2014/main" id="{0F38D3A8-19B9-4007-80EF-06E4FC5C7FE2}"/>
              </a:ext>
            </a:extLst>
          </p:cNvPr>
          <p:cNvSpPr>
            <a:spLocks/>
          </p:cNvSpPr>
          <p:nvPr/>
        </p:nvSpPr>
        <p:spPr bwMode="auto">
          <a:xfrm rot="306870">
            <a:off x="11281552" y="5045142"/>
            <a:ext cx="575452" cy="504631"/>
          </a:xfrm>
          <a:custGeom>
            <a:avLst/>
            <a:gdLst>
              <a:gd name="connsiteX0" fmla="*/ 530286 w 575452"/>
              <a:gd name="connsiteY0" fmla="*/ 0 h 504631"/>
              <a:gd name="connsiteX1" fmla="*/ 575452 w 575452"/>
              <a:gd name="connsiteY1" fmla="*/ 504631 h 504631"/>
              <a:gd name="connsiteX2" fmla="*/ 569066 w 575452"/>
              <a:gd name="connsiteY2" fmla="*/ 502739 h 504631"/>
              <a:gd name="connsiteX3" fmla="*/ 336555 w 575452"/>
              <a:gd name="connsiteY3" fmla="*/ 415368 h 504631"/>
              <a:gd name="connsiteX4" fmla="*/ 0 w 575452"/>
              <a:gd name="connsiteY4" fmla="*/ 249565 h 504631"/>
              <a:gd name="connsiteX5" fmla="*/ 264177 w 575452"/>
              <a:gd name="connsiteY5" fmla="*/ 106519 h 504631"/>
              <a:gd name="connsiteX6" fmla="*/ 499403 w 575452"/>
              <a:gd name="connsiteY6" fmla="*/ 11020 h 504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5452" h="504631">
                <a:moveTo>
                  <a:pt x="530286" y="0"/>
                </a:moveTo>
                <a:lnTo>
                  <a:pt x="575452" y="504631"/>
                </a:lnTo>
                <a:lnTo>
                  <a:pt x="569066" y="502739"/>
                </a:lnTo>
                <a:cubicBezTo>
                  <a:pt x="513878" y="484452"/>
                  <a:pt x="437883" y="456006"/>
                  <a:pt x="336555" y="415368"/>
                </a:cubicBezTo>
                <a:cubicBezTo>
                  <a:pt x="141136" y="337342"/>
                  <a:pt x="0" y="285326"/>
                  <a:pt x="0" y="249565"/>
                </a:cubicBezTo>
                <a:cubicBezTo>
                  <a:pt x="0" y="210552"/>
                  <a:pt x="144755" y="152034"/>
                  <a:pt x="264177" y="106519"/>
                </a:cubicBezTo>
                <a:cubicBezTo>
                  <a:pt x="332935" y="78885"/>
                  <a:pt x="420692" y="41498"/>
                  <a:pt x="499403" y="1102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grpSp>
        <p:nvGrpSpPr>
          <p:cNvPr id="386" name="Group 34">
            <a:extLst>
              <a:ext uri="{FF2B5EF4-FFF2-40B4-BE49-F238E27FC236}">
                <a16:creationId xmlns:a16="http://schemas.microsoft.com/office/drawing/2014/main" id="{89E9D88F-19ED-4084-904D-ECD8B56F474B}"/>
              </a:ext>
            </a:extLst>
          </p:cNvPr>
          <p:cNvGrpSpPr>
            <a:grpSpLocks/>
          </p:cNvGrpSpPr>
          <p:nvPr/>
        </p:nvGrpSpPr>
        <p:grpSpPr bwMode="auto">
          <a:xfrm rot="1101543">
            <a:off x="3088195" y="4340937"/>
            <a:ext cx="1216155" cy="572183"/>
            <a:chOff x="3557" y="2640"/>
            <a:chExt cx="940" cy="470"/>
          </a:xfrm>
        </p:grpSpPr>
        <p:sp>
          <p:nvSpPr>
            <p:cNvPr id="387" name="Freeform 23">
              <a:extLst>
                <a:ext uri="{FF2B5EF4-FFF2-40B4-BE49-F238E27FC236}">
                  <a16:creationId xmlns:a16="http://schemas.microsoft.com/office/drawing/2014/main" id="{66A8818B-3F6E-46A2-BA1E-A915D793B57D}"/>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88" name="Oval 25">
              <a:extLst>
                <a:ext uri="{FF2B5EF4-FFF2-40B4-BE49-F238E27FC236}">
                  <a16:creationId xmlns:a16="http://schemas.microsoft.com/office/drawing/2014/main" id="{327D184D-9800-4B56-973E-E5C9E22C579D}"/>
                </a:ext>
              </a:extLst>
            </p:cNvPr>
            <p:cNvSpPr>
              <a:spLocks noChangeArrowheads="1"/>
            </p:cNvSpPr>
            <p:nvPr/>
          </p:nvSpPr>
          <p:spPr bwMode="auto">
            <a:xfrm>
              <a:off x="3942" y="2856"/>
              <a:ext cx="155" cy="72"/>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89" name="Oval 26">
              <a:extLst>
                <a:ext uri="{FF2B5EF4-FFF2-40B4-BE49-F238E27FC236}">
                  <a16:creationId xmlns:a16="http://schemas.microsoft.com/office/drawing/2014/main" id="{0DD6B1C8-06C5-40C6-B532-4D9EFAC8EADC}"/>
                </a:ext>
              </a:extLst>
            </p:cNvPr>
            <p:cNvSpPr>
              <a:spLocks noChangeArrowheads="1"/>
            </p:cNvSpPr>
            <p:nvPr/>
          </p:nvSpPr>
          <p:spPr bwMode="auto">
            <a:xfrm>
              <a:off x="3925" y="2837"/>
              <a:ext cx="155" cy="72"/>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90" name="Freeform 27">
              <a:extLst>
                <a:ext uri="{FF2B5EF4-FFF2-40B4-BE49-F238E27FC236}">
                  <a16:creationId xmlns:a16="http://schemas.microsoft.com/office/drawing/2014/main" id="{16D9FC64-DB18-4168-8DD0-260953B40EBB}"/>
                </a:ext>
              </a:extLst>
            </p:cNvPr>
            <p:cNvSpPr>
              <a:spLocks/>
            </p:cNvSpPr>
            <p:nvPr/>
          </p:nvSpPr>
          <p:spPr bwMode="auto">
            <a:xfrm>
              <a:off x="3952" y="2840"/>
              <a:ext cx="128" cy="69"/>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91" name="Freeform 28">
              <a:extLst>
                <a:ext uri="{FF2B5EF4-FFF2-40B4-BE49-F238E27FC236}">
                  <a16:creationId xmlns:a16="http://schemas.microsoft.com/office/drawing/2014/main" id="{A845A338-4F34-49F4-A1F5-90389C8D96D6}"/>
                </a:ext>
              </a:extLst>
            </p:cNvPr>
            <p:cNvSpPr>
              <a:spLocks/>
            </p:cNvSpPr>
            <p:nvPr/>
          </p:nvSpPr>
          <p:spPr bwMode="auto">
            <a:xfrm>
              <a:off x="3940" y="2843"/>
              <a:ext cx="115" cy="5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92" name="Freeform 30">
              <a:extLst>
                <a:ext uri="{FF2B5EF4-FFF2-40B4-BE49-F238E27FC236}">
                  <a16:creationId xmlns:a16="http://schemas.microsoft.com/office/drawing/2014/main" id="{7604DD0A-1239-47E4-9C66-D9A2C54E38E4}"/>
                </a:ext>
              </a:extLst>
            </p:cNvPr>
            <p:cNvSpPr>
              <a:spLocks/>
            </p:cNvSpPr>
            <p:nvPr/>
          </p:nvSpPr>
          <p:spPr bwMode="auto">
            <a:xfrm>
              <a:off x="3672" y="2659"/>
              <a:ext cx="523" cy="160"/>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93" name="Freeform 32">
              <a:extLst>
                <a:ext uri="{FF2B5EF4-FFF2-40B4-BE49-F238E27FC236}">
                  <a16:creationId xmlns:a16="http://schemas.microsoft.com/office/drawing/2014/main" id="{A59F1E8C-45A3-4EA7-926A-C5C6306D01F2}"/>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94" name="Oval 33">
              <a:extLst>
                <a:ext uri="{FF2B5EF4-FFF2-40B4-BE49-F238E27FC236}">
                  <a16:creationId xmlns:a16="http://schemas.microsoft.com/office/drawing/2014/main" id="{833D121B-CC3A-4E83-AB10-8290A022B1B0}"/>
                </a:ext>
              </a:extLst>
            </p:cNvPr>
            <p:cNvSpPr>
              <a:spLocks noChangeArrowheads="1"/>
            </p:cNvSpPr>
            <p:nvPr/>
          </p:nvSpPr>
          <p:spPr bwMode="auto">
            <a:xfrm>
              <a:off x="3925" y="2837"/>
              <a:ext cx="155" cy="72"/>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395" name="Group 34">
            <a:extLst>
              <a:ext uri="{FF2B5EF4-FFF2-40B4-BE49-F238E27FC236}">
                <a16:creationId xmlns:a16="http://schemas.microsoft.com/office/drawing/2014/main" id="{659FC7D0-3B0B-49AB-A1B6-D65AFE9E7306}"/>
              </a:ext>
            </a:extLst>
          </p:cNvPr>
          <p:cNvGrpSpPr>
            <a:grpSpLocks/>
          </p:cNvGrpSpPr>
          <p:nvPr/>
        </p:nvGrpSpPr>
        <p:grpSpPr bwMode="auto">
          <a:xfrm rot="840103">
            <a:off x="4322297" y="4634041"/>
            <a:ext cx="1216155" cy="572183"/>
            <a:chOff x="3557" y="2640"/>
            <a:chExt cx="940" cy="470"/>
          </a:xfrm>
        </p:grpSpPr>
        <p:sp>
          <p:nvSpPr>
            <p:cNvPr id="396" name="Freeform 23">
              <a:extLst>
                <a:ext uri="{FF2B5EF4-FFF2-40B4-BE49-F238E27FC236}">
                  <a16:creationId xmlns:a16="http://schemas.microsoft.com/office/drawing/2014/main" id="{05FC3736-C416-4722-819A-B248D96AE764}"/>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97" name="Oval 25">
              <a:extLst>
                <a:ext uri="{FF2B5EF4-FFF2-40B4-BE49-F238E27FC236}">
                  <a16:creationId xmlns:a16="http://schemas.microsoft.com/office/drawing/2014/main" id="{ED406E6D-0E06-4FBF-A858-AEE2C1EA2EC2}"/>
                </a:ext>
              </a:extLst>
            </p:cNvPr>
            <p:cNvSpPr>
              <a:spLocks noChangeArrowheads="1"/>
            </p:cNvSpPr>
            <p:nvPr/>
          </p:nvSpPr>
          <p:spPr bwMode="auto">
            <a:xfrm>
              <a:off x="3942" y="2856"/>
              <a:ext cx="155" cy="72"/>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98" name="Oval 26">
              <a:extLst>
                <a:ext uri="{FF2B5EF4-FFF2-40B4-BE49-F238E27FC236}">
                  <a16:creationId xmlns:a16="http://schemas.microsoft.com/office/drawing/2014/main" id="{1FF5069D-6636-4A9F-A602-AAC31952DD2B}"/>
                </a:ext>
              </a:extLst>
            </p:cNvPr>
            <p:cNvSpPr>
              <a:spLocks noChangeArrowheads="1"/>
            </p:cNvSpPr>
            <p:nvPr/>
          </p:nvSpPr>
          <p:spPr bwMode="auto">
            <a:xfrm>
              <a:off x="3925" y="2837"/>
              <a:ext cx="155" cy="72"/>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99" name="Freeform 27">
              <a:extLst>
                <a:ext uri="{FF2B5EF4-FFF2-40B4-BE49-F238E27FC236}">
                  <a16:creationId xmlns:a16="http://schemas.microsoft.com/office/drawing/2014/main" id="{A1354092-C53B-4991-A19C-DEBA8095C3CD}"/>
                </a:ext>
              </a:extLst>
            </p:cNvPr>
            <p:cNvSpPr>
              <a:spLocks/>
            </p:cNvSpPr>
            <p:nvPr/>
          </p:nvSpPr>
          <p:spPr bwMode="auto">
            <a:xfrm>
              <a:off x="3952" y="2840"/>
              <a:ext cx="128" cy="69"/>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00" name="Freeform 28">
              <a:extLst>
                <a:ext uri="{FF2B5EF4-FFF2-40B4-BE49-F238E27FC236}">
                  <a16:creationId xmlns:a16="http://schemas.microsoft.com/office/drawing/2014/main" id="{358B3997-ECA3-48FF-8335-D8EA068EF030}"/>
                </a:ext>
              </a:extLst>
            </p:cNvPr>
            <p:cNvSpPr>
              <a:spLocks/>
            </p:cNvSpPr>
            <p:nvPr/>
          </p:nvSpPr>
          <p:spPr bwMode="auto">
            <a:xfrm>
              <a:off x="3940" y="2843"/>
              <a:ext cx="115" cy="5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01" name="Freeform 30">
              <a:extLst>
                <a:ext uri="{FF2B5EF4-FFF2-40B4-BE49-F238E27FC236}">
                  <a16:creationId xmlns:a16="http://schemas.microsoft.com/office/drawing/2014/main" id="{070C290A-A9FC-4190-8E68-BB18E65E8C2F}"/>
                </a:ext>
              </a:extLst>
            </p:cNvPr>
            <p:cNvSpPr>
              <a:spLocks/>
            </p:cNvSpPr>
            <p:nvPr/>
          </p:nvSpPr>
          <p:spPr bwMode="auto">
            <a:xfrm>
              <a:off x="3672" y="2659"/>
              <a:ext cx="523" cy="160"/>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02" name="Freeform 32">
              <a:extLst>
                <a:ext uri="{FF2B5EF4-FFF2-40B4-BE49-F238E27FC236}">
                  <a16:creationId xmlns:a16="http://schemas.microsoft.com/office/drawing/2014/main" id="{78FFDA32-DCEC-42A7-8EE8-CDC74F2B22C1}"/>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03" name="Oval 33">
              <a:extLst>
                <a:ext uri="{FF2B5EF4-FFF2-40B4-BE49-F238E27FC236}">
                  <a16:creationId xmlns:a16="http://schemas.microsoft.com/office/drawing/2014/main" id="{1C7F22F7-7DE9-45DD-AC5C-E913BE6161E8}"/>
                </a:ext>
              </a:extLst>
            </p:cNvPr>
            <p:cNvSpPr>
              <a:spLocks noChangeArrowheads="1"/>
            </p:cNvSpPr>
            <p:nvPr/>
          </p:nvSpPr>
          <p:spPr bwMode="auto">
            <a:xfrm>
              <a:off x="3925" y="2837"/>
              <a:ext cx="155" cy="72"/>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404" name="Group 34">
            <a:extLst>
              <a:ext uri="{FF2B5EF4-FFF2-40B4-BE49-F238E27FC236}">
                <a16:creationId xmlns:a16="http://schemas.microsoft.com/office/drawing/2014/main" id="{C7B89478-E809-4C0A-872A-427BCE660A13}"/>
              </a:ext>
            </a:extLst>
          </p:cNvPr>
          <p:cNvGrpSpPr>
            <a:grpSpLocks/>
          </p:cNvGrpSpPr>
          <p:nvPr/>
        </p:nvGrpSpPr>
        <p:grpSpPr bwMode="auto">
          <a:xfrm rot="562302">
            <a:off x="5571526" y="4853628"/>
            <a:ext cx="1216155" cy="572183"/>
            <a:chOff x="3557" y="2640"/>
            <a:chExt cx="940" cy="470"/>
          </a:xfrm>
        </p:grpSpPr>
        <p:sp>
          <p:nvSpPr>
            <p:cNvPr id="405" name="Freeform 23">
              <a:extLst>
                <a:ext uri="{FF2B5EF4-FFF2-40B4-BE49-F238E27FC236}">
                  <a16:creationId xmlns:a16="http://schemas.microsoft.com/office/drawing/2014/main" id="{C20BE87D-6DB6-4F5F-9B01-4E1815318E49}"/>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06" name="Oval 25">
              <a:extLst>
                <a:ext uri="{FF2B5EF4-FFF2-40B4-BE49-F238E27FC236}">
                  <a16:creationId xmlns:a16="http://schemas.microsoft.com/office/drawing/2014/main" id="{0F57BC5F-0A80-45E8-B64A-8A8C1A5C9807}"/>
                </a:ext>
              </a:extLst>
            </p:cNvPr>
            <p:cNvSpPr>
              <a:spLocks noChangeArrowheads="1"/>
            </p:cNvSpPr>
            <p:nvPr/>
          </p:nvSpPr>
          <p:spPr bwMode="auto">
            <a:xfrm>
              <a:off x="3942" y="2856"/>
              <a:ext cx="155" cy="72"/>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07" name="Oval 26">
              <a:extLst>
                <a:ext uri="{FF2B5EF4-FFF2-40B4-BE49-F238E27FC236}">
                  <a16:creationId xmlns:a16="http://schemas.microsoft.com/office/drawing/2014/main" id="{412773D8-D42A-4574-A2F5-82B884835972}"/>
                </a:ext>
              </a:extLst>
            </p:cNvPr>
            <p:cNvSpPr>
              <a:spLocks noChangeArrowheads="1"/>
            </p:cNvSpPr>
            <p:nvPr/>
          </p:nvSpPr>
          <p:spPr bwMode="auto">
            <a:xfrm>
              <a:off x="3925" y="2837"/>
              <a:ext cx="155" cy="72"/>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08" name="Freeform 27">
              <a:extLst>
                <a:ext uri="{FF2B5EF4-FFF2-40B4-BE49-F238E27FC236}">
                  <a16:creationId xmlns:a16="http://schemas.microsoft.com/office/drawing/2014/main" id="{E028484B-F5D7-4631-A7E1-E5E6B3BAE048}"/>
                </a:ext>
              </a:extLst>
            </p:cNvPr>
            <p:cNvSpPr>
              <a:spLocks/>
            </p:cNvSpPr>
            <p:nvPr/>
          </p:nvSpPr>
          <p:spPr bwMode="auto">
            <a:xfrm>
              <a:off x="3952" y="2840"/>
              <a:ext cx="128" cy="69"/>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09" name="Freeform 28">
              <a:extLst>
                <a:ext uri="{FF2B5EF4-FFF2-40B4-BE49-F238E27FC236}">
                  <a16:creationId xmlns:a16="http://schemas.microsoft.com/office/drawing/2014/main" id="{D81A0F5D-E256-43A2-9853-182436A34E29}"/>
                </a:ext>
              </a:extLst>
            </p:cNvPr>
            <p:cNvSpPr>
              <a:spLocks/>
            </p:cNvSpPr>
            <p:nvPr/>
          </p:nvSpPr>
          <p:spPr bwMode="auto">
            <a:xfrm>
              <a:off x="3940" y="2843"/>
              <a:ext cx="115" cy="5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10" name="Freeform 30">
              <a:extLst>
                <a:ext uri="{FF2B5EF4-FFF2-40B4-BE49-F238E27FC236}">
                  <a16:creationId xmlns:a16="http://schemas.microsoft.com/office/drawing/2014/main" id="{3C31E1BF-9343-46DC-AC41-F1A77A252170}"/>
                </a:ext>
              </a:extLst>
            </p:cNvPr>
            <p:cNvSpPr>
              <a:spLocks/>
            </p:cNvSpPr>
            <p:nvPr/>
          </p:nvSpPr>
          <p:spPr bwMode="auto">
            <a:xfrm>
              <a:off x="3672" y="2659"/>
              <a:ext cx="523" cy="160"/>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11" name="Freeform 32">
              <a:extLst>
                <a:ext uri="{FF2B5EF4-FFF2-40B4-BE49-F238E27FC236}">
                  <a16:creationId xmlns:a16="http://schemas.microsoft.com/office/drawing/2014/main" id="{1531D6DD-DF13-4510-8334-CA9109C72510}"/>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12" name="Oval 33">
              <a:extLst>
                <a:ext uri="{FF2B5EF4-FFF2-40B4-BE49-F238E27FC236}">
                  <a16:creationId xmlns:a16="http://schemas.microsoft.com/office/drawing/2014/main" id="{9FC301E4-30F0-403E-A254-747CB79F60AD}"/>
                </a:ext>
              </a:extLst>
            </p:cNvPr>
            <p:cNvSpPr>
              <a:spLocks noChangeArrowheads="1"/>
            </p:cNvSpPr>
            <p:nvPr/>
          </p:nvSpPr>
          <p:spPr bwMode="auto">
            <a:xfrm>
              <a:off x="3925" y="2837"/>
              <a:ext cx="155" cy="72"/>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413" name="Group 34">
            <a:extLst>
              <a:ext uri="{FF2B5EF4-FFF2-40B4-BE49-F238E27FC236}">
                <a16:creationId xmlns:a16="http://schemas.microsoft.com/office/drawing/2014/main" id="{8F75473C-28C1-40D7-B06D-97AA2B5CF83E}"/>
              </a:ext>
            </a:extLst>
          </p:cNvPr>
          <p:cNvGrpSpPr>
            <a:grpSpLocks/>
          </p:cNvGrpSpPr>
          <p:nvPr/>
        </p:nvGrpSpPr>
        <p:grpSpPr bwMode="auto">
          <a:xfrm rot="317393">
            <a:off x="6843120" y="5028649"/>
            <a:ext cx="1216155" cy="572183"/>
            <a:chOff x="3557" y="2640"/>
            <a:chExt cx="940" cy="470"/>
          </a:xfrm>
        </p:grpSpPr>
        <p:sp>
          <p:nvSpPr>
            <p:cNvPr id="414" name="Freeform 23">
              <a:extLst>
                <a:ext uri="{FF2B5EF4-FFF2-40B4-BE49-F238E27FC236}">
                  <a16:creationId xmlns:a16="http://schemas.microsoft.com/office/drawing/2014/main" id="{63522497-2582-4351-982C-7652B213E1D0}"/>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15" name="Oval 25">
              <a:extLst>
                <a:ext uri="{FF2B5EF4-FFF2-40B4-BE49-F238E27FC236}">
                  <a16:creationId xmlns:a16="http://schemas.microsoft.com/office/drawing/2014/main" id="{3F1C8FBF-0345-4E23-8D6B-AC8DFCC86B29}"/>
                </a:ext>
              </a:extLst>
            </p:cNvPr>
            <p:cNvSpPr>
              <a:spLocks noChangeArrowheads="1"/>
            </p:cNvSpPr>
            <p:nvPr/>
          </p:nvSpPr>
          <p:spPr bwMode="auto">
            <a:xfrm>
              <a:off x="3942" y="2856"/>
              <a:ext cx="155" cy="72"/>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16" name="Oval 26">
              <a:extLst>
                <a:ext uri="{FF2B5EF4-FFF2-40B4-BE49-F238E27FC236}">
                  <a16:creationId xmlns:a16="http://schemas.microsoft.com/office/drawing/2014/main" id="{8DB04F82-4723-4A81-A67D-D1D7ECDEC907}"/>
                </a:ext>
              </a:extLst>
            </p:cNvPr>
            <p:cNvSpPr>
              <a:spLocks noChangeArrowheads="1"/>
            </p:cNvSpPr>
            <p:nvPr/>
          </p:nvSpPr>
          <p:spPr bwMode="auto">
            <a:xfrm>
              <a:off x="3925" y="2837"/>
              <a:ext cx="155" cy="72"/>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17" name="Freeform 27">
              <a:extLst>
                <a:ext uri="{FF2B5EF4-FFF2-40B4-BE49-F238E27FC236}">
                  <a16:creationId xmlns:a16="http://schemas.microsoft.com/office/drawing/2014/main" id="{B418F54A-6007-4C4E-90BE-77D38E996F5C}"/>
                </a:ext>
              </a:extLst>
            </p:cNvPr>
            <p:cNvSpPr>
              <a:spLocks/>
            </p:cNvSpPr>
            <p:nvPr/>
          </p:nvSpPr>
          <p:spPr bwMode="auto">
            <a:xfrm>
              <a:off x="3952" y="2840"/>
              <a:ext cx="128" cy="69"/>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18" name="Freeform 28">
              <a:extLst>
                <a:ext uri="{FF2B5EF4-FFF2-40B4-BE49-F238E27FC236}">
                  <a16:creationId xmlns:a16="http://schemas.microsoft.com/office/drawing/2014/main" id="{DDAB1EDF-AC5C-449A-A974-B35885944F1F}"/>
                </a:ext>
              </a:extLst>
            </p:cNvPr>
            <p:cNvSpPr>
              <a:spLocks/>
            </p:cNvSpPr>
            <p:nvPr/>
          </p:nvSpPr>
          <p:spPr bwMode="auto">
            <a:xfrm>
              <a:off x="3940" y="2843"/>
              <a:ext cx="115" cy="5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19" name="Freeform 30">
              <a:extLst>
                <a:ext uri="{FF2B5EF4-FFF2-40B4-BE49-F238E27FC236}">
                  <a16:creationId xmlns:a16="http://schemas.microsoft.com/office/drawing/2014/main" id="{ECFC8BB6-8E2A-4FC3-A498-67394431161B}"/>
                </a:ext>
              </a:extLst>
            </p:cNvPr>
            <p:cNvSpPr>
              <a:spLocks/>
            </p:cNvSpPr>
            <p:nvPr/>
          </p:nvSpPr>
          <p:spPr bwMode="auto">
            <a:xfrm>
              <a:off x="3672" y="2659"/>
              <a:ext cx="523" cy="160"/>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20" name="Freeform 32">
              <a:extLst>
                <a:ext uri="{FF2B5EF4-FFF2-40B4-BE49-F238E27FC236}">
                  <a16:creationId xmlns:a16="http://schemas.microsoft.com/office/drawing/2014/main" id="{AB4D5F06-8183-4A13-8ADB-E9EF10282681}"/>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21" name="Oval 33">
              <a:extLst>
                <a:ext uri="{FF2B5EF4-FFF2-40B4-BE49-F238E27FC236}">
                  <a16:creationId xmlns:a16="http://schemas.microsoft.com/office/drawing/2014/main" id="{000436D9-5F53-4410-91D4-5EC5BA987092}"/>
                </a:ext>
              </a:extLst>
            </p:cNvPr>
            <p:cNvSpPr>
              <a:spLocks noChangeArrowheads="1"/>
            </p:cNvSpPr>
            <p:nvPr/>
          </p:nvSpPr>
          <p:spPr bwMode="auto">
            <a:xfrm>
              <a:off x="3925" y="2837"/>
              <a:ext cx="155" cy="72"/>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422" name="Group 421">
            <a:extLst>
              <a:ext uri="{FF2B5EF4-FFF2-40B4-BE49-F238E27FC236}">
                <a16:creationId xmlns:a16="http://schemas.microsoft.com/office/drawing/2014/main" id="{E523A79F-380F-4652-9A9C-81159B3F9B56}"/>
              </a:ext>
            </a:extLst>
          </p:cNvPr>
          <p:cNvGrpSpPr/>
          <p:nvPr/>
        </p:nvGrpSpPr>
        <p:grpSpPr>
          <a:xfrm>
            <a:off x="8093337" y="5156622"/>
            <a:ext cx="1216176" cy="492910"/>
            <a:chOff x="8093337" y="5597231"/>
            <a:chExt cx="1216176" cy="492910"/>
          </a:xfrm>
        </p:grpSpPr>
        <p:sp>
          <p:nvSpPr>
            <p:cNvPr id="423" name="Freeform: Shape 422">
              <a:extLst>
                <a:ext uri="{FF2B5EF4-FFF2-40B4-BE49-F238E27FC236}">
                  <a16:creationId xmlns:a16="http://schemas.microsoft.com/office/drawing/2014/main" id="{431ED58E-85C7-4E3F-B2EF-6D09368238E2}"/>
                </a:ext>
              </a:extLst>
            </p:cNvPr>
            <p:cNvSpPr>
              <a:spLocks/>
            </p:cNvSpPr>
            <p:nvPr/>
          </p:nvSpPr>
          <p:spPr bwMode="auto">
            <a:xfrm rot="224093">
              <a:off x="8093358" y="5597232"/>
              <a:ext cx="1216155" cy="492273"/>
            </a:xfrm>
            <a:custGeom>
              <a:avLst/>
              <a:gdLst>
                <a:gd name="connsiteX0" fmla="*/ 608077 w 1216155"/>
                <a:gd name="connsiteY0" fmla="*/ 0 h 492273"/>
                <a:gd name="connsiteX1" fmla="*/ 905647 w 1216155"/>
                <a:gd name="connsiteY1" fmla="*/ 113786 h 492273"/>
                <a:gd name="connsiteX2" fmla="*/ 1216155 w 1216155"/>
                <a:gd name="connsiteY2" fmla="*/ 286091 h 492273"/>
                <a:gd name="connsiteX3" fmla="*/ 931523 w 1216155"/>
                <a:gd name="connsiteY3" fmla="*/ 445393 h 492273"/>
                <a:gd name="connsiteX4" fmla="*/ 902554 w 1216155"/>
                <a:gd name="connsiteY4" fmla="*/ 458062 h 492273"/>
                <a:gd name="connsiteX5" fmla="*/ 378471 w 1216155"/>
                <a:gd name="connsiteY5" fmla="*/ 492273 h 492273"/>
                <a:gd name="connsiteX6" fmla="*/ 300804 w 1216155"/>
                <a:gd name="connsiteY6" fmla="*/ 458397 h 492273"/>
                <a:gd name="connsiteX7" fmla="*/ 0 w 1216155"/>
                <a:gd name="connsiteY7" fmla="*/ 292593 h 492273"/>
                <a:gd name="connsiteX8" fmla="*/ 236115 w 1216155"/>
                <a:gd name="connsiteY8" fmla="*/ 149548 h 492273"/>
                <a:gd name="connsiteX9" fmla="*/ 608077 w 1216155"/>
                <a:gd name="connsiteY9" fmla="*/ 0 h 492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6155" h="492273">
                  <a:moveTo>
                    <a:pt x="608077" y="0"/>
                  </a:moveTo>
                  <a:cubicBezTo>
                    <a:pt x="682470" y="0"/>
                    <a:pt x="818318" y="71523"/>
                    <a:pt x="905647" y="113786"/>
                  </a:cubicBezTo>
                  <a:cubicBezTo>
                    <a:pt x="992978" y="156050"/>
                    <a:pt x="1216155" y="250330"/>
                    <a:pt x="1216155" y="286091"/>
                  </a:cubicBezTo>
                  <a:cubicBezTo>
                    <a:pt x="1216155" y="325104"/>
                    <a:pt x="1025322" y="403129"/>
                    <a:pt x="931523" y="445393"/>
                  </a:cubicBezTo>
                  <a:lnTo>
                    <a:pt x="902554" y="458062"/>
                  </a:lnTo>
                  <a:lnTo>
                    <a:pt x="378471" y="492273"/>
                  </a:lnTo>
                  <a:lnTo>
                    <a:pt x="300804" y="458397"/>
                  </a:lnTo>
                  <a:cubicBezTo>
                    <a:pt x="126144" y="380372"/>
                    <a:pt x="0" y="328355"/>
                    <a:pt x="0" y="292593"/>
                  </a:cubicBezTo>
                  <a:cubicBezTo>
                    <a:pt x="0" y="253581"/>
                    <a:pt x="129378" y="195063"/>
                    <a:pt x="236115" y="149548"/>
                  </a:cubicBezTo>
                  <a:cubicBezTo>
                    <a:pt x="359024" y="94280"/>
                    <a:pt x="549857" y="0"/>
                    <a:pt x="608077"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24" name="Oval 25">
              <a:extLst>
                <a:ext uri="{FF2B5EF4-FFF2-40B4-BE49-F238E27FC236}">
                  <a16:creationId xmlns:a16="http://schemas.microsoft.com/office/drawing/2014/main" id="{2DC6E357-AB00-4DC4-8C6E-202CE4C6EC2A}"/>
                </a:ext>
              </a:extLst>
            </p:cNvPr>
            <p:cNvSpPr>
              <a:spLocks noChangeArrowheads="1"/>
            </p:cNvSpPr>
            <p:nvPr/>
          </p:nvSpPr>
          <p:spPr bwMode="auto">
            <a:xfrm rot="224093">
              <a:off x="8587534" y="5859432"/>
              <a:ext cx="200536" cy="87654"/>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25" name="Oval 26">
              <a:extLst>
                <a:ext uri="{FF2B5EF4-FFF2-40B4-BE49-F238E27FC236}">
                  <a16:creationId xmlns:a16="http://schemas.microsoft.com/office/drawing/2014/main" id="{61A30E24-BC1A-4CA9-B8DF-423D552096B4}"/>
                </a:ext>
              </a:extLst>
            </p:cNvPr>
            <p:cNvSpPr>
              <a:spLocks noChangeArrowheads="1"/>
            </p:cNvSpPr>
            <p:nvPr/>
          </p:nvSpPr>
          <p:spPr bwMode="auto">
            <a:xfrm rot="224093">
              <a:off x="8567093" y="5834917"/>
              <a:ext cx="200536" cy="87654"/>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26" name="Freeform 27">
              <a:extLst>
                <a:ext uri="{FF2B5EF4-FFF2-40B4-BE49-F238E27FC236}">
                  <a16:creationId xmlns:a16="http://schemas.microsoft.com/office/drawing/2014/main" id="{72CA7808-B035-4F3E-8CB2-148419A733AF}"/>
                </a:ext>
              </a:extLst>
            </p:cNvPr>
            <p:cNvSpPr>
              <a:spLocks/>
            </p:cNvSpPr>
            <p:nvPr/>
          </p:nvSpPr>
          <p:spPr bwMode="auto">
            <a:xfrm rot="224093">
              <a:off x="8601869" y="5839703"/>
              <a:ext cx="165604" cy="84001"/>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27" name="Freeform 28">
              <a:extLst>
                <a:ext uri="{FF2B5EF4-FFF2-40B4-BE49-F238E27FC236}">
                  <a16:creationId xmlns:a16="http://schemas.microsoft.com/office/drawing/2014/main" id="{401754F7-5BDB-4B47-B1F5-EDCAED7FBC11}"/>
                </a:ext>
              </a:extLst>
            </p:cNvPr>
            <p:cNvSpPr>
              <a:spLocks/>
            </p:cNvSpPr>
            <p:nvPr/>
          </p:nvSpPr>
          <p:spPr bwMode="auto">
            <a:xfrm rot="224093">
              <a:off x="8586791" y="5841809"/>
              <a:ext cx="148785" cy="6452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28" name="Freeform 30">
              <a:extLst>
                <a:ext uri="{FF2B5EF4-FFF2-40B4-BE49-F238E27FC236}">
                  <a16:creationId xmlns:a16="http://schemas.microsoft.com/office/drawing/2014/main" id="{9A872C42-EE1C-48F8-BA7C-ACFBD15717F0}"/>
                </a:ext>
              </a:extLst>
            </p:cNvPr>
            <p:cNvSpPr>
              <a:spLocks/>
            </p:cNvSpPr>
            <p:nvPr/>
          </p:nvSpPr>
          <p:spPr bwMode="auto">
            <a:xfrm rot="224093">
              <a:off x="8250582" y="5612750"/>
              <a:ext cx="676648" cy="194786"/>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29" name="Freeform: Shape 428">
              <a:extLst>
                <a:ext uri="{FF2B5EF4-FFF2-40B4-BE49-F238E27FC236}">
                  <a16:creationId xmlns:a16="http://schemas.microsoft.com/office/drawing/2014/main" id="{8D94EFD7-B74C-4ECB-899F-CBA67EBDE1F3}"/>
                </a:ext>
              </a:extLst>
            </p:cNvPr>
            <p:cNvSpPr>
              <a:spLocks/>
            </p:cNvSpPr>
            <p:nvPr/>
          </p:nvSpPr>
          <p:spPr bwMode="auto">
            <a:xfrm rot="224093">
              <a:off x="8093337" y="5597231"/>
              <a:ext cx="1216155" cy="492910"/>
            </a:xfrm>
            <a:custGeom>
              <a:avLst/>
              <a:gdLst>
                <a:gd name="connsiteX0" fmla="*/ 608077 w 1216155"/>
                <a:gd name="connsiteY0" fmla="*/ 0 h 492910"/>
                <a:gd name="connsiteX1" fmla="*/ 905647 w 1216155"/>
                <a:gd name="connsiteY1" fmla="*/ 113786 h 492910"/>
                <a:gd name="connsiteX2" fmla="*/ 1216155 w 1216155"/>
                <a:gd name="connsiteY2" fmla="*/ 286091 h 492910"/>
                <a:gd name="connsiteX3" fmla="*/ 931523 w 1216155"/>
                <a:gd name="connsiteY3" fmla="*/ 445393 h 492910"/>
                <a:gd name="connsiteX4" fmla="*/ 900587 w 1216155"/>
                <a:gd name="connsiteY4" fmla="*/ 458922 h 492910"/>
                <a:gd name="connsiteX5" fmla="*/ 379931 w 1216155"/>
                <a:gd name="connsiteY5" fmla="*/ 492910 h 492910"/>
                <a:gd name="connsiteX6" fmla="*/ 300804 w 1216155"/>
                <a:gd name="connsiteY6" fmla="*/ 458397 h 492910"/>
                <a:gd name="connsiteX7" fmla="*/ 0 w 1216155"/>
                <a:gd name="connsiteY7" fmla="*/ 292593 h 492910"/>
                <a:gd name="connsiteX8" fmla="*/ 236115 w 1216155"/>
                <a:gd name="connsiteY8" fmla="*/ 149548 h 492910"/>
                <a:gd name="connsiteX9" fmla="*/ 608077 w 1216155"/>
                <a:gd name="connsiteY9" fmla="*/ 0 h 492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6155" h="492910">
                  <a:moveTo>
                    <a:pt x="608077" y="0"/>
                  </a:moveTo>
                  <a:cubicBezTo>
                    <a:pt x="682470" y="0"/>
                    <a:pt x="818318" y="71523"/>
                    <a:pt x="905647" y="113786"/>
                  </a:cubicBezTo>
                  <a:cubicBezTo>
                    <a:pt x="992978" y="156050"/>
                    <a:pt x="1216155" y="250330"/>
                    <a:pt x="1216155" y="286091"/>
                  </a:cubicBezTo>
                  <a:cubicBezTo>
                    <a:pt x="1216155" y="325104"/>
                    <a:pt x="1025322" y="403129"/>
                    <a:pt x="931523" y="445393"/>
                  </a:cubicBezTo>
                  <a:lnTo>
                    <a:pt x="900587" y="458922"/>
                  </a:lnTo>
                  <a:lnTo>
                    <a:pt x="379931" y="492910"/>
                  </a:lnTo>
                  <a:lnTo>
                    <a:pt x="300804" y="458397"/>
                  </a:lnTo>
                  <a:cubicBezTo>
                    <a:pt x="126144" y="380372"/>
                    <a:pt x="0" y="328355"/>
                    <a:pt x="0" y="292593"/>
                  </a:cubicBezTo>
                  <a:cubicBezTo>
                    <a:pt x="0" y="253581"/>
                    <a:pt x="129378" y="195063"/>
                    <a:pt x="236115" y="149548"/>
                  </a:cubicBezTo>
                  <a:cubicBezTo>
                    <a:pt x="359024" y="94280"/>
                    <a:pt x="549857" y="0"/>
                    <a:pt x="608077"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30" name="Oval 33">
              <a:extLst>
                <a:ext uri="{FF2B5EF4-FFF2-40B4-BE49-F238E27FC236}">
                  <a16:creationId xmlns:a16="http://schemas.microsoft.com/office/drawing/2014/main" id="{69C63969-9E70-4E3A-8F8C-7C693253EFF6}"/>
                </a:ext>
              </a:extLst>
            </p:cNvPr>
            <p:cNvSpPr>
              <a:spLocks noChangeArrowheads="1"/>
            </p:cNvSpPr>
            <p:nvPr/>
          </p:nvSpPr>
          <p:spPr bwMode="auto">
            <a:xfrm rot="224093">
              <a:off x="8567093" y="5834917"/>
              <a:ext cx="200536" cy="87654"/>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431" name="Group 430">
            <a:extLst>
              <a:ext uri="{FF2B5EF4-FFF2-40B4-BE49-F238E27FC236}">
                <a16:creationId xmlns:a16="http://schemas.microsoft.com/office/drawing/2014/main" id="{78B67C68-189C-4486-9EEB-8732948BCE32}"/>
              </a:ext>
            </a:extLst>
          </p:cNvPr>
          <p:cNvGrpSpPr/>
          <p:nvPr/>
        </p:nvGrpSpPr>
        <p:grpSpPr>
          <a:xfrm>
            <a:off x="9344494" y="5245951"/>
            <a:ext cx="1216164" cy="415928"/>
            <a:chOff x="9344494" y="5686560"/>
            <a:chExt cx="1216164" cy="415928"/>
          </a:xfrm>
        </p:grpSpPr>
        <p:sp>
          <p:nvSpPr>
            <p:cNvPr id="432" name="Freeform: Shape 431">
              <a:extLst>
                <a:ext uri="{FF2B5EF4-FFF2-40B4-BE49-F238E27FC236}">
                  <a16:creationId xmlns:a16="http://schemas.microsoft.com/office/drawing/2014/main" id="{64456839-386E-4CFA-BA5A-E6D3A5DBA1A5}"/>
                </a:ext>
              </a:extLst>
            </p:cNvPr>
            <p:cNvSpPr>
              <a:spLocks/>
            </p:cNvSpPr>
            <p:nvPr/>
          </p:nvSpPr>
          <p:spPr bwMode="auto">
            <a:xfrm rot="261105">
              <a:off x="9344503" y="5686561"/>
              <a:ext cx="1216155" cy="415699"/>
            </a:xfrm>
            <a:custGeom>
              <a:avLst/>
              <a:gdLst>
                <a:gd name="connsiteX0" fmla="*/ 608078 w 1216155"/>
                <a:gd name="connsiteY0" fmla="*/ 0 h 415699"/>
                <a:gd name="connsiteX1" fmla="*/ 905647 w 1216155"/>
                <a:gd name="connsiteY1" fmla="*/ 113786 h 415699"/>
                <a:gd name="connsiteX2" fmla="*/ 1216155 w 1216155"/>
                <a:gd name="connsiteY2" fmla="*/ 286091 h 415699"/>
                <a:gd name="connsiteX3" fmla="*/ 1184872 w 1216155"/>
                <a:gd name="connsiteY3" fmla="*/ 321497 h 415699"/>
                <a:gd name="connsiteX4" fmla="*/ 1144888 w 1216155"/>
                <a:gd name="connsiteY4" fmla="*/ 344176 h 415699"/>
                <a:gd name="connsiteX5" fmla="*/ 205014 w 1216155"/>
                <a:gd name="connsiteY5" fmla="*/ 415699 h 415699"/>
                <a:gd name="connsiteX6" fmla="*/ 180119 w 1216155"/>
                <a:gd name="connsiteY6" fmla="*/ 404602 h 415699"/>
                <a:gd name="connsiteX7" fmla="*/ 0 w 1216155"/>
                <a:gd name="connsiteY7" fmla="*/ 292594 h 415699"/>
                <a:gd name="connsiteX8" fmla="*/ 236115 w 1216155"/>
                <a:gd name="connsiteY8" fmla="*/ 149548 h 415699"/>
                <a:gd name="connsiteX9" fmla="*/ 608078 w 1216155"/>
                <a:gd name="connsiteY9" fmla="*/ 0 h 41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6155" h="415699">
                  <a:moveTo>
                    <a:pt x="608078" y="0"/>
                  </a:moveTo>
                  <a:cubicBezTo>
                    <a:pt x="682470" y="0"/>
                    <a:pt x="818317" y="71523"/>
                    <a:pt x="905647" y="113786"/>
                  </a:cubicBezTo>
                  <a:cubicBezTo>
                    <a:pt x="992977" y="156050"/>
                    <a:pt x="1216155" y="250330"/>
                    <a:pt x="1216155" y="286091"/>
                  </a:cubicBezTo>
                  <a:cubicBezTo>
                    <a:pt x="1216155" y="295845"/>
                    <a:pt x="1204228" y="308036"/>
                    <a:pt x="1184872" y="321497"/>
                  </a:cubicBezTo>
                  <a:lnTo>
                    <a:pt x="1144888" y="344176"/>
                  </a:lnTo>
                  <a:lnTo>
                    <a:pt x="205014" y="415699"/>
                  </a:lnTo>
                  <a:lnTo>
                    <a:pt x="180119" y="404602"/>
                  </a:lnTo>
                  <a:cubicBezTo>
                    <a:pt x="70956" y="355379"/>
                    <a:pt x="0" y="319415"/>
                    <a:pt x="0" y="292594"/>
                  </a:cubicBezTo>
                  <a:cubicBezTo>
                    <a:pt x="0" y="253581"/>
                    <a:pt x="129379" y="195062"/>
                    <a:pt x="236115" y="149548"/>
                  </a:cubicBezTo>
                  <a:cubicBezTo>
                    <a:pt x="359024" y="94280"/>
                    <a:pt x="549858" y="0"/>
                    <a:pt x="60807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33" name="Oval 25">
              <a:extLst>
                <a:ext uri="{FF2B5EF4-FFF2-40B4-BE49-F238E27FC236}">
                  <a16:creationId xmlns:a16="http://schemas.microsoft.com/office/drawing/2014/main" id="{6A0CAC1B-3669-47B6-86BD-CA61A1F5907A}"/>
                </a:ext>
              </a:extLst>
            </p:cNvPr>
            <p:cNvSpPr>
              <a:spLocks noChangeArrowheads="1"/>
            </p:cNvSpPr>
            <p:nvPr/>
          </p:nvSpPr>
          <p:spPr bwMode="auto">
            <a:xfrm rot="261105">
              <a:off x="9835130" y="5948500"/>
              <a:ext cx="200536" cy="87654"/>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34" name="Oval 26">
              <a:extLst>
                <a:ext uri="{FF2B5EF4-FFF2-40B4-BE49-F238E27FC236}">
                  <a16:creationId xmlns:a16="http://schemas.microsoft.com/office/drawing/2014/main" id="{78F69E48-E459-493F-BE1D-94550325B415}"/>
                </a:ext>
              </a:extLst>
            </p:cNvPr>
            <p:cNvSpPr>
              <a:spLocks noChangeArrowheads="1"/>
            </p:cNvSpPr>
            <p:nvPr/>
          </p:nvSpPr>
          <p:spPr bwMode="auto">
            <a:xfrm rot="261105">
              <a:off x="9814954" y="5923767"/>
              <a:ext cx="200536" cy="87654"/>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35" name="Freeform 27">
              <a:extLst>
                <a:ext uri="{FF2B5EF4-FFF2-40B4-BE49-F238E27FC236}">
                  <a16:creationId xmlns:a16="http://schemas.microsoft.com/office/drawing/2014/main" id="{BF61EFB3-A480-433F-915C-5B1D3F7BE88B}"/>
                </a:ext>
              </a:extLst>
            </p:cNvPr>
            <p:cNvSpPr>
              <a:spLocks/>
            </p:cNvSpPr>
            <p:nvPr/>
          </p:nvSpPr>
          <p:spPr bwMode="auto">
            <a:xfrm rot="261105">
              <a:off x="9849697" y="5928739"/>
              <a:ext cx="165604" cy="84001"/>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36" name="Freeform 28">
              <a:extLst>
                <a:ext uri="{FF2B5EF4-FFF2-40B4-BE49-F238E27FC236}">
                  <a16:creationId xmlns:a16="http://schemas.microsoft.com/office/drawing/2014/main" id="{7708D434-3CDD-4BC3-BB28-4C9CC57213DB}"/>
                </a:ext>
              </a:extLst>
            </p:cNvPr>
            <p:cNvSpPr>
              <a:spLocks/>
            </p:cNvSpPr>
            <p:nvPr/>
          </p:nvSpPr>
          <p:spPr bwMode="auto">
            <a:xfrm rot="261105">
              <a:off x="9834703" y="5930593"/>
              <a:ext cx="148785" cy="6452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37" name="Freeform 30">
              <a:extLst>
                <a:ext uri="{FF2B5EF4-FFF2-40B4-BE49-F238E27FC236}">
                  <a16:creationId xmlns:a16="http://schemas.microsoft.com/office/drawing/2014/main" id="{27730DB4-60B9-4623-B3EC-F0BB5A0DABBD}"/>
                </a:ext>
              </a:extLst>
            </p:cNvPr>
            <p:cNvSpPr>
              <a:spLocks/>
            </p:cNvSpPr>
            <p:nvPr/>
          </p:nvSpPr>
          <p:spPr bwMode="auto">
            <a:xfrm rot="261105">
              <a:off x="9500263" y="5700764"/>
              <a:ext cx="676648" cy="194786"/>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38" name="Freeform: Shape 437">
              <a:extLst>
                <a:ext uri="{FF2B5EF4-FFF2-40B4-BE49-F238E27FC236}">
                  <a16:creationId xmlns:a16="http://schemas.microsoft.com/office/drawing/2014/main" id="{7A521A61-2F20-4803-94D6-0B6F1BF19609}"/>
                </a:ext>
              </a:extLst>
            </p:cNvPr>
            <p:cNvSpPr>
              <a:spLocks/>
            </p:cNvSpPr>
            <p:nvPr/>
          </p:nvSpPr>
          <p:spPr bwMode="auto">
            <a:xfrm rot="261105">
              <a:off x="9344494" y="5686560"/>
              <a:ext cx="1216155" cy="415928"/>
            </a:xfrm>
            <a:custGeom>
              <a:avLst/>
              <a:gdLst>
                <a:gd name="connsiteX0" fmla="*/ 608078 w 1216155"/>
                <a:gd name="connsiteY0" fmla="*/ 0 h 415928"/>
                <a:gd name="connsiteX1" fmla="*/ 905647 w 1216155"/>
                <a:gd name="connsiteY1" fmla="*/ 113786 h 415928"/>
                <a:gd name="connsiteX2" fmla="*/ 1216155 w 1216155"/>
                <a:gd name="connsiteY2" fmla="*/ 286091 h 415928"/>
                <a:gd name="connsiteX3" fmla="*/ 1184872 w 1216155"/>
                <a:gd name="connsiteY3" fmla="*/ 321497 h 415928"/>
                <a:gd name="connsiteX4" fmla="*/ 1144343 w 1216155"/>
                <a:gd name="connsiteY4" fmla="*/ 344485 h 415928"/>
                <a:gd name="connsiteX5" fmla="*/ 205527 w 1216155"/>
                <a:gd name="connsiteY5" fmla="*/ 415928 h 415928"/>
                <a:gd name="connsiteX6" fmla="*/ 180119 w 1216155"/>
                <a:gd name="connsiteY6" fmla="*/ 404602 h 415928"/>
                <a:gd name="connsiteX7" fmla="*/ 0 w 1216155"/>
                <a:gd name="connsiteY7" fmla="*/ 292594 h 415928"/>
                <a:gd name="connsiteX8" fmla="*/ 236115 w 1216155"/>
                <a:gd name="connsiteY8" fmla="*/ 149548 h 415928"/>
                <a:gd name="connsiteX9" fmla="*/ 608078 w 1216155"/>
                <a:gd name="connsiteY9" fmla="*/ 0 h 415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6155" h="415928">
                  <a:moveTo>
                    <a:pt x="608078" y="0"/>
                  </a:moveTo>
                  <a:cubicBezTo>
                    <a:pt x="682470" y="0"/>
                    <a:pt x="818317" y="71523"/>
                    <a:pt x="905647" y="113786"/>
                  </a:cubicBezTo>
                  <a:cubicBezTo>
                    <a:pt x="992977" y="156050"/>
                    <a:pt x="1216155" y="250330"/>
                    <a:pt x="1216155" y="286091"/>
                  </a:cubicBezTo>
                  <a:cubicBezTo>
                    <a:pt x="1216155" y="295845"/>
                    <a:pt x="1204228" y="308036"/>
                    <a:pt x="1184872" y="321497"/>
                  </a:cubicBezTo>
                  <a:lnTo>
                    <a:pt x="1144343" y="344485"/>
                  </a:lnTo>
                  <a:lnTo>
                    <a:pt x="205527" y="415928"/>
                  </a:lnTo>
                  <a:lnTo>
                    <a:pt x="180119" y="404602"/>
                  </a:lnTo>
                  <a:cubicBezTo>
                    <a:pt x="70956" y="355379"/>
                    <a:pt x="0" y="319415"/>
                    <a:pt x="0" y="292594"/>
                  </a:cubicBezTo>
                  <a:cubicBezTo>
                    <a:pt x="0" y="253581"/>
                    <a:pt x="129379" y="195062"/>
                    <a:pt x="236115" y="149548"/>
                  </a:cubicBezTo>
                  <a:cubicBezTo>
                    <a:pt x="359024" y="94280"/>
                    <a:pt x="549858" y="0"/>
                    <a:pt x="60807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39" name="Oval 33">
              <a:extLst>
                <a:ext uri="{FF2B5EF4-FFF2-40B4-BE49-F238E27FC236}">
                  <a16:creationId xmlns:a16="http://schemas.microsoft.com/office/drawing/2014/main" id="{281075DD-1CE7-424E-9984-D2125E8C4979}"/>
                </a:ext>
              </a:extLst>
            </p:cNvPr>
            <p:cNvSpPr>
              <a:spLocks noChangeArrowheads="1"/>
            </p:cNvSpPr>
            <p:nvPr/>
          </p:nvSpPr>
          <p:spPr bwMode="auto">
            <a:xfrm rot="261105">
              <a:off x="9814954" y="5923767"/>
              <a:ext cx="200536" cy="87654"/>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sp>
        <p:nvSpPr>
          <p:cNvPr id="440" name="Freeform: Shape 439">
            <a:extLst>
              <a:ext uri="{FF2B5EF4-FFF2-40B4-BE49-F238E27FC236}">
                <a16:creationId xmlns:a16="http://schemas.microsoft.com/office/drawing/2014/main" id="{13366801-97EB-4AA3-B2D2-650065E07C94}"/>
              </a:ext>
            </a:extLst>
          </p:cNvPr>
          <p:cNvSpPr>
            <a:spLocks/>
          </p:cNvSpPr>
          <p:nvPr/>
        </p:nvSpPr>
        <p:spPr bwMode="auto">
          <a:xfrm rot="160649">
            <a:off x="10631032" y="5358353"/>
            <a:ext cx="1178189" cy="303777"/>
          </a:xfrm>
          <a:custGeom>
            <a:avLst/>
            <a:gdLst>
              <a:gd name="connsiteX0" fmla="*/ 608078 w 1178189"/>
              <a:gd name="connsiteY0" fmla="*/ 0 h 303777"/>
              <a:gd name="connsiteX1" fmla="*/ 905648 w 1178189"/>
              <a:gd name="connsiteY1" fmla="*/ 113786 h 303777"/>
              <a:gd name="connsiteX2" fmla="*/ 1093650 w 1178189"/>
              <a:gd name="connsiteY2" fmla="*/ 202377 h 303777"/>
              <a:gd name="connsiteX3" fmla="*/ 1178189 w 1178189"/>
              <a:gd name="connsiteY3" fmla="*/ 249069 h 303777"/>
              <a:gd name="connsiteX4" fmla="*/ 8358 w 1178189"/>
              <a:gd name="connsiteY4" fmla="*/ 303777 h 303777"/>
              <a:gd name="connsiteX5" fmla="*/ 0 w 1178189"/>
              <a:gd name="connsiteY5" fmla="*/ 292594 h 303777"/>
              <a:gd name="connsiteX6" fmla="*/ 236115 w 1178189"/>
              <a:gd name="connsiteY6" fmla="*/ 149548 h 303777"/>
              <a:gd name="connsiteX7" fmla="*/ 608078 w 1178189"/>
              <a:gd name="connsiteY7" fmla="*/ 0 h 303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8189" h="303777">
                <a:moveTo>
                  <a:pt x="608078" y="0"/>
                </a:moveTo>
                <a:cubicBezTo>
                  <a:pt x="682470" y="0"/>
                  <a:pt x="818317" y="71523"/>
                  <a:pt x="905648" y="113786"/>
                </a:cubicBezTo>
                <a:cubicBezTo>
                  <a:pt x="949313" y="134918"/>
                  <a:pt x="1026940" y="169054"/>
                  <a:pt x="1093650" y="202377"/>
                </a:cubicBezTo>
                <a:lnTo>
                  <a:pt x="1178189" y="249069"/>
                </a:lnTo>
                <a:lnTo>
                  <a:pt x="8358" y="303777"/>
                </a:lnTo>
                <a:lnTo>
                  <a:pt x="0" y="292594"/>
                </a:lnTo>
                <a:cubicBezTo>
                  <a:pt x="0" y="253581"/>
                  <a:pt x="129378" y="195063"/>
                  <a:pt x="236115" y="149548"/>
                </a:cubicBezTo>
                <a:cubicBezTo>
                  <a:pt x="359025" y="94280"/>
                  <a:pt x="549857" y="0"/>
                  <a:pt x="60807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41" name="Freeform 30">
            <a:extLst>
              <a:ext uri="{FF2B5EF4-FFF2-40B4-BE49-F238E27FC236}">
                <a16:creationId xmlns:a16="http://schemas.microsoft.com/office/drawing/2014/main" id="{59843C12-009D-4E40-B8BF-30FC46061297}"/>
              </a:ext>
            </a:extLst>
          </p:cNvPr>
          <p:cNvSpPr>
            <a:spLocks/>
          </p:cNvSpPr>
          <p:nvPr/>
        </p:nvSpPr>
        <p:spPr bwMode="auto">
          <a:xfrm rot="160649">
            <a:off x="10781393" y="5376754"/>
            <a:ext cx="676648" cy="194786"/>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42" name="Freeform: Shape 441">
            <a:extLst>
              <a:ext uri="{FF2B5EF4-FFF2-40B4-BE49-F238E27FC236}">
                <a16:creationId xmlns:a16="http://schemas.microsoft.com/office/drawing/2014/main" id="{6827879F-CDD1-43C7-87E9-7003AA3411A8}"/>
              </a:ext>
            </a:extLst>
          </p:cNvPr>
          <p:cNvSpPr>
            <a:spLocks/>
          </p:cNvSpPr>
          <p:nvPr/>
        </p:nvSpPr>
        <p:spPr bwMode="auto">
          <a:xfrm rot="160649">
            <a:off x="10631099" y="5358242"/>
            <a:ext cx="1173389" cy="300998"/>
          </a:xfrm>
          <a:custGeom>
            <a:avLst/>
            <a:gdLst>
              <a:gd name="connsiteX0" fmla="*/ 608078 w 1173389"/>
              <a:gd name="connsiteY0" fmla="*/ 0 h 300998"/>
              <a:gd name="connsiteX1" fmla="*/ 905648 w 1173389"/>
              <a:gd name="connsiteY1" fmla="*/ 113786 h 300998"/>
              <a:gd name="connsiteX2" fmla="*/ 1093650 w 1173389"/>
              <a:gd name="connsiteY2" fmla="*/ 202377 h 300998"/>
              <a:gd name="connsiteX3" fmla="*/ 1173389 w 1173389"/>
              <a:gd name="connsiteY3" fmla="*/ 246419 h 300998"/>
              <a:gd name="connsiteX4" fmla="*/ 6282 w 1173389"/>
              <a:gd name="connsiteY4" fmla="*/ 300998 h 300998"/>
              <a:gd name="connsiteX5" fmla="*/ 0 w 1173389"/>
              <a:gd name="connsiteY5" fmla="*/ 292594 h 300998"/>
              <a:gd name="connsiteX6" fmla="*/ 236115 w 1173389"/>
              <a:gd name="connsiteY6" fmla="*/ 149548 h 300998"/>
              <a:gd name="connsiteX7" fmla="*/ 608078 w 1173389"/>
              <a:gd name="connsiteY7" fmla="*/ 0 h 300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389" h="300998">
                <a:moveTo>
                  <a:pt x="608078" y="0"/>
                </a:moveTo>
                <a:cubicBezTo>
                  <a:pt x="682470" y="0"/>
                  <a:pt x="818317" y="71523"/>
                  <a:pt x="905648" y="113786"/>
                </a:cubicBezTo>
                <a:cubicBezTo>
                  <a:pt x="949313" y="134918"/>
                  <a:pt x="1026940" y="169054"/>
                  <a:pt x="1093650" y="202377"/>
                </a:cubicBezTo>
                <a:lnTo>
                  <a:pt x="1173389" y="246419"/>
                </a:lnTo>
                <a:lnTo>
                  <a:pt x="6282" y="300998"/>
                </a:lnTo>
                <a:lnTo>
                  <a:pt x="0" y="292594"/>
                </a:lnTo>
                <a:cubicBezTo>
                  <a:pt x="0" y="253581"/>
                  <a:pt x="129378" y="195063"/>
                  <a:pt x="236115" y="149548"/>
                </a:cubicBezTo>
                <a:cubicBezTo>
                  <a:pt x="359025" y="94280"/>
                  <a:pt x="549857" y="0"/>
                  <a:pt x="60807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grpSp>
        <p:nvGrpSpPr>
          <p:cNvPr id="443" name="Group 34">
            <a:extLst>
              <a:ext uri="{FF2B5EF4-FFF2-40B4-BE49-F238E27FC236}">
                <a16:creationId xmlns:a16="http://schemas.microsoft.com/office/drawing/2014/main" id="{C2654A79-7642-4A22-A5E5-0BE6E361B8B3}"/>
              </a:ext>
            </a:extLst>
          </p:cNvPr>
          <p:cNvGrpSpPr>
            <a:grpSpLocks/>
          </p:cNvGrpSpPr>
          <p:nvPr/>
        </p:nvGrpSpPr>
        <p:grpSpPr bwMode="auto">
          <a:xfrm rot="896089">
            <a:off x="3629456" y="4881656"/>
            <a:ext cx="1216155" cy="572183"/>
            <a:chOff x="3557" y="2640"/>
            <a:chExt cx="940" cy="470"/>
          </a:xfrm>
        </p:grpSpPr>
        <p:sp>
          <p:nvSpPr>
            <p:cNvPr id="444" name="Freeform 23">
              <a:extLst>
                <a:ext uri="{FF2B5EF4-FFF2-40B4-BE49-F238E27FC236}">
                  <a16:creationId xmlns:a16="http://schemas.microsoft.com/office/drawing/2014/main" id="{391F34E1-FD4F-40D7-8171-A63BD18E1092}"/>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45" name="Oval 25">
              <a:extLst>
                <a:ext uri="{FF2B5EF4-FFF2-40B4-BE49-F238E27FC236}">
                  <a16:creationId xmlns:a16="http://schemas.microsoft.com/office/drawing/2014/main" id="{F45DE829-2072-457F-A87D-51C981696E5D}"/>
                </a:ext>
              </a:extLst>
            </p:cNvPr>
            <p:cNvSpPr>
              <a:spLocks noChangeArrowheads="1"/>
            </p:cNvSpPr>
            <p:nvPr/>
          </p:nvSpPr>
          <p:spPr bwMode="auto">
            <a:xfrm>
              <a:off x="3942" y="2856"/>
              <a:ext cx="155" cy="72"/>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46" name="Oval 26">
              <a:extLst>
                <a:ext uri="{FF2B5EF4-FFF2-40B4-BE49-F238E27FC236}">
                  <a16:creationId xmlns:a16="http://schemas.microsoft.com/office/drawing/2014/main" id="{7523570A-DE80-4CA2-BE8E-F1964529C6D0}"/>
                </a:ext>
              </a:extLst>
            </p:cNvPr>
            <p:cNvSpPr>
              <a:spLocks noChangeArrowheads="1"/>
            </p:cNvSpPr>
            <p:nvPr/>
          </p:nvSpPr>
          <p:spPr bwMode="auto">
            <a:xfrm>
              <a:off x="3925" y="2837"/>
              <a:ext cx="155" cy="72"/>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47" name="Freeform 27">
              <a:extLst>
                <a:ext uri="{FF2B5EF4-FFF2-40B4-BE49-F238E27FC236}">
                  <a16:creationId xmlns:a16="http://schemas.microsoft.com/office/drawing/2014/main" id="{B4036098-932E-4A58-8D33-D332C03707EB}"/>
                </a:ext>
              </a:extLst>
            </p:cNvPr>
            <p:cNvSpPr>
              <a:spLocks/>
            </p:cNvSpPr>
            <p:nvPr/>
          </p:nvSpPr>
          <p:spPr bwMode="auto">
            <a:xfrm>
              <a:off x="3952" y="2840"/>
              <a:ext cx="128" cy="69"/>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48" name="Freeform 28">
              <a:extLst>
                <a:ext uri="{FF2B5EF4-FFF2-40B4-BE49-F238E27FC236}">
                  <a16:creationId xmlns:a16="http://schemas.microsoft.com/office/drawing/2014/main" id="{DACA1BD0-A64D-4A92-966F-AE3BF2567471}"/>
                </a:ext>
              </a:extLst>
            </p:cNvPr>
            <p:cNvSpPr>
              <a:spLocks/>
            </p:cNvSpPr>
            <p:nvPr/>
          </p:nvSpPr>
          <p:spPr bwMode="auto">
            <a:xfrm>
              <a:off x="3940" y="2843"/>
              <a:ext cx="115" cy="5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49" name="Freeform 30">
              <a:extLst>
                <a:ext uri="{FF2B5EF4-FFF2-40B4-BE49-F238E27FC236}">
                  <a16:creationId xmlns:a16="http://schemas.microsoft.com/office/drawing/2014/main" id="{3B90858B-ECF3-46A6-AC6D-EB8829BEC813}"/>
                </a:ext>
              </a:extLst>
            </p:cNvPr>
            <p:cNvSpPr>
              <a:spLocks/>
            </p:cNvSpPr>
            <p:nvPr/>
          </p:nvSpPr>
          <p:spPr bwMode="auto">
            <a:xfrm>
              <a:off x="3672" y="2659"/>
              <a:ext cx="523" cy="160"/>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50" name="Freeform 32">
              <a:extLst>
                <a:ext uri="{FF2B5EF4-FFF2-40B4-BE49-F238E27FC236}">
                  <a16:creationId xmlns:a16="http://schemas.microsoft.com/office/drawing/2014/main" id="{81B5FE07-8840-44A3-9717-F87EEF36FF6B}"/>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51" name="Oval 33">
              <a:extLst>
                <a:ext uri="{FF2B5EF4-FFF2-40B4-BE49-F238E27FC236}">
                  <a16:creationId xmlns:a16="http://schemas.microsoft.com/office/drawing/2014/main" id="{2B4F0823-1944-46F7-8BC7-C9A80BC2D2DE}"/>
                </a:ext>
              </a:extLst>
            </p:cNvPr>
            <p:cNvSpPr>
              <a:spLocks noChangeArrowheads="1"/>
            </p:cNvSpPr>
            <p:nvPr/>
          </p:nvSpPr>
          <p:spPr bwMode="auto">
            <a:xfrm>
              <a:off x="3925" y="2837"/>
              <a:ext cx="155" cy="72"/>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452" name="Group 451">
            <a:extLst>
              <a:ext uri="{FF2B5EF4-FFF2-40B4-BE49-F238E27FC236}">
                <a16:creationId xmlns:a16="http://schemas.microsoft.com/office/drawing/2014/main" id="{3B0DBD9F-F39B-4D67-94E1-79A3D0117300}"/>
              </a:ext>
            </a:extLst>
          </p:cNvPr>
          <p:cNvGrpSpPr/>
          <p:nvPr/>
        </p:nvGrpSpPr>
        <p:grpSpPr>
          <a:xfrm>
            <a:off x="4885050" y="5149613"/>
            <a:ext cx="1216210" cy="517556"/>
            <a:chOff x="4885050" y="5587841"/>
            <a:chExt cx="1216210" cy="517556"/>
          </a:xfrm>
        </p:grpSpPr>
        <p:sp>
          <p:nvSpPr>
            <p:cNvPr id="453" name="Freeform: Shape 452">
              <a:extLst>
                <a:ext uri="{FF2B5EF4-FFF2-40B4-BE49-F238E27FC236}">
                  <a16:creationId xmlns:a16="http://schemas.microsoft.com/office/drawing/2014/main" id="{DAF007B4-C089-4810-8EE8-28FC5DCA2436}"/>
                </a:ext>
              </a:extLst>
            </p:cNvPr>
            <p:cNvSpPr>
              <a:spLocks/>
            </p:cNvSpPr>
            <p:nvPr/>
          </p:nvSpPr>
          <p:spPr bwMode="auto">
            <a:xfrm rot="583525">
              <a:off x="4885105" y="5587845"/>
              <a:ext cx="1216155" cy="516909"/>
            </a:xfrm>
            <a:custGeom>
              <a:avLst/>
              <a:gdLst>
                <a:gd name="connsiteX0" fmla="*/ 580421 w 1216155"/>
                <a:gd name="connsiteY0" fmla="*/ 4159 h 516909"/>
                <a:gd name="connsiteX1" fmla="*/ 608078 w 1216155"/>
                <a:gd name="connsiteY1" fmla="*/ 0 h 516909"/>
                <a:gd name="connsiteX2" fmla="*/ 905647 w 1216155"/>
                <a:gd name="connsiteY2" fmla="*/ 113786 h 516909"/>
                <a:gd name="connsiteX3" fmla="*/ 1216155 w 1216155"/>
                <a:gd name="connsiteY3" fmla="*/ 286092 h 516909"/>
                <a:gd name="connsiteX4" fmla="*/ 1015568 w 1216155"/>
                <a:gd name="connsiteY4" fmla="*/ 408158 h 516909"/>
                <a:gd name="connsiteX5" fmla="*/ 980689 w 1216155"/>
                <a:gd name="connsiteY5" fmla="*/ 423610 h 516909"/>
                <a:gd name="connsiteX6" fmla="*/ 436322 w 1216155"/>
                <a:gd name="connsiteY6" fmla="*/ 516909 h 516909"/>
                <a:gd name="connsiteX7" fmla="*/ 420176 w 1216155"/>
                <a:gd name="connsiteY7" fmla="*/ 510464 h 516909"/>
                <a:gd name="connsiteX8" fmla="*/ 300804 w 1216155"/>
                <a:gd name="connsiteY8" fmla="*/ 458396 h 516909"/>
                <a:gd name="connsiteX9" fmla="*/ 0 w 1216155"/>
                <a:gd name="connsiteY9" fmla="*/ 292593 h 516909"/>
                <a:gd name="connsiteX10" fmla="*/ 236115 w 1216155"/>
                <a:gd name="connsiteY10" fmla="*/ 149548 h 516909"/>
                <a:gd name="connsiteX11" fmla="*/ 580421 w 1216155"/>
                <a:gd name="connsiteY11" fmla="*/ 4159 h 516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6155" h="516909">
                  <a:moveTo>
                    <a:pt x="580421" y="4159"/>
                  </a:moveTo>
                  <a:cubicBezTo>
                    <a:pt x="591450" y="1473"/>
                    <a:pt x="600800" y="0"/>
                    <a:pt x="608078" y="0"/>
                  </a:cubicBezTo>
                  <a:cubicBezTo>
                    <a:pt x="682470" y="0"/>
                    <a:pt x="818317" y="71523"/>
                    <a:pt x="905647" y="113786"/>
                  </a:cubicBezTo>
                  <a:cubicBezTo>
                    <a:pt x="992978" y="156050"/>
                    <a:pt x="1216155" y="250330"/>
                    <a:pt x="1216155" y="286092"/>
                  </a:cubicBezTo>
                  <a:cubicBezTo>
                    <a:pt x="1216155" y="315351"/>
                    <a:pt x="1108812" y="366555"/>
                    <a:pt x="1015568" y="408158"/>
                  </a:cubicBezTo>
                  <a:lnTo>
                    <a:pt x="980689" y="423610"/>
                  </a:lnTo>
                  <a:lnTo>
                    <a:pt x="436322" y="516909"/>
                  </a:lnTo>
                  <a:lnTo>
                    <a:pt x="420176" y="510464"/>
                  </a:lnTo>
                  <a:cubicBezTo>
                    <a:pt x="385709" y="495987"/>
                    <a:pt x="346087" y="478716"/>
                    <a:pt x="300804" y="458396"/>
                  </a:cubicBezTo>
                  <a:cubicBezTo>
                    <a:pt x="126144" y="380372"/>
                    <a:pt x="0" y="328355"/>
                    <a:pt x="0" y="292593"/>
                  </a:cubicBezTo>
                  <a:cubicBezTo>
                    <a:pt x="0" y="253581"/>
                    <a:pt x="129378" y="195062"/>
                    <a:pt x="236115" y="149548"/>
                  </a:cubicBezTo>
                  <a:cubicBezTo>
                    <a:pt x="343660" y="101189"/>
                    <a:pt x="503211" y="22960"/>
                    <a:pt x="580421" y="4159"/>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54" name="Oval 25">
              <a:extLst>
                <a:ext uri="{FF2B5EF4-FFF2-40B4-BE49-F238E27FC236}">
                  <a16:creationId xmlns:a16="http://schemas.microsoft.com/office/drawing/2014/main" id="{CA10A460-B8AE-402E-A8CA-F71906EB4E92}"/>
                </a:ext>
              </a:extLst>
            </p:cNvPr>
            <p:cNvSpPr>
              <a:spLocks noChangeArrowheads="1"/>
            </p:cNvSpPr>
            <p:nvPr/>
          </p:nvSpPr>
          <p:spPr bwMode="auto">
            <a:xfrm rot="583525">
              <a:off x="5375185" y="5848472"/>
              <a:ext cx="200536" cy="87654"/>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55" name="Oval 26">
              <a:extLst>
                <a:ext uri="{FF2B5EF4-FFF2-40B4-BE49-F238E27FC236}">
                  <a16:creationId xmlns:a16="http://schemas.microsoft.com/office/drawing/2014/main" id="{A1EA9A81-4469-4BC0-8EB9-347D17618EF7}"/>
                </a:ext>
              </a:extLst>
            </p:cNvPr>
            <p:cNvSpPr>
              <a:spLocks noChangeArrowheads="1"/>
            </p:cNvSpPr>
            <p:nvPr/>
          </p:nvSpPr>
          <p:spPr bwMode="auto">
            <a:xfrm rot="583525">
              <a:off x="5357415" y="5821958"/>
              <a:ext cx="200536" cy="87654"/>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56" name="Freeform 27">
              <a:extLst>
                <a:ext uri="{FF2B5EF4-FFF2-40B4-BE49-F238E27FC236}">
                  <a16:creationId xmlns:a16="http://schemas.microsoft.com/office/drawing/2014/main" id="{2839D014-C143-4149-BBCE-95ABD12A8089}"/>
                </a:ext>
              </a:extLst>
            </p:cNvPr>
            <p:cNvSpPr>
              <a:spLocks/>
            </p:cNvSpPr>
            <p:nvPr/>
          </p:nvSpPr>
          <p:spPr bwMode="auto">
            <a:xfrm rot="583525">
              <a:off x="5391787" y="5828535"/>
              <a:ext cx="165604" cy="84001"/>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57" name="Freeform 28">
              <a:extLst>
                <a:ext uri="{FF2B5EF4-FFF2-40B4-BE49-F238E27FC236}">
                  <a16:creationId xmlns:a16="http://schemas.microsoft.com/office/drawing/2014/main" id="{8DFFBB39-6FF4-48E7-942D-2F9C3144EE01}"/>
                </a:ext>
              </a:extLst>
            </p:cNvPr>
            <p:cNvSpPr>
              <a:spLocks/>
            </p:cNvSpPr>
            <p:nvPr/>
          </p:nvSpPr>
          <p:spPr bwMode="auto">
            <a:xfrm rot="583525">
              <a:off x="5377634" y="5828231"/>
              <a:ext cx="148785" cy="6452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58" name="Freeform 30">
              <a:extLst>
                <a:ext uri="{FF2B5EF4-FFF2-40B4-BE49-F238E27FC236}">
                  <a16:creationId xmlns:a16="http://schemas.microsoft.com/office/drawing/2014/main" id="{58FB6D21-F485-498A-9E15-E8A64815F5EC}"/>
                </a:ext>
              </a:extLst>
            </p:cNvPr>
            <p:cNvSpPr>
              <a:spLocks/>
            </p:cNvSpPr>
            <p:nvPr/>
          </p:nvSpPr>
          <p:spPr bwMode="auto">
            <a:xfrm rot="583525">
              <a:off x="5058928" y="5592523"/>
              <a:ext cx="676648" cy="194786"/>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59" name="Freeform: Shape 458">
              <a:extLst>
                <a:ext uri="{FF2B5EF4-FFF2-40B4-BE49-F238E27FC236}">
                  <a16:creationId xmlns:a16="http://schemas.microsoft.com/office/drawing/2014/main" id="{58630BC0-0AB2-459B-96A6-331456AD7EA4}"/>
                </a:ext>
              </a:extLst>
            </p:cNvPr>
            <p:cNvSpPr>
              <a:spLocks/>
            </p:cNvSpPr>
            <p:nvPr/>
          </p:nvSpPr>
          <p:spPr bwMode="auto">
            <a:xfrm rot="583525">
              <a:off x="4885050" y="5587841"/>
              <a:ext cx="1216155" cy="517556"/>
            </a:xfrm>
            <a:custGeom>
              <a:avLst/>
              <a:gdLst>
                <a:gd name="connsiteX0" fmla="*/ 580421 w 1216155"/>
                <a:gd name="connsiteY0" fmla="*/ 4159 h 517556"/>
                <a:gd name="connsiteX1" fmla="*/ 608078 w 1216155"/>
                <a:gd name="connsiteY1" fmla="*/ 0 h 517556"/>
                <a:gd name="connsiteX2" fmla="*/ 905647 w 1216155"/>
                <a:gd name="connsiteY2" fmla="*/ 113786 h 517556"/>
                <a:gd name="connsiteX3" fmla="*/ 1216155 w 1216155"/>
                <a:gd name="connsiteY3" fmla="*/ 286092 h 517556"/>
                <a:gd name="connsiteX4" fmla="*/ 1015568 w 1216155"/>
                <a:gd name="connsiteY4" fmla="*/ 408158 h 517556"/>
                <a:gd name="connsiteX5" fmla="*/ 977193 w 1216155"/>
                <a:gd name="connsiteY5" fmla="*/ 425134 h 517556"/>
                <a:gd name="connsiteX6" fmla="*/ 437942 w 1216155"/>
                <a:gd name="connsiteY6" fmla="*/ 517556 h 517556"/>
                <a:gd name="connsiteX7" fmla="*/ 420176 w 1216155"/>
                <a:gd name="connsiteY7" fmla="*/ 510464 h 517556"/>
                <a:gd name="connsiteX8" fmla="*/ 300804 w 1216155"/>
                <a:gd name="connsiteY8" fmla="*/ 458396 h 517556"/>
                <a:gd name="connsiteX9" fmla="*/ 0 w 1216155"/>
                <a:gd name="connsiteY9" fmla="*/ 292593 h 517556"/>
                <a:gd name="connsiteX10" fmla="*/ 236115 w 1216155"/>
                <a:gd name="connsiteY10" fmla="*/ 149548 h 517556"/>
                <a:gd name="connsiteX11" fmla="*/ 580421 w 1216155"/>
                <a:gd name="connsiteY11" fmla="*/ 4159 h 51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6155" h="517556">
                  <a:moveTo>
                    <a:pt x="580421" y="4159"/>
                  </a:moveTo>
                  <a:cubicBezTo>
                    <a:pt x="591450" y="1473"/>
                    <a:pt x="600800" y="0"/>
                    <a:pt x="608078" y="0"/>
                  </a:cubicBezTo>
                  <a:cubicBezTo>
                    <a:pt x="682470" y="0"/>
                    <a:pt x="818317" y="71523"/>
                    <a:pt x="905647" y="113786"/>
                  </a:cubicBezTo>
                  <a:cubicBezTo>
                    <a:pt x="992978" y="156050"/>
                    <a:pt x="1216155" y="250330"/>
                    <a:pt x="1216155" y="286092"/>
                  </a:cubicBezTo>
                  <a:cubicBezTo>
                    <a:pt x="1216155" y="315351"/>
                    <a:pt x="1108812" y="366555"/>
                    <a:pt x="1015568" y="408158"/>
                  </a:cubicBezTo>
                  <a:lnTo>
                    <a:pt x="977193" y="425134"/>
                  </a:lnTo>
                  <a:lnTo>
                    <a:pt x="437942" y="517556"/>
                  </a:lnTo>
                  <a:lnTo>
                    <a:pt x="420176" y="510464"/>
                  </a:lnTo>
                  <a:cubicBezTo>
                    <a:pt x="385709" y="495987"/>
                    <a:pt x="346087" y="478716"/>
                    <a:pt x="300804" y="458396"/>
                  </a:cubicBezTo>
                  <a:cubicBezTo>
                    <a:pt x="126144" y="380372"/>
                    <a:pt x="0" y="328355"/>
                    <a:pt x="0" y="292593"/>
                  </a:cubicBezTo>
                  <a:cubicBezTo>
                    <a:pt x="0" y="253581"/>
                    <a:pt x="129378" y="195062"/>
                    <a:pt x="236115" y="149548"/>
                  </a:cubicBezTo>
                  <a:cubicBezTo>
                    <a:pt x="343660" y="101189"/>
                    <a:pt x="503211" y="22960"/>
                    <a:pt x="580421" y="4159"/>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60" name="Oval 33">
              <a:extLst>
                <a:ext uri="{FF2B5EF4-FFF2-40B4-BE49-F238E27FC236}">
                  <a16:creationId xmlns:a16="http://schemas.microsoft.com/office/drawing/2014/main" id="{57B5C582-215F-4BB0-9E54-D937083D94E0}"/>
                </a:ext>
              </a:extLst>
            </p:cNvPr>
            <p:cNvSpPr>
              <a:spLocks noChangeArrowheads="1"/>
            </p:cNvSpPr>
            <p:nvPr/>
          </p:nvSpPr>
          <p:spPr bwMode="auto">
            <a:xfrm rot="583525">
              <a:off x="5357415" y="5821958"/>
              <a:ext cx="200536" cy="87654"/>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461" name="Group 460">
            <a:extLst>
              <a:ext uri="{FF2B5EF4-FFF2-40B4-BE49-F238E27FC236}">
                <a16:creationId xmlns:a16="http://schemas.microsoft.com/office/drawing/2014/main" id="{C7029AB5-52FE-4EFF-A70A-C152B8197499}"/>
              </a:ext>
            </a:extLst>
          </p:cNvPr>
          <p:cNvGrpSpPr/>
          <p:nvPr/>
        </p:nvGrpSpPr>
        <p:grpSpPr>
          <a:xfrm>
            <a:off x="6142755" y="5328151"/>
            <a:ext cx="1177635" cy="365623"/>
            <a:chOff x="6142755" y="5768760"/>
            <a:chExt cx="1177635" cy="365623"/>
          </a:xfrm>
        </p:grpSpPr>
        <p:sp>
          <p:nvSpPr>
            <p:cNvPr id="462" name="Freeform: Shape 461">
              <a:extLst>
                <a:ext uri="{FF2B5EF4-FFF2-40B4-BE49-F238E27FC236}">
                  <a16:creationId xmlns:a16="http://schemas.microsoft.com/office/drawing/2014/main" id="{5BB278A1-3B28-47BE-A06C-7C57604B500C}"/>
                </a:ext>
              </a:extLst>
            </p:cNvPr>
            <p:cNvSpPr>
              <a:spLocks/>
            </p:cNvSpPr>
            <p:nvPr/>
          </p:nvSpPr>
          <p:spPr bwMode="auto">
            <a:xfrm rot="342215">
              <a:off x="6143124" y="5769021"/>
              <a:ext cx="1177266" cy="357947"/>
            </a:xfrm>
            <a:custGeom>
              <a:avLst/>
              <a:gdLst>
                <a:gd name="connsiteX0" fmla="*/ 608078 w 1177266"/>
                <a:gd name="connsiteY0" fmla="*/ 0 h 357947"/>
                <a:gd name="connsiteX1" fmla="*/ 905647 w 1177266"/>
                <a:gd name="connsiteY1" fmla="*/ 113786 h 357947"/>
                <a:gd name="connsiteX2" fmla="*/ 1093650 w 1177266"/>
                <a:gd name="connsiteY2" fmla="*/ 202377 h 357947"/>
                <a:gd name="connsiteX3" fmla="*/ 1177266 w 1177266"/>
                <a:gd name="connsiteY3" fmla="*/ 248560 h 357947"/>
                <a:gd name="connsiteX4" fmla="*/ 82039 w 1177266"/>
                <a:gd name="connsiteY4" fmla="*/ 357947 h 357947"/>
                <a:gd name="connsiteX5" fmla="*/ 22439 w 1177266"/>
                <a:gd name="connsiteY5" fmla="*/ 322615 h 357947"/>
                <a:gd name="connsiteX6" fmla="*/ 0 w 1177266"/>
                <a:gd name="connsiteY6" fmla="*/ 292594 h 357947"/>
                <a:gd name="connsiteX7" fmla="*/ 236115 w 1177266"/>
                <a:gd name="connsiteY7" fmla="*/ 149548 h 357947"/>
                <a:gd name="connsiteX8" fmla="*/ 608078 w 1177266"/>
                <a:gd name="connsiteY8" fmla="*/ 0 h 357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7266" h="357947">
                  <a:moveTo>
                    <a:pt x="608078" y="0"/>
                  </a:moveTo>
                  <a:cubicBezTo>
                    <a:pt x="682470" y="0"/>
                    <a:pt x="818317" y="71523"/>
                    <a:pt x="905647" y="113786"/>
                  </a:cubicBezTo>
                  <a:cubicBezTo>
                    <a:pt x="949312" y="134918"/>
                    <a:pt x="1026939" y="169054"/>
                    <a:pt x="1093650" y="202377"/>
                  </a:cubicBezTo>
                  <a:lnTo>
                    <a:pt x="1177266" y="248560"/>
                  </a:lnTo>
                  <a:lnTo>
                    <a:pt x="82039" y="357947"/>
                  </a:lnTo>
                  <a:lnTo>
                    <a:pt x="22439" y="322615"/>
                  </a:lnTo>
                  <a:cubicBezTo>
                    <a:pt x="7884" y="311490"/>
                    <a:pt x="0" y="301534"/>
                    <a:pt x="0" y="292594"/>
                  </a:cubicBezTo>
                  <a:cubicBezTo>
                    <a:pt x="0" y="253581"/>
                    <a:pt x="129378" y="195062"/>
                    <a:pt x="236115" y="149548"/>
                  </a:cubicBezTo>
                  <a:cubicBezTo>
                    <a:pt x="359024" y="94280"/>
                    <a:pt x="549857" y="0"/>
                    <a:pt x="60807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63" name="Oval 25">
              <a:extLst>
                <a:ext uri="{FF2B5EF4-FFF2-40B4-BE49-F238E27FC236}">
                  <a16:creationId xmlns:a16="http://schemas.microsoft.com/office/drawing/2014/main" id="{4F510B9B-47F0-4FD3-9AB8-29529982EB69}"/>
                </a:ext>
              </a:extLst>
            </p:cNvPr>
            <p:cNvSpPr>
              <a:spLocks noChangeArrowheads="1"/>
            </p:cNvSpPr>
            <p:nvPr/>
          </p:nvSpPr>
          <p:spPr bwMode="auto">
            <a:xfrm rot="342215">
              <a:off x="6628479" y="5975170"/>
              <a:ext cx="200536" cy="87654"/>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64" name="Oval 26">
              <a:extLst>
                <a:ext uri="{FF2B5EF4-FFF2-40B4-BE49-F238E27FC236}">
                  <a16:creationId xmlns:a16="http://schemas.microsoft.com/office/drawing/2014/main" id="{1D5A50A3-C785-4944-B071-E8A09B66834E}"/>
                </a:ext>
              </a:extLst>
            </p:cNvPr>
            <p:cNvSpPr>
              <a:spLocks noChangeArrowheads="1"/>
            </p:cNvSpPr>
            <p:nvPr/>
          </p:nvSpPr>
          <p:spPr bwMode="auto">
            <a:xfrm rot="342215">
              <a:off x="6608893" y="5949968"/>
              <a:ext cx="200536" cy="87654"/>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65" name="Freeform 27">
              <a:extLst>
                <a:ext uri="{FF2B5EF4-FFF2-40B4-BE49-F238E27FC236}">
                  <a16:creationId xmlns:a16="http://schemas.microsoft.com/office/drawing/2014/main" id="{FBEE115B-1785-446B-A0A6-F55FD7AB89DB}"/>
                </a:ext>
              </a:extLst>
            </p:cNvPr>
            <p:cNvSpPr>
              <a:spLocks/>
            </p:cNvSpPr>
            <p:nvPr/>
          </p:nvSpPr>
          <p:spPr bwMode="auto">
            <a:xfrm rot="342215">
              <a:off x="6643557" y="5955347"/>
              <a:ext cx="165604" cy="84001"/>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66" name="Freeform 28">
              <a:extLst>
                <a:ext uri="{FF2B5EF4-FFF2-40B4-BE49-F238E27FC236}">
                  <a16:creationId xmlns:a16="http://schemas.microsoft.com/office/drawing/2014/main" id="{F7EAE153-B66B-4B0F-B86D-F9B1DEAFD8E1}"/>
                </a:ext>
              </a:extLst>
            </p:cNvPr>
            <p:cNvSpPr>
              <a:spLocks/>
            </p:cNvSpPr>
            <p:nvPr/>
          </p:nvSpPr>
          <p:spPr bwMode="auto">
            <a:xfrm rot="342215">
              <a:off x="6628755" y="5956650"/>
              <a:ext cx="148785" cy="6452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67" name="Freeform 30">
              <a:extLst>
                <a:ext uri="{FF2B5EF4-FFF2-40B4-BE49-F238E27FC236}">
                  <a16:creationId xmlns:a16="http://schemas.microsoft.com/office/drawing/2014/main" id="{B71DDD24-F2BF-4A33-A052-FDD1CB9A3645}"/>
                </a:ext>
              </a:extLst>
            </p:cNvPr>
            <p:cNvSpPr>
              <a:spLocks/>
            </p:cNvSpPr>
            <p:nvPr/>
          </p:nvSpPr>
          <p:spPr bwMode="auto">
            <a:xfrm rot="342215">
              <a:off x="6298220" y="5782351"/>
              <a:ext cx="676648" cy="194786"/>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68" name="Freeform: Shape 467">
              <a:extLst>
                <a:ext uri="{FF2B5EF4-FFF2-40B4-BE49-F238E27FC236}">
                  <a16:creationId xmlns:a16="http://schemas.microsoft.com/office/drawing/2014/main" id="{7D95461B-7EB1-4BFB-B4CA-CE5E867A1F76}"/>
                </a:ext>
              </a:extLst>
            </p:cNvPr>
            <p:cNvSpPr>
              <a:spLocks/>
            </p:cNvSpPr>
            <p:nvPr/>
          </p:nvSpPr>
          <p:spPr bwMode="auto">
            <a:xfrm rot="342215">
              <a:off x="6142755" y="5768760"/>
              <a:ext cx="1172391" cy="365623"/>
            </a:xfrm>
            <a:custGeom>
              <a:avLst/>
              <a:gdLst>
                <a:gd name="connsiteX0" fmla="*/ 608078 w 1172391"/>
                <a:gd name="connsiteY0" fmla="*/ 0 h 365623"/>
                <a:gd name="connsiteX1" fmla="*/ 905647 w 1172391"/>
                <a:gd name="connsiteY1" fmla="*/ 113786 h 365623"/>
                <a:gd name="connsiteX2" fmla="*/ 1093650 w 1172391"/>
                <a:gd name="connsiteY2" fmla="*/ 202377 h 365623"/>
                <a:gd name="connsiteX3" fmla="*/ 1172391 w 1172391"/>
                <a:gd name="connsiteY3" fmla="*/ 245867 h 365623"/>
                <a:gd name="connsiteX4" fmla="*/ 96336 w 1172391"/>
                <a:gd name="connsiteY4" fmla="*/ 353340 h 365623"/>
                <a:gd name="connsiteX5" fmla="*/ 97563 w 1172391"/>
                <a:gd name="connsiteY5" fmla="*/ 365623 h 365623"/>
                <a:gd name="connsiteX6" fmla="*/ 84905 w 1172391"/>
                <a:gd name="connsiteY6" fmla="*/ 359647 h 365623"/>
                <a:gd name="connsiteX7" fmla="*/ 0 w 1172391"/>
                <a:gd name="connsiteY7" fmla="*/ 292594 h 365623"/>
                <a:gd name="connsiteX8" fmla="*/ 236115 w 1172391"/>
                <a:gd name="connsiteY8" fmla="*/ 149548 h 365623"/>
                <a:gd name="connsiteX9" fmla="*/ 608078 w 1172391"/>
                <a:gd name="connsiteY9" fmla="*/ 0 h 365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2391" h="365623">
                  <a:moveTo>
                    <a:pt x="608078" y="0"/>
                  </a:moveTo>
                  <a:cubicBezTo>
                    <a:pt x="682470" y="0"/>
                    <a:pt x="818317" y="71523"/>
                    <a:pt x="905647" y="113786"/>
                  </a:cubicBezTo>
                  <a:cubicBezTo>
                    <a:pt x="949312" y="134918"/>
                    <a:pt x="1026939" y="169054"/>
                    <a:pt x="1093650" y="202377"/>
                  </a:cubicBezTo>
                  <a:lnTo>
                    <a:pt x="1172391" y="245867"/>
                  </a:lnTo>
                  <a:lnTo>
                    <a:pt x="96336" y="353340"/>
                  </a:lnTo>
                  <a:lnTo>
                    <a:pt x="97563" y="365623"/>
                  </a:lnTo>
                  <a:lnTo>
                    <a:pt x="84905" y="359647"/>
                  </a:lnTo>
                  <a:cubicBezTo>
                    <a:pt x="31536" y="332419"/>
                    <a:pt x="0" y="310475"/>
                    <a:pt x="0" y="292594"/>
                  </a:cubicBezTo>
                  <a:cubicBezTo>
                    <a:pt x="0" y="253581"/>
                    <a:pt x="129378" y="195062"/>
                    <a:pt x="236115" y="149548"/>
                  </a:cubicBezTo>
                  <a:cubicBezTo>
                    <a:pt x="359024" y="94280"/>
                    <a:pt x="549857" y="0"/>
                    <a:pt x="60807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69" name="Oval 33">
              <a:extLst>
                <a:ext uri="{FF2B5EF4-FFF2-40B4-BE49-F238E27FC236}">
                  <a16:creationId xmlns:a16="http://schemas.microsoft.com/office/drawing/2014/main" id="{785995B8-4905-47A7-A98A-E0AE22CCFBB2}"/>
                </a:ext>
              </a:extLst>
            </p:cNvPr>
            <p:cNvSpPr>
              <a:spLocks noChangeArrowheads="1"/>
            </p:cNvSpPr>
            <p:nvPr/>
          </p:nvSpPr>
          <p:spPr bwMode="auto">
            <a:xfrm rot="342215">
              <a:off x="6608893" y="5949968"/>
              <a:ext cx="200536" cy="87654"/>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470" name="Group 469">
            <a:extLst>
              <a:ext uri="{FF2B5EF4-FFF2-40B4-BE49-F238E27FC236}">
                <a16:creationId xmlns:a16="http://schemas.microsoft.com/office/drawing/2014/main" id="{E489039C-9853-4D5B-A42D-8F9DB72EAF4E}"/>
              </a:ext>
            </a:extLst>
          </p:cNvPr>
          <p:cNvGrpSpPr/>
          <p:nvPr/>
        </p:nvGrpSpPr>
        <p:grpSpPr>
          <a:xfrm>
            <a:off x="2504633" y="4058149"/>
            <a:ext cx="540336" cy="465181"/>
            <a:chOff x="2504633" y="4498758"/>
            <a:chExt cx="540336" cy="465181"/>
          </a:xfrm>
        </p:grpSpPr>
        <p:sp>
          <p:nvSpPr>
            <p:cNvPr id="471" name="Freeform: Shape 470">
              <a:extLst>
                <a:ext uri="{FF2B5EF4-FFF2-40B4-BE49-F238E27FC236}">
                  <a16:creationId xmlns:a16="http://schemas.microsoft.com/office/drawing/2014/main" id="{D7F4F5D9-95E6-4372-8AD4-B3131FF12762}"/>
                </a:ext>
              </a:extLst>
            </p:cNvPr>
            <p:cNvSpPr>
              <a:spLocks/>
            </p:cNvSpPr>
            <p:nvPr/>
          </p:nvSpPr>
          <p:spPr bwMode="auto">
            <a:xfrm rot="1279283">
              <a:off x="2504633" y="4498758"/>
              <a:ext cx="540336" cy="465181"/>
            </a:xfrm>
            <a:custGeom>
              <a:avLst/>
              <a:gdLst>
                <a:gd name="connsiteX0" fmla="*/ 0 w 540336"/>
                <a:gd name="connsiteY0" fmla="*/ 0 h 465181"/>
                <a:gd name="connsiteX1" fmla="*/ 76192 w 540336"/>
                <a:gd name="connsiteY1" fmla="*/ 28409 h 465181"/>
                <a:gd name="connsiteX2" fmla="*/ 229828 w 540336"/>
                <a:gd name="connsiteY2" fmla="*/ 101152 h 465181"/>
                <a:gd name="connsiteX3" fmla="*/ 540336 w 540336"/>
                <a:gd name="connsiteY3" fmla="*/ 273457 h 465181"/>
                <a:gd name="connsiteX4" fmla="*/ 255704 w 540336"/>
                <a:gd name="connsiteY4" fmla="*/ 432757 h 465181"/>
                <a:gd name="connsiteX5" fmla="*/ 181567 w 540336"/>
                <a:gd name="connsiteY5" fmla="*/ 465181 h 465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336" h="465181">
                  <a:moveTo>
                    <a:pt x="0" y="0"/>
                  </a:moveTo>
                  <a:lnTo>
                    <a:pt x="76192" y="28409"/>
                  </a:lnTo>
                  <a:cubicBezTo>
                    <a:pt x="130369" y="51573"/>
                    <a:pt x="186163" y="80020"/>
                    <a:pt x="229828" y="101152"/>
                  </a:cubicBezTo>
                  <a:cubicBezTo>
                    <a:pt x="317159" y="143415"/>
                    <a:pt x="540336" y="237695"/>
                    <a:pt x="540336" y="273457"/>
                  </a:cubicBezTo>
                  <a:cubicBezTo>
                    <a:pt x="540336" y="312469"/>
                    <a:pt x="349503" y="390494"/>
                    <a:pt x="255704" y="432757"/>
                  </a:cubicBezTo>
                  <a:lnTo>
                    <a:pt x="181567" y="465181"/>
                  </a:ln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72" name="Freeform: Shape 471">
              <a:extLst>
                <a:ext uri="{FF2B5EF4-FFF2-40B4-BE49-F238E27FC236}">
                  <a16:creationId xmlns:a16="http://schemas.microsoft.com/office/drawing/2014/main" id="{E6BE388F-8F0D-4CBC-9388-A544177B599D}"/>
                </a:ext>
              </a:extLst>
            </p:cNvPr>
            <p:cNvSpPr>
              <a:spLocks/>
            </p:cNvSpPr>
            <p:nvPr/>
          </p:nvSpPr>
          <p:spPr bwMode="auto">
            <a:xfrm rot="1279283">
              <a:off x="2505953" y="4499522"/>
              <a:ext cx="538955" cy="464225"/>
            </a:xfrm>
            <a:custGeom>
              <a:avLst/>
              <a:gdLst>
                <a:gd name="connsiteX0" fmla="*/ 0 w 538955"/>
                <a:gd name="connsiteY0" fmla="*/ 0 h 464225"/>
                <a:gd name="connsiteX1" fmla="*/ 74811 w 538955"/>
                <a:gd name="connsiteY1" fmla="*/ 27894 h 464225"/>
                <a:gd name="connsiteX2" fmla="*/ 228447 w 538955"/>
                <a:gd name="connsiteY2" fmla="*/ 100637 h 464225"/>
                <a:gd name="connsiteX3" fmla="*/ 538955 w 538955"/>
                <a:gd name="connsiteY3" fmla="*/ 272942 h 464225"/>
                <a:gd name="connsiteX4" fmla="*/ 254323 w 538955"/>
                <a:gd name="connsiteY4" fmla="*/ 432242 h 464225"/>
                <a:gd name="connsiteX5" fmla="*/ 181193 w 538955"/>
                <a:gd name="connsiteY5" fmla="*/ 464225 h 46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8955" h="464225">
                  <a:moveTo>
                    <a:pt x="0" y="0"/>
                  </a:moveTo>
                  <a:lnTo>
                    <a:pt x="74811" y="27894"/>
                  </a:lnTo>
                  <a:cubicBezTo>
                    <a:pt x="128988" y="51058"/>
                    <a:pt x="184782" y="79505"/>
                    <a:pt x="228447" y="100637"/>
                  </a:cubicBezTo>
                  <a:cubicBezTo>
                    <a:pt x="315778" y="142900"/>
                    <a:pt x="538955" y="237180"/>
                    <a:pt x="538955" y="272942"/>
                  </a:cubicBezTo>
                  <a:cubicBezTo>
                    <a:pt x="538955" y="311954"/>
                    <a:pt x="348122" y="389979"/>
                    <a:pt x="254323" y="432242"/>
                  </a:cubicBezTo>
                  <a:lnTo>
                    <a:pt x="181193" y="464225"/>
                  </a:ln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grpSp>
      <p:sp>
        <p:nvSpPr>
          <p:cNvPr id="473" name="Freeform: Shape 472">
            <a:extLst>
              <a:ext uri="{FF2B5EF4-FFF2-40B4-BE49-F238E27FC236}">
                <a16:creationId xmlns:a16="http://schemas.microsoft.com/office/drawing/2014/main" id="{CFE6F6A3-2CF4-4D91-AAB4-341618BEFD73}"/>
              </a:ext>
            </a:extLst>
          </p:cNvPr>
          <p:cNvSpPr>
            <a:spLocks/>
          </p:cNvSpPr>
          <p:nvPr/>
        </p:nvSpPr>
        <p:spPr bwMode="auto">
          <a:xfrm rot="1279283">
            <a:off x="2532324" y="4526689"/>
            <a:ext cx="1012301" cy="572183"/>
          </a:xfrm>
          <a:custGeom>
            <a:avLst/>
            <a:gdLst>
              <a:gd name="connsiteX0" fmla="*/ 338827 w 1012301"/>
              <a:gd name="connsiteY0" fmla="*/ 15595 h 572183"/>
              <a:gd name="connsiteX1" fmla="*/ 404223 w 1012301"/>
              <a:gd name="connsiteY1" fmla="*/ 0 h 572183"/>
              <a:gd name="connsiteX2" fmla="*/ 701793 w 1012301"/>
              <a:gd name="connsiteY2" fmla="*/ 113787 h 572183"/>
              <a:gd name="connsiteX3" fmla="*/ 1012301 w 1012301"/>
              <a:gd name="connsiteY3" fmla="*/ 286092 h 572183"/>
              <a:gd name="connsiteX4" fmla="*/ 727669 w 1012301"/>
              <a:gd name="connsiteY4" fmla="*/ 445392 h 572183"/>
              <a:gd name="connsiteX5" fmla="*/ 400989 w 1012301"/>
              <a:gd name="connsiteY5" fmla="*/ 572183 h 572183"/>
              <a:gd name="connsiteX6" fmla="*/ 216322 w 1012301"/>
              <a:gd name="connsiteY6" fmla="*/ 510464 h 572183"/>
              <a:gd name="connsiteX7" fmla="*/ 118709 w 1012301"/>
              <a:gd name="connsiteY7" fmla="*/ 467887 h 572183"/>
              <a:gd name="connsiteX8" fmla="*/ 0 w 1012301"/>
              <a:gd name="connsiteY8" fmla="*/ 163751 h 572183"/>
              <a:gd name="connsiteX9" fmla="*/ 32261 w 1012301"/>
              <a:gd name="connsiteY9" fmla="*/ 149548 h 572183"/>
              <a:gd name="connsiteX10" fmla="*/ 338827 w 1012301"/>
              <a:gd name="connsiteY10" fmla="*/ 15595 h 572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2301" h="572183">
                <a:moveTo>
                  <a:pt x="338827" y="15595"/>
                </a:moveTo>
                <a:cubicBezTo>
                  <a:pt x="366825" y="5893"/>
                  <a:pt x="389669" y="0"/>
                  <a:pt x="404223" y="0"/>
                </a:cubicBezTo>
                <a:cubicBezTo>
                  <a:pt x="478616" y="0"/>
                  <a:pt x="614463" y="71523"/>
                  <a:pt x="701793" y="113787"/>
                </a:cubicBezTo>
                <a:cubicBezTo>
                  <a:pt x="789124" y="156050"/>
                  <a:pt x="1012301" y="250330"/>
                  <a:pt x="1012301" y="286092"/>
                </a:cubicBezTo>
                <a:cubicBezTo>
                  <a:pt x="1012301" y="325104"/>
                  <a:pt x="821468" y="403129"/>
                  <a:pt x="727669" y="445392"/>
                </a:cubicBezTo>
                <a:cubicBezTo>
                  <a:pt x="633870" y="487656"/>
                  <a:pt x="433333" y="572183"/>
                  <a:pt x="400989" y="572183"/>
                </a:cubicBezTo>
                <a:cubicBezTo>
                  <a:pt x="376730" y="572183"/>
                  <a:pt x="319723" y="553896"/>
                  <a:pt x="216322" y="510464"/>
                </a:cubicBezTo>
                <a:lnTo>
                  <a:pt x="118709" y="467887"/>
                </a:lnTo>
                <a:lnTo>
                  <a:pt x="0" y="163751"/>
                </a:lnTo>
                <a:lnTo>
                  <a:pt x="32261" y="149548"/>
                </a:lnTo>
                <a:cubicBezTo>
                  <a:pt x="124443" y="108097"/>
                  <a:pt x="254832" y="44702"/>
                  <a:pt x="338827" y="15595"/>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74" name="Freeform 30">
            <a:extLst>
              <a:ext uri="{FF2B5EF4-FFF2-40B4-BE49-F238E27FC236}">
                <a16:creationId xmlns:a16="http://schemas.microsoft.com/office/drawing/2014/main" id="{6D46FCCD-61C3-4A06-900E-3AEDEF883099}"/>
              </a:ext>
            </a:extLst>
          </p:cNvPr>
          <p:cNvSpPr>
            <a:spLocks/>
          </p:cNvSpPr>
          <p:nvPr/>
        </p:nvSpPr>
        <p:spPr bwMode="auto">
          <a:xfrm rot="1731384">
            <a:off x="2621423" y="4516450"/>
            <a:ext cx="676648" cy="194786"/>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75" name="Freeform: Shape 474">
            <a:extLst>
              <a:ext uri="{FF2B5EF4-FFF2-40B4-BE49-F238E27FC236}">
                <a16:creationId xmlns:a16="http://schemas.microsoft.com/office/drawing/2014/main" id="{AAF5F84A-2058-4230-8895-6FF162D5965D}"/>
              </a:ext>
            </a:extLst>
          </p:cNvPr>
          <p:cNvSpPr>
            <a:spLocks/>
          </p:cNvSpPr>
          <p:nvPr/>
        </p:nvSpPr>
        <p:spPr bwMode="auto">
          <a:xfrm rot="1279283">
            <a:off x="2530440" y="4526334"/>
            <a:ext cx="1014253" cy="572183"/>
          </a:xfrm>
          <a:custGeom>
            <a:avLst/>
            <a:gdLst>
              <a:gd name="connsiteX0" fmla="*/ 340779 w 1014253"/>
              <a:gd name="connsiteY0" fmla="*/ 15595 h 572183"/>
              <a:gd name="connsiteX1" fmla="*/ 406175 w 1014253"/>
              <a:gd name="connsiteY1" fmla="*/ 0 h 572183"/>
              <a:gd name="connsiteX2" fmla="*/ 703745 w 1014253"/>
              <a:gd name="connsiteY2" fmla="*/ 113787 h 572183"/>
              <a:gd name="connsiteX3" fmla="*/ 1014253 w 1014253"/>
              <a:gd name="connsiteY3" fmla="*/ 286092 h 572183"/>
              <a:gd name="connsiteX4" fmla="*/ 729621 w 1014253"/>
              <a:gd name="connsiteY4" fmla="*/ 445392 h 572183"/>
              <a:gd name="connsiteX5" fmla="*/ 402941 w 1014253"/>
              <a:gd name="connsiteY5" fmla="*/ 572183 h 572183"/>
              <a:gd name="connsiteX6" fmla="*/ 218274 w 1014253"/>
              <a:gd name="connsiteY6" fmla="*/ 510464 h 572183"/>
              <a:gd name="connsiteX7" fmla="*/ 117904 w 1014253"/>
              <a:gd name="connsiteY7" fmla="*/ 466685 h 572183"/>
              <a:gd name="connsiteX8" fmla="*/ 0 w 1014253"/>
              <a:gd name="connsiteY8" fmla="*/ 164610 h 572183"/>
              <a:gd name="connsiteX9" fmla="*/ 34213 w 1014253"/>
              <a:gd name="connsiteY9" fmla="*/ 149548 h 572183"/>
              <a:gd name="connsiteX10" fmla="*/ 340779 w 1014253"/>
              <a:gd name="connsiteY10" fmla="*/ 15595 h 572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4253" h="572183">
                <a:moveTo>
                  <a:pt x="340779" y="15595"/>
                </a:moveTo>
                <a:cubicBezTo>
                  <a:pt x="368777" y="5893"/>
                  <a:pt x="391621" y="0"/>
                  <a:pt x="406175" y="0"/>
                </a:cubicBezTo>
                <a:cubicBezTo>
                  <a:pt x="480568" y="0"/>
                  <a:pt x="616415" y="71523"/>
                  <a:pt x="703745" y="113787"/>
                </a:cubicBezTo>
                <a:cubicBezTo>
                  <a:pt x="791076" y="156050"/>
                  <a:pt x="1014253" y="250330"/>
                  <a:pt x="1014253" y="286092"/>
                </a:cubicBezTo>
                <a:cubicBezTo>
                  <a:pt x="1014253" y="325104"/>
                  <a:pt x="823420" y="403129"/>
                  <a:pt x="729621" y="445392"/>
                </a:cubicBezTo>
                <a:cubicBezTo>
                  <a:pt x="635822" y="487656"/>
                  <a:pt x="435285" y="572183"/>
                  <a:pt x="402941" y="572183"/>
                </a:cubicBezTo>
                <a:cubicBezTo>
                  <a:pt x="378682" y="572183"/>
                  <a:pt x="321675" y="553896"/>
                  <a:pt x="218274" y="510464"/>
                </a:cubicBezTo>
                <a:lnTo>
                  <a:pt x="117904" y="466685"/>
                </a:lnTo>
                <a:lnTo>
                  <a:pt x="0" y="164610"/>
                </a:lnTo>
                <a:lnTo>
                  <a:pt x="34213" y="149548"/>
                </a:lnTo>
                <a:cubicBezTo>
                  <a:pt x="126395" y="108097"/>
                  <a:pt x="256784" y="44702"/>
                  <a:pt x="340779" y="15595"/>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grpSp>
        <p:nvGrpSpPr>
          <p:cNvPr id="476" name="Group 475">
            <a:extLst>
              <a:ext uri="{FF2B5EF4-FFF2-40B4-BE49-F238E27FC236}">
                <a16:creationId xmlns:a16="http://schemas.microsoft.com/office/drawing/2014/main" id="{0E8C99F8-19CD-4F35-B37B-457146EE9D6F}"/>
              </a:ext>
            </a:extLst>
          </p:cNvPr>
          <p:cNvGrpSpPr/>
          <p:nvPr/>
        </p:nvGrpSpPr>
        <p:grpSpPr>
          <a:xfrm>
            <a:off x="2814614" y="4718100"/>
            <a:ext cx="212614" cy="117199"/>
            <a:chOff x="2814614" y="5158709"/>
            <a:chExt cx="212614" cy="117199"/>
          </a:xfrm>
        </p:grpSpPr>
        <p:sp>
          <p:nvSpPr>
            <p:cNvPr id="477" name="Oval 25">
              <a:extLst>
                <a:ext uri="{FF2B5EF4-FFF2-40B4-BE49-F238E27FC236}">
                  <a16:creationId xmlns:a16="http://schemas.microsoft.com/office/drawing/2014/main" id="{69FF539C-F3E1-429F-A99F-3C0052668B8E}"/>
                </a:ext>
              </a:extLst>
            </p:cNvPr>
            <p:cNvSpPr>
              <a:spLocks noChangeArrowheads="1"/>
            </p:cNvSpPr>
            <p:nvPr/>
          </p:nvSpPr>
          <p:spPr bwMode="auto">
            <a:xfrm rot="1279283">
              <a:off x="2826692" y="5188254"/>
              <a:ext cx="200536" cy="87654"/>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78" name="Oval 26">
              <a:extLst>
                <a:ext uri="{FF2B5EF4-FFF2-40B4-BE49-F238E27FC236}">
                  <a16:creationId xmlns:a16="http://schemas.microsoft.com/office/drawing/2014/main" id="{5A733ECB-3729-4A92-B5E7-2DF85987B997}"/>
                </a:ext>
              </a:extLst>
            </p:cNvPr>
            <p:cNvSpPr>
              <a:spLocks noChangeArrowheads="1"/>
            </p:cNvSpPr>
            <p:nvPr/>
          </p:nvSpPr>
          <p:spPr bwMode="auto">
            <a:xfrm rot="1279283">
              <a:off x="2814614" y="5158709"/>
              <a:ext cx="200536" cy="87654"/>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79" name="Freeform 27">
              <a:extLst>
                <a:ext uri="{FF2B5EF4-FFF2-40B4-BE49-F238E27FC236}">
                  <a16:creationId xmlns:a16="http://schemas.microsoft.com/office/drawing/2014/main" id="{62301F82-D110-44E6-9852-F527E860ACEA}"/>
                </a:ext>
              </a:extLst>
            </p:cNvPr>
            <p:cNvSpPr>
              <a:spLocks/>
            </p:cNvSpPr>
            <p:nvPr/>
          </p:nvSpPr>
          <p:spPr bwMode="auto">
            <a:xfrm rot="1279283">
              <a:off x="2847686" y="5168587"/>
              <a:ext cx="165604" cy="84001"/>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80" name="Freeform 28">
              <a:extLst>
                <a:ext uri="{FF2B5EF4-FFF2-40B4-BE49-F238E27FC236}">
                  <a16:creationId xmlns:a16="http://schemas.microsoft.com/office/drawing/2014/main" id="{38674DE6-75F9-4BDD-8449-C68B452804FE}"/>
                </a:ext>
              </a:extLst>
            </p:cNvPr>
            <p:cNvSpPr>
              <a:spLocks/>
            </p:cNvSpPr>
            <p:nvPr/>
          </p:nvSpPr>
          <p:spPr bwMode="auto">
            <a:xfrm rot="1279283">
              <a:off x="2836012" y="5163953"/>
              <a:ext cx="148785" cy="6452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81" name="Oval 33">
              <a:extLst>
                <a:ext uri="{FF2B5EF4-FFF2-40B4-BE49-F238E27FC236}">
                  <a16:creationId xmlns:a16="http://schemas.microsoft.com/office/drawing/2014/main" id="{10947057-6537-4A18-BF9D-0544BD2D92BE}"/>
                </a:ext>
              </a:extLst>
            </p:cNvPr>
            <p:cNvSpPr>
              <a:spLocks noChangeArrowheads="1"/>
            </p:cNvSpPr>
            <p:nvPr/>
          </p:nvSpPr>
          <p:spPr bwMode="auto">
            <a:xfrm rot="1279283">
              <a:off x="2814614" y="5158709"/>
              <a:ext cx="200536" cy="87654"/>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482" name="Group 34">
            <a:extLst>
              <a:ext uri="{FF2B5EF4-FFF2-40B4-BE49-F238E27FC236}">
                <a16:creationId xmlns:a16="http://schemas.microsoft.com/office/drawing/2014/main" id="{72C5751D-10B7-49B6-BF43-2F8BA13458FF}"/>
              </a:ext>
            </a:extLst>
          </p:cNvPr>
          <p:cNvGrpSpPr>
            <a:grpSpLocks/>
          </p:cNvGrpSpPr>
          <p:nvPr/>
        </p:nvGrpSpPr>
        <p:grpSpPr bwMode="auto">
          <a:xfrm rot="1125415">
            <a:off x="2896629" y="5067998"/>
            <a:ext cx="1216155" cy="572183"/>
            <a:chOff x="3557" y="2640"/>
            <a:chExt cx="940" cy="470"/>
          </a:xfrm>
        </p:grpSpPr>
        <p:sp>
          <p:nvSpPr>
            <p:cNvPr id="483" name="Freeform 23">
              <a:extLst>
                <a:ext uri="{FF2B5EF4-FFF2-40B4-BE49-F238E27FC236}">
                  <a16:creationId xmlns:a16="http://schemas.microsoft.com/office/drawing/2014/main" id="{771E412C-8AD6-4496-97EB-86CE56B02F30}"/>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84" name="Oval 25">
              <a:extLst>
                <a:ext uri="{FF2B5EF4-FFF2-40B4-BE49-F238E27FC236}">
                  <a16:creationId xmlns:a16="http://schemas.microsoft.com/office/drawing/2014/main" id="{9EC26A2B-61C0-4C3C-A144-C53F81EB1B1E}"/>
                </a:ext>
              </a:extLst>
            </p:cNvPr>
            <p:cNvSpPr>
              <a:spLocks noChangeArrowheads="1"/>
            </p:cNvSpPr>
            <p:nvPr/>
          </p:nvSpPr>
          <p:spPr bwMode="auto">
            <a:xfrm>
              <a:off x="3942" y="2856"/>
              <a:ext cx="155" cy="72"/>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85" name="Oval 26">
              <a:extLst>
                <a:ext uri="{FF2B5EF4-FFF2-40B4-BE49-F238E27FC236}">
                  <a16:creationId xmlns:a16="http://schemas.microsoft.com/office/drawing/2014/main" id="{6615E628-5354-43C2-AD05-58C2DC74D237}"/>
                </a:ext>
              </a:extLst>
            </p:cNvPr>
            <p:cNvSpPr>
              <a:spLocks noChangeArrowheads="1"/>
            </p:cNvSpPr>
            <p:nvPr/>
          </p:nvSpPr>
          <p:spPr bwMode="auto">
            <a:xfrm>
              <a:off x="3925" y="2837"/>
              <a:ext cx="155" cy="72"/>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86" name="Freeform 27">
              <a:extLst>
                <a:ext uri="{FF2B5EF4-FFF2-40B4-BE49-F238E27FC236}">
                  <a16:creationId xmlns:a16="http://schemas.microsoft.com/office/drawing/2014/main" id="{11CC5BFE-34DD-4E37-8C0B-514827CAC654}"/>
                </a:ext>
              </a:extLst>
            </p:cNvPr>
            <p:cNvSpPr>
              <a:spLocks/>
            </p:cNvSpPr>
            <p:nvPr/>
          </p:nvSpPr>
          <p:spPr bwMode="auto">
            <a:xfrm>
              <a:off x="3952" y="2840"/>
              <a:ext cx="128" cy="69"/>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87" name="Freeform 28">
              <a:extLst>
                <a:ext uri="{FF2B5EF4-FFF2-40B4-BE49-F238E27FC236}">
                  <a16:creationId xmlns:a16="http://schemas.microsoft.com/office/drawing/2014/main" id="{CAC2FE58-E7C3-4C6F-B114-5AC832E353FA}"/>
                </a:ext>
              </a:extLst>
            </p:cNvPr>
            <p:cNvSpPr>
              <a:spLocks/>
            </p:cNvSpPr>
            <p:nvPr/>
          </p:nvSpPr>
          <p:spPr bwMode="auto">
            <a:xfrm>
              <a:off x="3940" y="2843"/>
              <a:ext cx="115" cy="5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88" name="Freeform 30">
              <a:extLst>
                <a:ext uri="{FF2B5EF4-FFF2-40B4-BE49-F238E27FC236}">
                  <a16:creationId xmlns:a16="http://schemas.microsoft.com/office/drawing/2014/main" id="{C905FD69-BE1F-418B-A795-85F468F47427}"/>
                </a:ext>
              </a:extLst>
            </p:cNvPr>
            <p:cNvSpPr>
              <a:spLocks/>
            </p:cNvSpPr>
            <p:nvPr/>
          </p:nvSpPr>
          <p:spPr bwMode="auto">
            <a:xfrm>
              <a:off x="3672" y="2659"/>
              <a:ext cx="523" cy="160"/>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89" name="Freeform 32">
              <a:extLst>
                <a:ext uri="{FF2B5EF4-FFF2-40B4-BE49-F238E27FC236}">
                  <a16:creationId xmlns:a16="http://schemas.microsoft.com/office/drawing/2014/main" id="{D070F4B3-36D0-4B1D-B6F4-47E18B8EC5BF}"/>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90" name="Oval 33">
              <a:extLst>
                <a:ext uri="{FF2B5EF4-FFF2-40B4-BE49-F238E27FC236}">
                  <a16:creationId xmlns:a16="http://schemas.microsoft.com/office/drawing/2014/main" id="{08F11819-3672-4EBD-90D5-0D9C67148AB9}"/>
                </a:ext>
              </a:extLst>
            </p:cNvPr>
            <p:cNvSpPr>
              <a:spLocks noChangeArrowheads="1"/>
            </p:cNvSpPr>
            <p:nvPr/>
          </p:nvSpPr>
          <p:spPr bwMode="auto">
            <a:xfrm>
              <a:off x="3925" y="2837"/>
              <a:ext cx="155" cy="72"/>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491" name="Group 490">
            <a:extLst>
              <a:ext uri="{FF2B5EF4-FFF2-40B4-BE49-F238E27FC236}">
                <a16:creationId xmlns:a16="http://schemas.microsoft.com/office/drawing/2014/main" id="{AE59DFFC-74E5-417A-B131-ED572DAC04DE}"/>
              </a:ext>
            </a:extLst>
          </p:cNvPr>
          <p:cNvGrpSpPr/>
          <p:nvPr/>
        </p:nvGrpSpPr>
        <p:grpSpPr>
          <a:xfrm>
            <a:off x="2534400" y="5257211"/>
            <a:ext cx="783537" cy="473633"/>
            <a:chOff x="2534400" y="5693058"/>
            <a:chExt cx="783537" cy="473633"/>
          </a:xfrm>
        </p:grpSpPr>
        <p:sp>
          <p:nvSpPr>
            <p:cNvPr id="492" name="Freeform: Shape 491">
              <a:extLst>
                <a:ext uri="{FF2B5EF4-FFF2-40B4-BE49-F238E27FC236}">
                  <a16:creationId xmlns:a16="http://schemas.microsoft.com/office/drawing/2014/main" id="{C9678973-EA6F-43CA-932F-2E85E6BC3823}"/>
                </a:ext>
              </a:extLst>
            </p:cNvPr>
            <p:cNvSpPr>
              <a:spLocks/>
            </p:cNvSpPr>
            <p:nvPr/>
          </p:nvSpPr>
          <p:spPr bwMode="auto">
            <a:xfrm rot="1125415">
              <a:off x="2534400" y="5693323"/>
              <a:ext cx="783537" cy="473368"/>
            </a:xfrm>
            <a:custGeom>
              <a:avLst/>
              <a:gdLst>
                <a:gd name="connsiteX0" fmla="*/ 142031 w 783537"/>
                <a:gd name="connsiteY0" fmla="*/ 15595 h 473368"/>
                <a:gd name="connsiteX1" fmla="*/ 207427 w 783537"/>
                <a:gd name="connsiteY1" fmla="*/ 0 h 473368"/>
                <a:gd name="connsiteX2" fmla="*/ 504997 w 783537"/>
                <a:gd name="connsiteY2" fmla="*/ 113786 h 473368"/>
                <a:gd name="connsiteX3" fmla="*/ 779269 w 783537"/>
                <a:gd name="connsiteY3" fmla="*/ 250025 h 473368"/>
                <a:gd name="connsiteX4" fmla="*/ 783537 w 783537"/>
                <a:gd name="connsiteY4" fmla="*/ 253271 h 473368"/>
                <a:gd name="connsiteX5" fmla="*/ 135409 w 783537"/>
                <a:gd name="connsiteY5" fmla="*/ 473368 h 473368"/>
                <a:gd name="connsiteX6" fmla="*/ 0 w 783537"/>
                <a:gd name="connsiteY6" fmla="*/ 74621 h 473368"/>
                <a:gd name="connsiteX7" fmla="*/ 45705 w 783537"/>
                <a:gd name="connsiteY7" fmla="*/ 54049 h 473368"/>
                <a:gd name="connsiteX8" fmla="*/ 142031 w 783537"/>
                <a:gd name="connsiteY8" fmla="*/ 15595 h 47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3537" h="473368">
                  <a:moveTo>
                    <a:pt x="142031" y="15595"/>
                  </a:moveTo>
                  <a:cubicBezTo>
                    <a:pt x="170029" y="5893"/>
                    <a:pt x="192873" y="0"/>
                    <a:pt x="207427" y="0"/>
                  </a:cubicBezTo>
                  <a:cubicBezTo>
                    <a:pt x="281820" y="0"/>
                    <a:pt x="417667" y="71523"/>
                    <a:pt x="504997" y="113786"/>
                  </a:cubicBezTo>
                  <a:cubicBezTo>
                    <a:pt x="570495" y="145484"/>
                    <a:pt x="712407" y="206441"/>
                    <a:pt x="779269" y="250025"/>
                  </a:cubicBezTo>
                  <a:lnTo>
                    <a:pt x="783537" y="253271"/>
                  </a:lnTo>
                  <a:lnTo>
                    <a:pt x="135409" y="473368"/>
                  </a:lnTo>
                  <a:lnTo>
                    <a:pt x="0" y="74621"/>
                  </a:lnTo>
                  <a:lnTo>
                    <a:pt x="45705" y="54049"/>
                  </a:lnTo>
                  <a:cubicBezTo>
                    <a:pt x="80879" y="38809"/>
                    <a:pt x="114032" y="25297"/>
                    <a:pt x="142031" y="15595"/>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93" name="Oval 25">
              <a:extLst>
                <a:ext uri="{FF2B5EF4-FFF2-40B4-BE49-F238E27FC236}">
                  <a16:creationId xmlns:a16="http://schemas.microsoft.com/office/drawing/2014/main" id="{0E9785B2-ADDE-4C1C-A497-5E373894251D}"/>
                </a:ext>
              </a:extLst>
            </p:cNvPr>
            <p:cNvSpPr>
              <a:spLocks noChangeArrowheads="1"/>
            </p:cNvSpPr>
            <p:nvPr/>
          </p:nvSpPr>
          <p:spPr bwMode="auto">
            <a:xfrm rot="1125415">
              <a:off x="2619620" y="5890163"/>
              <a:ext cx="200536" cy="87654"/>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94" name="Oval 26">
              <a:extLst>
                <a:ext uri="{FF2B5EF4-FFF2-40B4-BE49-F238E27FC236}">
                  <a16:creationId xmlns:a16="http://schemas.microsoft.com/office/drawing/2014/main" id="{A9093F36-3437-4E55-95B3-31E2575928B5}"/>
                </a:ext>
              </a:extLst>
            </p:cNvPr>
            <p:cNvSpPr>
              <a:spLocks noChangeArrowheads="1"/>
            </p:cNvSpPr>
            <p:nvPr/>
          </p:nvSpPr>
          <p:spPr bwMode="auto">
            <a:xfrm rot="1125415">
              <a:off x="2606232" y="5861189"/>
              <a:ext cx="200536" cy="87654"/>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95" name="Freeform 27">
              <a:extLst>
                <a:ext uri="{FF2B5EF4-FFF2-40B4-BE49-F238E27FC236}">
                  <a16:creationId xmlns:a16="http://schemas.microsoft.com/office/drawing/2014/main" id="{873467B9-7B57-411E-A915-C2FAFBCD7D8F}"/>
                </a:ext>
              </a:extLst>
            </p:cNvPr>
            <p:cNvSpPr>
              <a:spLocks/>
            </p:cNvSpPr>
            <p:nvPr/>
          </p:nvSpPr>
          <p:spPr bwMode="auto">
            <a:xfrm rot="1125415">
              <a:off x="2639649" y="5870360"/>
              <a:ext cx="165604" cy="84001"/>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96" name="Freeform 28">
              <a:extLst>
                <a:ext uri="{FF2B5EF4-FFF2-40B4-BE49-F238E27FC236}">
                  <a16:creationId xmlns:a16="http://schemas.microsoft.com/office/drawing/2014/main" id="{F63EB3D6-4416-4950-91F1-15D0692A51AB}"/>
                </a:ext>
              </a:extLst>
            </p:cNvPr>
            <p:cNvSpPr>
              <a:spLocks/>
            </p:cNvSpPr>
            <p:nvPr/>
          </p:nvSpPr>
          <p:spPr bwMode="auto">
            <a:xfrm rot="1125415">
              <a:off x="2627352" y="5866639"/>
              <a:ext cx="148785" cy="6452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97" name="Freeform: Shape 496">
              <a:extLst>
                <a:ext uri="{FF2B5EF4-FFF2-40B4-BE49-F238E27FC236}">
                  <a16:creationId xmlns:a16="http://schemas.microsoft.com/office/drawing/2014/main" id="{CF9187CB-065A-49B7-86A7-42D8FA8D1330}"/>
                </a:ext>
              </a:extLst>
            </p:cNvPr>
            <p:cNvSpPr>
              <a:spLocks/>
            </p:cNvSpPr>
            <p:nvPr/>
          </p:nvSpPr>
          <p:spPr bwMode="auto">
            <a:xfrm rot="1125415">
              <a:off x="2536295" y="5693058"/>
              <a:ext cx="778834" cy="469498"/>
            </a:xfrm>
            <a:custGeom>
              <a:avLst/>
              <a:gdLst>
                <a:gd name="connsiteX0" fmla="*/ 140820 w 778834"/>
                <a:gd name="connsiteY0" fmla="*/ 15595 h 469498"/>
                <a:gd name="connsiteX1" fmla="*/ 206216 w 778834"/>
                <a:gd name="connsiteY1" fmla="*/ 0 h 469498"/>
                <a:gd name="connsiteX2" fmla="*/ 503786 w 778834"/>
                <a:gd name="connsiteY2" fmla="*/ 113786 h 469498"/>
                <a:gd name="connsiteX3" fmla="*/ 778058 w 778834"/>
                <a:gd name="connsiteY3" fmla="*/ 250025 h 469498"/>
                <a:gd name="connsiteX4" fmla="*/ 778834 w 778834"/>
                <a:gd name="connsiteY4" fmla="*/ 250615 h 469498"/>
                <a:gd name="connsiteX5" fmla="*/ 134281 w 778834"/>
                <a:gd name="connsiteY5" fmla="*/ 469498 h 469498"/>
                <a:gd name="connsiteX6" fmla="*/ 0 w 778834"/>
                <a:gd name="connsiteY6" fmla="*/ 74075 h 469498"/>
                <a:gd name="connsiteX7" fmla="*/ 44494 w 778834"/>
                <a:gd name="connsiteY7" fmla="*/ 54049 h 469498"/>
                <a:gd name="connsiteX8" fmla="*/ 140820 w 778834"/>
                <a:gd name="connsiteY8" fmla="*/ 15595 h 469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8834" h="469498">
                  <a:moveTo>
                    <a:pt x="140820" y="15595"/>
                  </a:moveTo>
                  <a:cubicBezTo>
                    <a:pt x="168818" y="5893"/>
                    <a:pt x="191662" y="0"/>
                    <a:pt x="206216" y="0"/>
                  </a:cubicBezTo>
                  <a:cubicBezTo>
                    <a:pt x="280609" y="0"/>
                    <a:pt x="416456" y="71523"/>
                    <a:pt x="503786" y="113786"/>
                  </a:cubicBezTo>
                  <a:cubicBezTo>
                    <a:pt x="569284" y="145484"/>
                    <a:pt x="711196" y="206441"/>
                    <a:pt x="778058" y="250025"/>
                  </a:cubicBezTo>
                  <a:lnTo>
                    <a:pt x="778834" y="250615"/>
                  </a:lnTo>
                  <a:lnTo>
                    <a:pt x="134281" y="469498"/>
                  </a:lnTo>
                  <a:lnTo>
                    <a:pt x="0" y="74075"/>
                  </a:lnTo>
                  <a:lnTo>
                    <a:pt x="44494" y="54049"/>
                  </a:lnTo>
                  <a:cubicBezTo>
                    <a:pt x="79668" y="38809"/>
                    <a:pt x="112821" y="25297"/>
                    <a:pt x="140820" y="15595"/>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98" name="Oval 33">
              <a:extLst>
                <a:ext uri="{FF2B5EF4-FFF2-40B4-BE49-F238E27FC236}">
                  <a16:creationId xmlns:a16="http://schemas.microsoft.com/office/drawing/2014/main" id="{15B207E2-EC51-431B-A281-27FCB74C0138}"/>
                </a:ext>
              </a:extLst>
            </p:cNvPr>
            <p:cNvSpPr>
              <a:spLocks noChangeArrowheads="1"/>
            </p:cNvSpPr>
            <p:nvPr/>
          </p:nvSpPr>
          <p:spPr bwMode="auto">
            <a:xfrm rot="1125415">
              <a:off x="2606232" y="5861189"/>
              <a:ext cx="200536" cy="87654"/>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499" name="Group 498">
            <a:extLst>
              <a:ext uri="{FF2B5EF4-FFF2-40B4-BE49-F238E27FC236}">
                <a16:creationId xmlns:a16="http://schemas.microsoft.com/office/drawing/2014/main" id="{BA941B69-6B26-437C-B6B4-70F2F5E6240A}"/>
              </a:ext>
            </a:extLst>
          </p:cNvPr>
          <p:cNvGrpSpPr/>
          <p:nvPr/>
        </p:nvGrpSpPr>
        <p:grpSpPr>
          <a:xfrm>
            <a:off x="4193539" y="5366386"/>
            <a:ext cx="967427" cy="370498"/>
            <a:chOff x="4193539" y="5806995"/>
            <a:chExt cx="967427" cy="370498"/>
          </a:xfrm>
        </p:grpSpPr>
        <p:sp>
          <p:nvSpPr>
            <p:cNvPr id="500" name="Freeform: Shape 499">
              <a:extLst>
                <a:ext uri="{FF2B5EF4-FFF2-40B4-BE49-F238E27FC236}">
                  <a16:creationId xmlns:a16="http://schemas.microsoft.com/office/drawing/2014/main" id="{9EDDC926-8E54-4B40-94EA-17FAB508B77E}"/>
                </a:ext>
              </a:extLst>
            </p:cNvPr>
            <p:cNvSpPr>
              <a:spLocks/>
            </p:cNvSpPr>
            <p:nvPr/>
          </p:nvSpPr>
          <p:spPr bwMode="auto">
            <a:xfrm rot="888235">
              <a:off x="4193539" y="5807445"/>
              <a:ext cx="967427" cy="370048"/>
            </a:xfrm>
            <a:custGeom>
              <a:avLst/>
              <a:gdLst>
                <a:gd name="connsiteX0" fmla="*/ 580420 w 967427"/>
                <a:gd name="connsiteY0" fmla="*/ 4159 h 370048"/>
                <a:gd name="connsiteX1" fmla="*/ 608078 w 967427"/>
                <a:gd name="connsiteY1" fmla="*/ 0 h 370048"/>
                <a:gd name="connsiteX2" fmla="*/ 905648 w 967427"/>
                <a:gd name="connsiteY2" fmla="*/ 113786 h 370048"/>
                <a:gd name="connsiteX3" fmla="*/ 944063 w 967427"/>
                <a:gd name="connsiteY3" fmla="*/ 131858 h 370048"/>
                <a:gd name="connsiteX4" fmla="*/ 967427 w 967427"/>
                <a:gd name="connsiteY4" fmla="*/ 142634 h 370048"/>
                <a:gd name="connsiteX5" fmla="*/ 106936 w 967427"/>
                <a:gd name="connsiteY5" fmla="*/ 370048 h 370048"/>
                <a:gd name="connsiteX6" fmla="*/ 84904 w 967427"/>
                <a:gd name="connsiteY6" fmla="*/ 359647 h 370048"/>
                <a:gd name="connsiteX7" fmla="*/ 0 w 967427"/>
                <a:gd name="connsiteY7" fmla="*/ 292594 h 370048"/>
                <a:gd name="connsiteX8" fmla="*/ 236115 w 967427"/>
                <a:gd name="connsiteY8" fmla="*/ 149548 h 370048"/>
                <a:gd name="connsiteX9" fmla="*/ 580420 w 967427"/>
                <a:gd name="connsiteY9" fmla="*/ 4159 h 370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7427" h="370048">
                  <a:moveTo>
                    <a:pt x="580420" y="4159"/>
                  </a:moveTo>
                  <a:cubicBezTo>
                    <a:pt x="591451" y="1473"/>
                    <a:pt x="600800" y="0"/>
                    <a:pt x="608078" y="0"/>
                  </a:cubicBezTo>
                  <a:cubicBezTo>
                    <a:pt x="682470" y="0"/>
                    <a:pt x="818317" y="71523"/>
                    <a:pt x="905648" y="113786"/>
                  </a:cubicBezTo>
                  <a:cubicBezTo>
                    <a:pt x="916564" y="119069"/>
                    <a:pt x="929603" y="125165"/>
                    <a:pt x="944063" y="131858"/>
                  </a:cubicBezTo>
                  <a:lnTo>
                    <a:pt x="967427" y="142634"/>
                  </a:lnTo>
                  <a:lnTo>
                    <a:pt x="106936" y="370048"/>
                  </a:lnTo>
                  <a:lnTo>
                    <a:pt x="84904" y="359647"/>
                  </a:lnTo>
                  <a:cubicBezTo>
                    <a:pt x="31536" y="332419"/>
                    <a:pt x="0" y="310474"/>
                    <a:pt x="0" y="292594"/>
                  </a:cubicBezTo>
                  <a:cubicBezTo>
                    <a:pt x="0" y="253581"/>
                    <a:pt x="129378" y="195062"/>
                    <a:pt x="236115" y="149548"/>
                  </a:cubicBezTo>
                  <a:cubicBezTo>
                    <a:pt x="343661" y="101188"/>
                    <a:pt x="503210" y="22960"/>
                    <a:pt x="580420" y="4159"/>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501" name="Freeform 30">
              <a:extLst>
                <a:ext uri="{FF2B5EF4-FFF2-40B4-BE49-F238E27FC236}">
                  <a16:creationId xmlns:a16="http://schemas.microsoft.com/office/drawing/2014/main" id="{5548D558-DAF4-412D-8438-6EB4144F9EA3}"/>
                </a:ext>
              </a:extLst>
            </p:cNvPr>
            <p:cNvSpPr>
              <a:spLocks/>
            </p:cNvSpPr>
            <p:nvPr/>
          </p:nvSpPr>
          <p:spPr bwMode="auto">
            <a:xfrm rot="888235">
              <a:off x="4358692" y="5833585"/>
              <a:ext cx="676648" cy="194786"/>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502" name="Freeform: Shape 501">
              <a:extLst>
                <a:ext uri="{FF2B5EF4-FFF2-40B4-BE49-F238E27FC236}">
                  <a16:creationId xmlns:a16="http://schemas.microsoft.com/office/drawing/2014/main" id="{85425076-DBFD-4990-AC53-C95C3FC91122}"/>
                </a:ext>
              </a:extLst>
            </p:cNvPr>
            <p:cNvSpPr>
              <a:spLocks/>
            </p:cNvSpPr>
            <p:nvPr/>
          </p:nvSpPr>
          <p:spPr bwMode="auto">
            <a:xfrm rot="888235">
              <a:off x="4193824" y="5806995"/>
              <a:ext cx="963676" cy="368304"/>
            </a:xfrm>
            <a:custGeom>
              <a:avLst/>
              <a:gdLst>
                <a:gd name="connsiteX0" fmla="*/ 580420 w 963676"/>
                <a:gd name="connsiteY0" fmla="*/ 4159 h 368304"/>
                <a:gd name="connsiteX1" fmla="*/ 608078 w 963676"/>
                <a:gd name="connsiteY1" fmla="*/ 0 h 368304"/>
                <a:gd name="connsiteX2" fmla="*/ 905648 w 963676"/>
                <a:gd name="connsiteY2" fmla="*/ 113786 h 368304"/>
                <a:gd name="connsiteX3" fmla="*/ 944063 w 963676"/>
                <a:gd name="connsiteY3" fmla="*/ 131858 h 368304"/>
                <a:gd name="connsiteX4" fmla="*/ 963676 w 963676"/>
                <a:gd name="connsiteY4" fmla="*/ 140904 h 368304"/>
                <a:gd name="connsiteX5" fmla="*/ 103241 w 963676"/>
                <a:gd name="connsiteY5" fmla="*/ 368304 h 368304"/>
                <a:gd name="connsiteX6" fmla="*/ 84904 w 963676"/>
                <a:gd name="connsiteY6" fmla="*/ 359647 h 368304"/>
                <a:gd name="connsiteX7" fmla="*/ 0 w 963676"/>
                <a:gd name="connsiteY7" fmla="*/ 292594 h 368304"/>
                <a:gd name="connsiteX8" fmla="*/ 236115 w 963676"/>
                <a:gd name="connsiteY8" fmla="*/ 149548 h 368304"/>
                <a:gd name="connsiteX9" fmla="*/ 580420 w 963676"/>
                <a:gd name="connsiteY9" fmla="*/ 4159 h 36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3676" h="368304">
                  <a:moveTo>
                    <a:pt x="580420" y="4159"/>
                  </a:moveTo>
                  <a:cubicBezTo>
                    <a:pt x="591451" y="1473"/>
                    <a:pt x="600800" y="0"/>
                    <a:pt x="608078" y="0"/>
                  </a:cubicBezTo>
                  <a:cubicBezTo>
                    <a:pt x="682470" y="0"/>
                    <a:pt x="818317" y="71523"/>
                    <a:pt x="905648" y="113786"/>
                  </a:cubicBezTo>
                  <a:cubicBezTo>
                    <a:pt x="916564" y="119069"/>
                    <a:pt x="929603" y="125165"/>
                    <a:pt x="944063" y="131858"/>
                  </a:cubicBezTo>
                  <a:lnTo>
                    <a:pt x="963676" y="140904"/>
                  </a:lnTo>
                  <a:lnTo>
                    <a:pt x="103241" y="368304"/>
                  </a:lnTo>
                  <a:lnTo>
                    <a:pt x="84904" y="359647"/>
                  </a:lnTo>
                  <a:cubicBezTo>
                    <a:pt x="31536" y="332419"/>
                    <a:pt x="0" y="310474"/>
                    <a:pt x="0" y="292594"/>
                  </a:cubicBezTo>
                  <a:cubicBezTo>
                    <a:pt x="0" y="253581"/>
                    <a:pt x="129378" y="195062"/>
                    <a:pt x="236115" y="149548"/>
                  </a:cubicBezTo>
                  <a:cubicBezTo>
                    <a:pt x="343661" y="101188"/>
                    <a:pt x="503210" y="22960"/>
                    <a:pt x="580420" y="4159"/>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grpSp>
      <p:sp>
        <p:nvSpPr>
          <p:cNvPr id="503" name="TextBox 502">
            <a:extLst>
              <a:ext uri="{FF2B5EF4-FFF2-40B4-BE49-F238E27FC236}">
                <a16:creationId xmlns:a16="http://schemas.microsoft.com/office/drawing/2014/main" id="{27C02C55-3589-4321-8E85-DB4DB6371848}"/>
              </a:ext>
            </a:extLst>
          </p:cNvPr>
          <p:cNvSpPr txBox="1"/>
          <p:nvPr/>
        </p:nvSpPr>
        <p:spPr>
          <a:xfrm>
            <a:off x="3684115" y="1634624"/>
            <a:ext cx="1177200" cy="461665"/>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Endothelin pathway</a:t>
            </a:r>
          </a:p>
        </p:txBody>
      </p:sp>
      <p:sp>
        <p:nvSpPr>
          <p:cNvPr id="504" name="TextBox 503">
            <a:extLst>
              <a:ext uri="{FF2B5EF4-FFF2-40B4-BE49-F238E27FC236}">
                <a16:creationId xmlns:a16="http://schemas.microsoft.com/office/drawing/2014/main" id="{2C05D4BC-FF6B-4658-A4D7-20F665090056}"/>
              </a:ext>
            </a:extLst>
          </p:cNvPr>
          <p:cNvSpPr txBox="1"/>
          <p:nvPr/>
        </p:nvSpPr>
        <p:spPr>
          <a:xfrm>
            <a:off x="6776239" y="2239261"/>
            <a:ext cx="1177402" cy="461665"/>
          </a:xfrm>
          <a:prstGeom prst="rect">
            <a:avLst/>
          </a:prstGeom>
          <a:noFill/>
        </p:spPr>
        <p:txBody>
          <a:bodyPr wrap="square" lIns="0" r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1" i="0" u="none" strike="noStrike" cap="none" spc="0" normalizeH="0" baseline="0">
                <a:ln>
                  <a:noFill/>
                </a:ln>
                <a:solidFill>
                  <a:schemeClr val="bg1"/>
                </a:solidFill>
                <a:effectLst/>
                <a:uLnTx/>
                <a:uFillTx/>
                <a:latin typeface="Verdana" panose="020B0604030504040204" pitchFamily="34" charset="0"/>
                <a:ea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Nitric oxid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pathway</a:t>
            </a:r>
          </a:p>
        </p:txBody>
      </p:sp>
      <p:sp>
        <p:nvSpPr>
          <p:cNvPr id="505" name="TextBox 504">
            <a:extLst>
              <a:ext uri="{FF2B5EF4-FFF2-40B4-BE49-F238E27FC236}">
                <a16:creationId xmlns:a16="http://schemas.microsoft.com/office/drawing/2014/main" id="{0513B895-957A-4225-BDAD-49D3DB295E42}"/>
              </a:ext>
            </a:extLst>
          </p:cNvPr>
          <p:cNvSpPr txBox="1"/>
          <p:nvPr/>
        </p:nvSpPr>
        <p:spPr>
          <a:xfrm>
            <a:off x="9754875" y="2373863"/>
            <a:ext cx="1177200" cy="461665"/>
          </a:xfrm>
          <a:prstGeom prst="rect">
            <a:avLst/>
          </a:prstGeom>
          <a:noFill/>
        </p:spPr>
        <p:txBody>
          <a:bodyPr wrap="square" lIns="0" r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1" i="0" u="none" strike="noStrike" cap="none" spc="0" normalizeH="0" baseline="0">
                <a:ln>
                  <a:noFill/>
                </a:ln>
                <a:solidFill>
                  <a:schemeClr val="bg1"/>
                </a:solidFill>
                <a:effectLst/>
                <a:uLnTx/>
                <a:uFillTx/>
                <a:latin typeface="Verdana" panose="020B0604030504040204" pitchFamily="34" charset="0"/>
                <a:ea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Prostacycli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pathway</a:t>
            </a:r>
          </a:p>
        </p:txBody>
      </p:sp>
      <p:sp>
        <p:nvSpPr>
          <p:cNvPr id="506" name="Oval 505">
            <a:extLst>
              <a:ext uri="{FF2B5EF4-FFF2-40B4-BE49-F238E27FC236}">
                <a16:creationId xmlns:a16="http://schemas.microsoft.com/office/drawing/2014/main" id="{C8C33C97-E8A3-4439-A71D-60684CF8CFEE}"/>
              </a:ext>
            </a:extLst>
          </p:cNvPr>
          <p:cNvSpPr/>
          <p:nvPr/>
        </p:nvSpPr>
        <p:spPr bwMode="auto">
          <a:xfrm>
            <a:off x="3843518" y="2137733"/>
            <a:ext cx="169210" cy="160796"/>
          </a:xfrm>
          <a:prstGeom prst="ellipse">
            <a:avLst/>
          </a:prstGeom>
          <a:solidFill>
            <a:srgbClr val="FFC0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07" name="Oval 506">
            <a:extLst>
              <a:ext uri="{FF2B5EF4-FFF2-40B4-BE49-F238E27FC236}">
                <a16:creationId xmlns:a16="http://schemas.microsoft.com/office/drawing/2014/main" id="{368B2EB7-041F-46AA-85B3-E0C8ABF7CADE}"/>
              </a:ext>
            </a:extLst>
          </p:cNvPr>
          <p:cNvSpPr/>
          <p:nvPr/>
        </p:nvSpPr>
        <p:spPr bwMode="auto">
          <a:xfrm>
            <a:off x="3770550" y="2394636"/>
            <a:ext cx="169210" cy="160796"/>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08" name="Oval 507">
            <a:extLst>
              <a:ext uri="{FF2B5EF4-FFF2-40B4-BE49-F238E27FC236}">
                <a16:creationId xmlns:a16="http://schemas.microsoft.com/office/drawing/2014/main" id="{BF43C155-4206-4639-95F3-8CD52198B576}"/>
              </a:ext>
            </a:extLst>
          </p:cNvPr>
          <p:cNvSpPr/>
          <p:nvPr/>
        </p:nvSpPr>
        <p:spPr bwMode="auto">
          <a:xfrm>
            <a:off x="3404258" y="2860070"/>
            <a:ext cx="169210" cy="160796"/>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09" name="Oval 508">
            <a:extLst>
              <a:ext uri="{FF2B5EF4-FFF2-40B4-BE49-F238E27FC236}">
                <a16:creationId xmlns:a16="http://schemas.microsoft.com/office/drawing/2014/main" id="{D6D829A4-FF03-45C7-83BE-6C62722BF1BD}"/>
              </a:ext>
            </a:extLst>
          </p:cNvPr>
          <p:cNvSpPr/>
          <p:nvPr/>
        </p:nvSpPr>
        <p:spPr bwMode="auto">
          <a:xfrm>
            <a:off x="3960450" y="2694375"/>
            <a:ext cx="169210" cy="160796"/>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10" name="Oval 509">
            <a:extLst>
              <a:ext uri="{FF2B5EF4-FFF2-40B4-BE49-F238E27FC236}">
                <a16:creationId xmlns:a16="http://schemas.microsoft.com/office/drawing/2014/main" id="{B58D7C0C-00E9-487A-92CB-E529F43458E9}"/>
              </a:ext>
            </a:extLst>
          </p:cNvPr>
          <p:cNvSpPr/>
          <p:nvPr/>
        </p:nvSpPr>
        <p:spPr bwMode="auto">
          <a:xfrm>
            <a:off x="4409688" y="2840449"/>
            <a:ext cx="169210" cy="160796"/>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11" name="Rectangle 510">
            <a:extLst>
              <a:ext uri="{FF2B5EF4-FFF2-40B4-BE49-F238E27FC236}">
                <a16:creationId xmlns:a16="http://schemas.microsoft.com/office/drawing/2014/main" id="{7DCBCEAD-3541-4D94-B6C6-1C26C303DF07}"/>
              </a:ext>
            </a:extLst>
          </p:cNvPr>
          <p:cNvSpPr/>
          <p:nvPr/>
        </p:nvSpPr>
        <p:spPr>
          <a:xfrm>
            <a:off x="3682535" y="3953523"/>
            <a:ext cx="356187"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12700" cmpd="sng">
                  <a:solidFill>
                    <a:srgbClr val="349941"/>
                  </a:solidFill>
                  <a:prstDash val="solid"/>
                </a:ln>
                <a:solidFill>
                  <a:srgbClr val="FFFFFF"/>
                </a:solidFill>
                <a:effectLst/>
                <a:uLnTx/>
                <a:uFillTx/>
                <a:latin typeface="Arial"/>
                <a:ea typeface="ヒラギノ角ゴ ProN W3"/>
                <a:cs typeface="+mn-cs"/>
              </a:rPr>
              <a:t>Y</a:t>
            </a:r>
          </a:p>
        </p:txBody>
      </p:sp>
      <p:sp>
        <p:nvSpPr>
          <p:cNvPr id="512" name="Rectangle 511">
            <a:extLst>
              <a:ext uri="{FF2B5EF4-FFF2-40B4-BE49-F238E27FC236}">
                <a16:creationId xmlns:a16="http://schemas.microsoft.com/office/drawing/2014/main" id="{9556D509-ACEF-47F4-BD15-8CDBB7464F97}"/>
              </a:ext>
            </a:extLst>
          </p:cNvPr>
          <p:cNvSpPr/>
          <p:nvPr/>
        </p:nvSpPr>
        <p:spPr>
          <a:xfrm>
            <a:off x="4239044" y="3817841"/>
            <a:ext cx="356187"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12700" cmpd="sng">
                  <a:solidFill>
                    <a:srgbClr val="349941"/>
                  </a:solidFill>
                  <a:prstDash val="solid"/>
                </a:ln>
                <a:solidFill>
                  <a:srgbClr val="FFFF66"/>
                </a:solidFill>
                <a:effectLst/>
                <a:uLnTx/>
                <a:uFillTx/>
                <a:latin typeface="Arial"/>
                <a:ea typeface="ヒラギノ角ゴ ProN W3"/>
                <a:cs typeface="+mn-cs"/>
              </a:rPr>
              <a:t>Y</a:t>
            </a:r>
          </a:p>
        </p:txBody>
      </p:sp>
      <p:sp>
        <p:nvSpPr>
          <p:cNvPr id="513" name="Oval 512">
            <a:extLst>
              <a:ext uri="{FF2B5EF4-FFF2-40B4-BE49-F238E27FC236}">
                <a16:creationId xmlns:a16="http://schemas.microsoft.com/office/drawing/2014/main" id="{02AA6784-0880-41D3-A607-9B0C8BB0E4E4}"/>
              </a:ext>
            </a:extLst>
          </p:cNvPr>
          <p:cNvSpPr/>
          <p:nvPr/>
        </p:nvSpPr>
        <p:spPr bwMode="auto">
          <a:xfrm>
            <a:off x="4271143" y="3194960"/>
            <a:ext cx="169210" cy="160796"/>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14" name="Oval 513">
            <a:extLst>
              <a:ext uri="{FF2B5EF4-FFF2-40B4-BE49-F238E27FC236}">
                <a16:creationId xmlns:a16="http://schemas.microsoft.com/office/drawing/2014/main" id="{54683B48-0AA2-481E-94D2-809BA88B1A67}"/>
              </a:ext>
            </a:extLst>
          </p:cNvPr>
          <p:cNvSpPr/>
          <p:nvPr/>
        </p:nvSpPr>
        <p:spPr bwMode="auto">
          <a:xfrm>
            <a:off x="7015451" y="2841597"/>
            <a:ext cx="169210" cy="160796"/>
          </a:xfrm>
          <a:prstGeom prst="ellipse">
            <a:avLst/>
          </a:prstGeom>
          <a:solidFill>
            <a:schemeClr val="accent4"/>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15" name="Oval 514">
            <a:extLst>
              <a:ext uri="{FF2B5EF4-FFF2-40B4-BE49-F238E27FC236}">
                <a16:creationId xmlns:a16="http://schemas.microsoft.com/office/drawing/2014/main" id="{337D0681-2A5C-4E0F-8803-046449E7CA95}"/>
              </a:ext>
            </a:extLst>
          </p:cNvPr>
          <p:cNvSpPr/>
          <p:nvPr/>
        </p:nvSpPr>
        <p:spPr bwMode="auto">
          <a:xfrm>
            <a:off x="6921524" y="4703029"/>
            <a:ext cx="366912" cy="288000"/>
          </a:xfrm>
          <a:prstGeom prst="ellipse">
            <a:avLst/>
          </a:prstGeom>
          <a:solidFill>
            <a:srgbClr val="8A00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16" name="Rectangle 515">
            <a:extLst>
              <a:ext uri="{FF2B5EF4-FFF2-40B4-BE49-F238E27FC236}">
                <a16:creationId xmlns:a16="http://schemas.microsoft.com/office/drawing/2014/main" id="{AE14C133-9A1B-46C5-95C0-04B649BF529F}"/>
              </a:ext>
            </a:extLst>
          </p:cNvPr>
          <p:cNvSpPr/>
          <p:nvPr/>
        </p:nvSpPr>
        <p:spPr>
          <a:xfrm>
            <a:off x="10471880" y="4665189"/>
            <a:ext cx="356187"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12700" cmpd="sng">
                  <a:solidFill>
                    <a:srgbClr val="349941"/>
                  </a:solidFill>
                  <a:prstDash val="solid"/>
                </a:ln>
                <a:solidFill>
                  <a:srgbClr val="FF7C80"/>
                </a:solidFill>
                <a:effectLst/>
                <a:uLnTx/>
                <a:uFillTx/>
                <a:latin typeface="Arial"/>
                <a:ea typeface="ヒラギノ角ゴ ProN W3"/>
                <a:cs typeface="+mn-cs"/>
              </a:rPr>
              <a:t>Y</a:t>
            </a:r>
          </a:p>
        </p:txBody>
      </p:sp>
      <p:sp>
        <p:nvSpPr>
          <p:cNvPr id="517" name="Oval 516">
            <a:extLst>
              <a:ext uri="{FF2B5EF4-FFF2-40B4-BE49-F238E27FC236}">
                <a16:creationId xmlns:a16="http://schemas.microsoft.com/office/drawing/2014/main" id="{C702B3B4-B129-479B-8474-D280C50DA316}"/>
              </a:ext>
            </a:extLst>
          </p:cNvPr>
          <p:cNvSpPr/>
          <p:nvPr/>
        </p:nvSpPr>
        <p:spPr bwMode="auto">
          <a:xfrm>
            <a:off x="6588168" y="3338946"/>
            <a:ext cx="169210" cy="160796"/>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endParaRPr>
          </a:p>
        </p:txBody>
      </p:sp>
      <p:sp>
        <p:nvSpPr>
          <p:cNvPr id="518" name="Oval 517">
            <a:extLst>
              <a:ext uri="{FF2B5EF4-FFF2-40B4-BE49-F238E27FC236}">
                <a16:creationId xmlns:a16="http://schemas.microsoft.com/office/drawing/2014/main" id="{781CA26F-6738-45E2-A44E-C570E316FD34}"/>
              </a:ext>
            </a:extLst>
          </p:cNvPr>
          <p:cNvSpPr/>
          <p:nvPr/>
        </p:nvSpPr>
        <p:spPr bwMode="auto">
          <a:xfrm>
            <a:off x="7083125" y="3359555"/>
            <a:ext cx="169210" cy="160796"/>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endParaRPr>
          </a:p>
        </p:txBody>
      </p:sp>
      <p:sp>
        <p:nvSpPr>
          <p:cNvPr id="519" name="Oval 518">
            <a:extLst>
              <a:ext uri="{FF2B5EF4-FFF2-40B4-BE49-F238E27FC236}">
                <a16:creationId xmlns:a16="http://schemas.microsoft.com/office/drawing/2014/main" id="{B79B76E1-74B0-4634-8685-9DA61535D500}"/>
              </a:ext>
            </a:extLst>
          </p:cNvPr>
          <p:cNvSpPr/>
          <p:nvPr/>
        </p:nvSpPr>
        <p:spPr bwMode="auto">
          <a:xfrm>
            <a:off x="7580363" y="3626431"/>
            <a:ext cx="169210" cy="160796"/>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endParaRPr>
          </a:p>
        </p:txBody>
      </p:sp>
      <p:sp>
        <p:nvSpPr>
          <p:cNvPr id="520" name="Oval 519">
            <a:extLst>
              <a:ext uri="{FF2B5EF4-FFF2-40B4-BE49-F238E27FC236}">
                <a16:creationId xmlns:a16="http://schemas.microsoft.com/office/drawing/2014/main" id="{94D1C564-86FC-4227-8F54-34ADD2B5214D}"/>
              </a:ext>
            </a:extLst>
          </p:cNvPr>
          <p:cNvSpPr/>
          <p:nvPr/>
        </p:nvSpPr>
        <p:spPr bwMode="auto">
          <a:xfrm>
            <a:off x="7445686" y="4016671"/>
            <a:ext cx="169210" cy="160796"/>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endParaRPr>
          </a:p>
        </p:txBody>
      </p:sp>
      <p:sp>
        <p:nvSpPr>
          <p:cNvPr id="521" name="Oval 520">
            <a:extLst>
              <a:ext uri="{FF2B5EF4-FFF2-40B4-BE49-F238E27FC236}">
                <a16:creationId xmlns:a16="http://schemas.microsoft.com/office/drawing/2014/main" id="{5BAB477C-A764-47E2-AC7F-81B97CCE7C93}"/>
              </a:ext>
            </a:extLst>
          </p:cNvPr>
          <p:cNvSpPr/>
          <p:nvPr/>
        </p:nvSpPr>
        <p:spPr bwMode="auto">
          <a:xfrm>
            <a:off x="7624962" y="3369735"/>
            <a:ext cx="169210" cy="160796"/>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endParaRPr>
          </a:p>
        </p:txBody>
      </p:sp>
      <p:sp>
        <p:nvSpPr>
          <p:cNvPr id="522" name="Oval 521">
            <a:extLst>
              <a:ext uri="{FF2B5EF4-FFF2-40B4-BE49-F238E27FC236}">
                <a16:creationId xmlns:a16="http://schemas.microsoft.com/office/drawing/2014/main" id="{A87D9B19-0752-4323-ABF2-54F8D9118760}"/>
              </a:ext>
            </a:extLst>
          </p:cNvPr>
          <p:cNvSpPr/>
          <p:nvPr/>
        </p:nvSpPr>
        <p:spPr bwMode="auto">
          <a:xfrm>
            <a:off x="10062478" y="2960905"/>
            <a:ext cx="169210" cy="160796"/>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23" name="Oval 522">
            <a:extLst>
              <a:ext uri="{FF2B5EF4-FFF2-40B4-BE49-F238E27FC236}">
                <a16:creationId xmlns:a16="http://schemas.microsoft.com/office/drawing/2014/main" id="{94E101BA-DD4F-41CE-AEEB-2C6EA0762505}"/>
              </a:ext>
            </a:extLst>
          </p:cNvPr>
          <p:cNvSpPr/>
          <p:nvPr/>
        </p:nvSpPr>
        <p:spPr bwMode="auto">
          <a:xfrm>
            <a:off x="10039951" y="3388538"/>
            <a:ext cx="169210" cy="160796"/>
          </a:xfrm>
          <a:prstGeom prst="ellipse">
            <a:avLst/>
          </a:prstGeom>
          <a:solidFill>
            <a:schemeClr val="accent2">
              <a:lumMod val="60000"/>
              <a:lumOff val="40000"/>
            </a:schemeClr>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24" name="Oval 523">
            <a:extLst>
              <a:ext uri="{FF2B5EF4-FFF2-40B4-BE49-F238E27FC236}">
                <a16:creationId xmlns:a16="http://schemas.microsoft.com/office/drawing/2014/main" id="{40CC8DC1-B847-45B6-9B01-7DE66BFE98C3}"/>
              </a:ext>
            </a:extLst>
          </p:cNvPr>
          <p:cNvSpPr/>
          <p:nvPr/>
        </p:nvSpPr>
        <p:spPr bwMode="auto">
          <a:xfrm>
            <a:off x="10451551" y="3635730"/>
            <a:ext cx="169210" cy="160796"/>
          </a:xfrm>
          <a:prstGeom prst="ellipse">
            <a:avLst/>
          </a:prstGeom>
          <a:solidFill>
            <a:schemeClr val="accent2">
              <a:lumMod val="60000"/>
              <a:lumOff val="40000"/>
            </a:schemeClr>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25" name="Oval 524">
            <a:extLst>
              <a:ext uri="{FF2B5EF4-FFF2-40B4-BE49-F238E27FC236}">
                <a16:creationId xmlns:a16="http://schemas.microsoft.com/office/drawing/2014/main" id="{61C42D92-BE44-4119-80FD-A95284F176C7}"/>
              </a:ext>
            </a:extLst>
          </p:cNvPr>
          <p:cNvSpPr/>
          <p:nvPr/>
        </p:nvSpPr>
        <p:spPr bwMode="auto">
          <a:xfrm>
            <a:off x="10323929" y="3982038"/>
            <a:ext cx="169210" cy="160796"/>
          </a:xfrm>
          <a:prstGeom prst="ellipse">
            <a:avLst/>
          </a:prstGeom>
          <a:solidFill>
            <a:schemeClr val="accent2">
              <a:lumMod val="60000"/>
              <a:lumOff val="40000"/>
            </a:schemeClr>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26" name="Oval 525">
            <a:extLst>
              <a:ext uri="{FF2B5EF4-FFF2-40B4-BE49-F238E27FC236}">
                <a16:creationId xmlns:a16="http://schemas.microsoft.com/office/drawing/2014/main" id="{C4F90F9C-A537-4A5C-944F-163F12FA7922}"/>
              </a:ext>
            </a:extLst>
          </p:cNvPr>
          <p:cNvSpPr/>
          <p:nvPr/>
        </p:nvSpPr>
        <p:spPr bwMode="auto">
          <a:xfrm>
            <a:off x="9956649" y="3777898"/>
            <a:ext cx="169210" cy="160796"/>
          </a:xfrm>
          <a:prstGeom prst="ellipse">
            <a:avLst/>
          </a:prstGeom>
          <a:solidFill>
            <a:schemeClr val="accent2">
              <a:lumMod val="60000"/>
              <a:lumOff val="40000"/>
            </a:schemeClr>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27" name="Rectangle: Rounded Corners 526">
            <a:extLst>
              <a:ext uri="{FF2B5EF4-FFF2-40B4-BE49-F238E27FC236}">
                <a16:creationId xmlns:a16="http://schemas.microsoft.com/office/drawing/2014/main" id="{85E5DF9B-2392-4A2A-BAAD-893BE9E82849}"/>
              </a:ext>
            </a:extLst>
          </p:cNvPr>
          <p:cNvSpPr/>
          <p:nvPr/>
        </p:nvSpPr>
        <p:spPr bwMode="auto">
          <a:xfrm>
            <a:off x="4714752" y="3341386"/>
            <a:ext cx="955820" cy="250697"/>
          </a:xfrm>
          <a:prstGeom prst="roundRect">
            <a:avLst/>
          </a:prstGeom>
          <a:noFill/>
          <a:ln w="19050" cap="flat" cmpd="sng" algn="ctr">
            <a:solidFill>
              <a:srgbClr val="FF7C80"/>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sym typeface="Arial" pitchFamily="-110" charset="0"/>
              </a:rPr>
              <a:t>Dual ERA </a:t>
            </a:r>
          </a:p>
        </p:txBody>
      </p:sp>
      <p:sp>
        <p:nvSpPr>
          <p:cNvPr id="528" name="Rectangle: Rounded Corners 527">
            <a:extLst>
              <a:ext uri="{FF2B5EF4-FFF2-40B4-BE49-F238E27FC236}">
                <a16:creationId xmlns:a16="http://schemas.microsoft.com/office/drawing/2014/main" id="{7221482F-CB39-4995-BB96-D516857C7FED}"/>
              </a:ext>
            </a:extLst>
          </p:cNvPr>
          <p:cNvSpPr/>
          <p:nvPr/>
        </p:nvSpPr>
        <p:spPr bwMode="auto">
          <a:xfrm>
            <a:off x="2776495" y="3301803"/>
            <a:ext cx="1010337" cy="250697"/>
          </a:xfrm>
          <a:prstGeom prst="roundRect">
            <a:avLst/>
          </a:prstGeom>
          <a:noFill/>
          <a:ln w="19050" cap="flat" cmpd="sng" algn="ctr">
            <a:solidFill>
              <a:srgbClr val="FF7C80"/>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Selective ERA</a:t>
            </a:r>
          </a:p>
        </p:txBody>
      </p:sp>
      <p:sp>
        <p:nvSpPr>
          <p:cNvPr id="529" name="Rectangle: Rounded Corners 528">
            <a:extLst>
              <a:ext uri="{FF2B5EF4-FFF2-40B4-BE49-F238E27FC236}">
                <a16:creationId xmlns:a16="http://schemas.microsoft.com/office/drawing/2014/main" id="{5889A5B7-7A3C-4C8B-A195-170B87831547}"/>
              </a:ext>
            </a:extLst>
          </p:cNvPr>
          <p:cNvSpPr/>
          <p:nvPr/>
        </p:nvSpPr>
        <p:spPr bwMode="auto">
          <a:xfrm>
            <a:off x="8799672" y="3684246"/>
            <a:ext cx="1067070" cy="420956"/>
          </a:xfrm>
          <a:prstGeom prst="roundRect">
            <a:avLst/>
          </a:prstGeom>
          <a:noFill/>
          <a:ln w="19050" cap="flat" cmpd="sng" algn="ctr">
            <a:solidFill>
              <a:srgbClr val="6EBD44"/>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sym typeface="Arial" pitchFamily="-110" charset="0"/>
              </a:rPr>
              <a:t>Prostacyclin analogs</a:t>
            </a:r>
          </a:p>
        </p:txBody>
      </p:sp>
      <p:sp>
        <p:nvSpPr>
          <p:cNvPr id="530" name="Rectangle: Rounded Corners 529">
            <a:extLst>
              <a:ext uri="{FF2B5EF4-FFF2-40B4-BE49-F238E27FC236}">
                <a16:creationId xmlns:a16="http://schemas.microsoft.com/office/drawing/2014/main" id="{AB64B99D-1455-4D3B-B384-755118CFECFA}"/>
              </a:ext>
            </a:extLst>
          </p:cNvPr>
          <p:cNvSpPr/>
          <p:nvPr/>
        </p:nvSpPr>
        <p:spPr bwMode="auto">
          <a:xfrm>
            <a:off x="5794387" y="4209209"/>
            <a:ext cx="686923" cy="420956"/>
          </a:xfrm>
          <a:prstGeom prst="roundRect">
            <a:avLst/>
          </a:prstGeom>
          <a:solidFill>
            <a:schemeClr val="bg1">
              <a:alpha val="65000"/>
            </a:schemeClr>
          </a:solidFill>
          <a:ln w="19050" cap="flat" cmpd="sng" algn="ctr">
            <a:solidFill>
              <a:srgbClr val="FF7C80"/>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sym typeface="Arial" pitchFamily="-110" charset="0"/>
              </a:rPr>
              <a:t>PDE-5 inhibitors</a:t>
            </a:r>
          </a:p>
        </p:txBody>
      </p:sp>
      <p:sp>
        <p:nvSpPr>
          <p:cNvPr id="531" name="Rectangle: Rounded Corners 530">
            <a:extLst>
              <a:ext uri="{FF2B5EF4-FFF2-40B4-BE49-F238E27FC236}">
                <a16:creationId xmlns:a16="http://schemas.microsoft.com/office/drawing/2014/main" id="{65F92115-3B8A-4D1D-B3E8-455D48D858E2}"/>
              </a:ext>
            </a:extLst>
          </p:cNvPr>
          <p:cNvSpPr/>
          <p:nvPr/>
        </p:nvSpPr>
        <p:spPr bwMode="auto">
          <a:xfrm>
            <a:off x="10710668" y="3827169"/>
            <a:ext cx="1072657" cy="591216"/>
          </a:xfrm>
          <a:prstGeom prst="roundRect">
            <a:avLst/>
          </a:prstGeom>
          <a:noFill/>
          <a:ln w="19050" cap="flat" cmpd="sng" algn="ctr">
            <a:solidFill>
              <a:srgbClr val="6EBD44"/>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a:ln>
                  <a:noFill/>
                </a:ln>
                <a:solidFill>
                  <a:srgbClr val="212121"/>
                </a:solidFill>
                <a:effectLst/>
                <a:uLnTx/>
                <a:uFillTx/>
                <a:latin typeface="Verdana" panose="020B0604030504040204" pitchFamily="34" charset="0"/>
                <a:ea typeface="Verdana" panose="020B0604030504040204" pitchFamily="34" charset="0"/>
                <a:cs typeface="+mn-cs"/>
                <a:sym typeface="Arial" pitchFamily="-110" charset="0"/>
              </a:rPr>
              <a:t>Non-</a:t>
            </a:r>
            <a:r>
              <a:rPr kumimoji="0" lang="en-US" sz="1000" b="0" i="0" u="none" strike="noStrike" kern="1200" cap="none" spc="0" normalizeH="0" baseline="0" noProof="0" dirty="0" err="1">
                <a:ln>
                  <a:noFill/>
                </a:ln>
                <a:solidFill>
                  <a:srgbClr val="212121"/>
                </a:solidFill>
                <a:effectLst/>
                <a:uLnTx/>
                <a:uFillTx/>
                <a:latin typeface="Verdana" panose="020B0604030504040204" pitchFamily="34" charset="0"/>
                <a:ea typeface="Verdana" panose="020B0604030504040204" pitchFamily="34" charset="0"/>
                <a:cs typeface="+mn-cs"/>
                <a:sym typeface="Arial" pitchFamily="-110" charset="0"/>
              </a:rPr>
              <a:t>prostanoid</a:t>
            </a:r>
            <a:r>
              <a:rPr kumimoji="0" lang="en-US" sz="1000" b="0" i="0" u="none" strike="noStrike" kern="1200" cap="none" spc="0" normalizeH="0" baseline="0" noProof="0" dirty="0">
                <a:ln>
                  <a:noFill/>
                </a:ln>
                <a:solidFill>
                  <a:srgbClr val="212121"/>
                </a:solidFill>
                <a:effectLst/>
                <a:uLnTx/>
                <a:uFillTx/>
                <a:latin typeface="Verdana" panose="020B0604030504040204" pitchFamily="34" charset="0"/>
                <a:ea typeface="Verdana" panose="020B0604030504040204" pitchFamily="34" charset="0"/>
                <a:cs typeface="+mn-cs"/>
                <a:sym typeface="Arial" pitchFamily="-110" charset="0"/>
              </a:rPr>
              <a:t> </a:t>
            </a:r>
            <a:br>
              <a:rPr kumimoji="0" lang="en-US" sz="1000" b="0" i="0" u="none" strike="noStrike" kern="1200" cap="none" spc="0" normalizeH="0" baseline="0" noProof="0" dirty="0">
                <a:ln>
                  <a:noFill/>
                </a:ln>
                <a:solidFill>
                  <a:srgbClr val="212121"/>
                </a:solidFill>
                <a:effectLst/>
                <a:uLnTx/>
                <a:uFillTx/>
                <a:latin typeface="Verdana" panose="020B0604030504040204" pitchFamily="34" charset="0"/>
                <a:ea typeface="Verdana" panose="020B0604030504040204" pitchFamily="34" charset="0"/>
                <a:cs typeface="+mn-cs"/>
                <a:sym typeface="Arial" pitchFamily="-110" charset="0"/>
              </a:rPr>
            </a:br>
            <a:r>
              <a:rPr kumimoji="0" lang="en-US" sz="1000" b="0" i="0" u="none" strike="noStrike" kern="1200" cap="none" spc="0" normalizeH="0" baseline="0" noProof="0" dirty="0">
                <a:ln>
                  <a:noFill/>
                </a:ln>
                <a:solidFill>
                  <a:srgbClr val="212121"/>
                </a:solidFill>
                <a:effectLst/>
                <a:uLnTx/>
                <a:uFillTx/>
                <a:latin typeface="Verdana" panose="020B0604030504040204" pitchFamily="34" charset="0"/>
                <a:ea typeface="Verdana" panose="020B0604030504040204" pitchFamily="34" charset="0"/>
                <a:cs typeface="+mn-cs"/>
                <a:sym typeface="Arial" pitchFamily="-110" charset="0"/>
              </a:rPr>
              <a:t>IP receptor agonist </a:t>
            </a:r>
          </a:p>
        </p:txBody>
      </p:sp>
      <p:sp>
        <p:nvSpPr>
          <p:cNvPr id="532" name="Rectangle: Rounded Corners 531">
            <a:extLst>
              <a:ext uri="{FF2B5EF4-FFF2-40B4-BE49-F238E27FC236}">
                <a16:creationId xmlns:a16="http://schemas.microsoft.com/office/drawing/2014/main" id="{2594F399-6CCC-4DA9-A3A9-0B2CEEF25B91}"/>
              </a:ext>
            </a:extLst>
          </p:cNvPr>
          <p:cNvSpPr/>
          <p:nvPr/>
        </p:nvSpPr>
        <p:spPr bwMode="auto">
          <a:xfrm>
            <a:off x="7573702" y="4271253"/>
            <a:ext cx="1059694" cy="250697"/>
          </a:xfrm>
          <a:prstGeom prst="roundRect">
            <a:avLst/>
          </a:prstGeom>
          <a:noFill/>
          <a:ln w="19050" cap="flat" cmpd="sng" algn="ctr">
            <a:solidFill>
              <a:srgbClr val="6EBD44"/>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dirty="0" err="1">
                <a:ln>
                  <a:noFill/>
                </a:ln>
                <a:solidFill>
                  <a:srgbClr val="212121"/>
                </a:solidFill>
                <a:effectLst/>
                <a:uLnTx/>
                <a:uFillTx/>
                <a:latin typeface="Verdana" panose="020B0604030504040204" pitchFamily="34" charset="0"/>
                <a:ea typeface="Verdana" panose="020B0604030504040204" pitchFamily="34" charset="0"/>
                <a:cs typeface="+mn-cs"/>
                <a:sym typeface="Arial" pitchFamily="-110" charset="0"/>
              </a:rPr>
              <a:t>sGC</a:t>
            </a:r>
            <a:r>
              <a:rPr kumimoji="0" lang="en-US" sz="1000" b="0" i="0" u="none" strike="noStrike" kern="1200" cap="none" spc="0" normalizeH="0" baseline="0" noProof="0" dirty="0">
                <a:ln>
                  <a:noFill/>
                </a:ln>
                <a:solidFill>
                  <a:srgbClr val="212121"/>
                </a:solidFill>
                <a:effectLst/>
                <a:uLnTx/>
                <a:uFillTx/>
                <a:latin typeface="Verdana" panose="020B0604030504040204" pitchFamily="34" charset="0"/>
                <a:ea typeface="Verdana" panose="020B0604030504040204" pitchFamily="34" charset="0"/>
                <a:cs typeface="+mn-cs"/>
                <a:sym typeface="Arial" pitchFamily="-110" charset="0"/>
              </a:rPr>
              <a:t> stimulator</a:t>
            </a:r>
          </a:p>
        </p:txBody>
      </p:sp>
      <p:sp>
        <p:nvSpPr>
          <p:cNvPr id="533" name="TextBox 532">
            <a:extLst>
              <a:ext uri="{FF2B5EF4-FFF2-40B4-BE49-F238E27FC236}">
                <a16:creationId xmlns:a16="http://schemas.microsoft.com/office/drawing/2014/main" id="{A8E0B1D8-FB77-4CDE-9DF5-5A03762C36C8}"/>
              </a:ext>
            </a:extLst>
          </p:cNvPr>
          <p:cNvSpPr txBox="1"/>
          <p:nvPr/>
        </p:nvSpPr>
        <p:spPr>
          <a:xfrm>
            <a:off x="2386747" y="2134191"/>
            <a:ext cx="132673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Pr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endothelin-1</a:t>
            </a:r>
          </a:p>
        </p:txBody>
      </p:sp>
      <p:sp>
        <p:nvSpPr>
          <p:cNvPr id="534" name="TextBox 533">
            <a:extLst>
              <a:ext uri="{FF2B5EF4-FFF2-40B4-BE49-F238E27FC236}">
                <a16:creationId xmlns:a16="http://schemas.microsoft.com/office/drawing/2014/main" id="{FAC1E580-9957-4D0F-9FDA-85646947D1E6}"/>
              </a:ext>
            </a:extLst>
          </p:cNvPr>
          <p:cNvSpPr txBox="1"/>
          <p:nvPr/>
        </p:nvSpPr>
        <p:spPr>
          <a:xfrm>
            <a:off x="2572452" y="2595740"/>
            <a:ext cx="101768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Endothelin-1</a:t>
            </a:r>
          </a:p>
        </p:txBody>
      </p:sp>
      <p:cxnSp>
        <p:nvCxnSpPr>
          <p:cNvPr id="535" name="Straight Connector 534">
            <a:extLst>
              <a:ext uri="{FF2B5EF4-FFF2-40B4-BE49-F238E27FC236}">
                <a16:creationId xmlns:a16="http://schemas.microsoft.com/office/drawing/2014/main" id="{365A7FAB-D660-4F01-84ED-AF473497801C}"/>
              </a:ext>
            </a:extLst>
          </p:cNvPr>
          <p:cNvCxnSpPr>
            <a:cxnSpLocks/>
          </p:cNvCxnSpPr>
          <p:nvPr/>
        </p:nvCxnSpPr>
        <p:spPr bwMode="auto">
          <a:xfrm flipH="1">
            <a:off x="3451992" y="2234687"/>
            <a:ext cx="369391" cy="117416"/>
          </a:xfrm>
          <a:prstGeom prst="line">
            <a:avLst/>
          </a:prstGeom>
          <a:solidFill>
            <a:srgbClr val="C0C0C0"/>
          </a:solidFill>
          <a:ln w="12700" cap="flat" cmpd="sng" algn="ctr">
            <a:solidFill>
              <a:schemeClr val="tx1"/>
            </a:solidFill>
            <a:prstDash val="solid"/>
            <a:round/>
            <a:headEnd type="none" w="med" len="med"/>
            <a:tailEnd type="none" w="med" len="med"/>
          </a:ln>
          <a:effectLst/>
        </p:spPr>
      </p:cxnSp>
      <p:cxnSp>
        <p:nvCxnSpPr>
          <p:cNvPr id="536" name="Straight Connector 535">
            <a:extLst>
              <a:ext uri="{FF2B5EF4-FFF2-40B4-BE49-F238E27FC236}">
                <a16:creationId xmlns:a16="http://schemas.microsoft.com/office/drawing/2014/main" id="{B40923AA-EE51-4C7B-B51A-8C2687B960F2}"/>
              </a:ext>
            </a:extLst>
          </p:cNvPr>
          <p:cNvCxnSpPr>
            <a:cxnSpLocks/>
          </p:cNvCxnSpPr>
          <p:nvPr/>
        </p:nvCxnSpPr>
        <p:spPr bwMode="auto">
          <a:xfrm flipH="1">
            <a:off x="3493855" y="2537851"/>
            <a:ext cx="237138" cy="175527"/>
          </a:xfrm>
          <a:prstGeom prst="line">
            <a:avLst/>
          </a:prstGeom>
          <a:solidFill>
            <a:srgbClr val="C0C0C0"/>
          </a:solidFill>
          <a:ln w="12700" cap="flat" cmpd="sng" algn="ctr">
            <a:solidFill>
              <a:schemeClr val="tx1"/>
            </a:solidFill>
            <a:prstDash val="solid"/>
            <a:round/>
            <a:headEnd type="none" w="med" len="med"/>
            <a:tailEnd type="none" w="med" len="med"/>
          </a:ln>
          <a:effectLst/>
        </p:spPr>
      </p:cxnSp>
      <p:sp>
        <p:nvSpPr>
          <p:cNvPr id="537" name="TextBox 536">
            <a:extLst>
              <a:ext uri="{FF2B5EF4-FFF2-40B4-BE49-F238E27FC236}">
                <a16:creationId xmlns:a16="http://schemas.microsoft.com/office/drawing/2014/main" id="{88F67965-8FFE-4C9D-AB92-1F08CFC45825}"/>
              </a:ext>
            </a:extLst>
          </p:cNvPr>
          <p:cNvSpPr txBox="1"/>
          <p:nvPr/>
        </p:nvSpPr>
        <p:spPr>
          <a:xfrm>
            <a:off x="3679557" y="3833156"/>
            <a:ext cx="39172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ET</a:t>
            </a:r>
            <a:r>
              <a:rPr kumimoji="0" lang="en-US" sz="900" b="0" i="0" u="none" strike="noStrike" kern="1200" cap="none" spc="0" normalizeH="0" baseline="-25000" noProof="0">
                <a:ln>
                  <a:noFill/>
                </a:ln>
                <a:solidFill>
                  <a:srgbClr val="212121"/>
                </a:solidFill>
                <a:effectLst/>
                <a:uLnTx/>
                <a:uFillTx/>
                <a:latin typeface="Verdana" panose="020B0604030504040204" pitchFamily="34" charset="0"/>
                <a:ea typeface="Verdana" panose="020B0604030504040204" pitchFamily="34" charset="0"/>
                <a:cs typeface="+mn-cs"/>
              </a:rPr>
              <a:t>A</a:t>
            </a:r>
          </a:p>
        </p:txBody>
      </p:sp>
      <p:sp>
        <p:nvSpPr>
          <p:cNvPr id="538" name="TextBox 537">
            <a:extLst>
              <a:ext uri="{FF2B5EF4-FFF2-40B4-BE49-F238E27FC236}">
                <a16:creationId xmlns:a16="http://schemas.microsoft.com/office/drawing/2014/main" id="{C4ADEE99-ECBA-46FE-A578-0897A65355CB}"/>
              </a:ext>
            </a:extLst>
          </p:cNvPr>
          <p:cNvSpPr txBox="1"/>
          <p:nvPr/>
        </p:nvSpPr>
        <p:spPr>
          <a:xfrm>
            <a:off x="4234880" y="3702915"/>
            <a:ext cx="401592" cy="230832"/>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12121"/>
                </a:solidFill>
                <a:effectLst/>
                <a:uLnTx/>
                <a:uFillTx/>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ET</a:t>
            </a:r>
            <a:r>
              <a:rPr kumimoji="0" lang="en-US" sz="900" b="0" i="0" u="none" strike="noStrike" kern="1200" cap="none" spc="0" normalizeH="0" baseline="-25000" noProof="0">
                <a:ln>
                  <a:noFill/>
                </a:ln>
                <a:solidFill>
                  <a:srgbClr val="212121"/>
                </a:solidFill>
                <a:effectLst/>
                <a:uLnTx/>
                <a:uFillTx/>
                <a:latin typeface="Verdana" panose="020B0604030504040204" pitchFamily="34" charset="0"/>
                <a:ea typeface="Verdana" panose="020B0604030504040204" pitchFamily="34" charset="0"/>
                <a:cs typeface="+mn-cs"/>
              </a:rPr>
              <a:t>B</a:t>
            </a:r>
          </a:p>
        </p:txBody>
      </p:sp>
      <p:sp>
        <p:nvSpPr>
          <p:cNvPr id="539" name="TextBox 538">
            <a:extLst>
              <a:ext uri="{FF2B5EF4-FFF2-40B4-BE49-F238E27FC236}">
                <a16:creationId xmlns:a16="http://schemas.microsoft.com/office/drawing/2014/main" id="{C4495205-3DDB-451B-8F37-4FDA0C7AEDF4}"/>
              </a:ext>
            </a:extLst>
          </p:cNvPr>
          <p:cNvSpPr txBox="1"/>
          <p:nvPr/>
        </p:nvSpPr>
        <p:spPr>
          <a:xfrm>
            <a:off x="5788230" y="3059392"/>
            <a:ext cx="132673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L-arginine</a:t>
            </a:r>
          </a:p>
        </p:txBody>
      </p:sp>
      <p:sp>
        <p:nvSpPr>
          <p:cNvPr id="540" name="TextBox 539">
            <a:extLst>
              <a:ext uri="{FF2B5EF4-FFF2-40B4-BE49-F238E27FC236}">
                <a16:creationId xmlns:a16="http://schemas.microsoft.com/office/drawing/2014/main" id="{750D53D0-D658-4B77-8D2E-1B5846BA8D67}"/>
              </a:ext>
            </a:extLst>
          </p:cNvPr>
          <p:cNvSpPr txBox="1"/>
          <p:nvPr/>
        </p:nvSpPr>
        <p:spPr>
          <a:xfrm>
            <a:off x="5550229" y="3517070"/>
            <a:ext cx="132673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Nitric oxide</a:t>
            </a:r>
          </a:p>
        </p:txBody>
      </p:sp>
      <p:sp>
        <p:nvSpPr>
          <p:cNvPr id="541" name="TextBox 540">
            <a:extLst>
              <a:ext uri="{FF2B5EF4-FFF2-40B4-BE49-F238E27FC236}">
                <a16:creationId xmlns:a16="http://schemas.microsoft.com/office/drawing/2014/main" id="{703CF4AE-C6C7-4C28-9089-5A5184D5F2D2}"/>
              </a:ext>
            </a:extLst>
          </p:cNvPr>
          <p:cNvSpPr txBox="1"/>
          <p:nvPr/>
        </p:nvSpPr>
        <p:spPr>
          <a:xfrm>
            <a:off x="8654300" y="3174288"/>
            <a:ext cx="132673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Arachidonic acid</a:t>
            </a:r>
          </a:p>
        </p:txBody>
      </p:sp>
      <p:sp>
        <p:nvSpPr>
          <p:cNvPr id="542" name="TextBox 541">
            <a:extLst>
              <a:ext uri="{FF2B5EF4-FFF2-40B4-BE49-F238E27FC236}">
                <a16:creationId xmlns:a16="http://schemas.microsoft.com/office/drawing/2014/main" id="{03F73E9D-CDBB-4C0E-A7F6-30A5B6B03D5E}"/>
              </a:ext>
            </a:extLst>
          </p:cNvPr>
          <p:cNvSpPr txBox="1"/>
          <p:nvPr/>
        </p:nvSpPr>
        <p:spPr>
          <a:xfrm>
            <a:off x="10270254" y="3162491"/>
            <a:ext cx="132673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Prostacyclin</a:t>
            </a:r>
          </a:p>
        </p:txBody>
      </p:sp>
      <p:cxnSp>
        <p:nvCxnSpPr>
          <p:cNvPr id="543" name="Straight Connector 542">
            <a:extLst>
              <a:ext uri="{FF2B5EF4-FFF2-40B4-BE49-F238E27FC236}">
                <a16:creationId xmlns:a16="http://schemas.microsoft.com/office/drawing/2014/main" id="{6917498B-3F5A-4088-BA40-D2A5B5DACD25}"/>
              </a:ext>
            </a:extLst>
          </p:cNvPr>
          <p:cNvCxnSpPr>
            <a:cxnSpLocks/>
          </p:cNvCxnSpPr>
          <p:nvPr/>
        </p:nvCxnSpPr>
        <p:spPr bwMode="auto">
          <a:xfrm flipH="1">
            <a:off x="6776238" y="3017682"/>
            <a:ext cx="238050" cy="162969"/>
          </a:xfrm>
          <a:prstGeom prst="line">
            <a:avLst/>
          </a:prstGeom>
          <a:solidFill>
            <a:srgbClr val="C0C0C0"/>
          </a:solidFill>
          <a:ln w="12700" cap="flat" cmpd="sng" algn="ctr">
            <a:solidFill>
              <a:schemeClr val="tx1"/>
            </a:solidFill>
            <a:prstDash val="solid"/>
            <a:round/>
            <a:headEnd type="none" w="med" len="med"/>
            <a:tailEnd type="none" w="med" len="med"/>
          </a:ln>
          <a:effectLst/>
        </p:spPr>
      </p:cxnSp>
      <p:cxnSp>
        <p:nvCxnSpPr>
          <p:cNvPr id="544" name="Straight Connector 543">
            <a:extLst>
              <a:ext uri="{FF2B5EF4-FFF2-40B4-BE49-F238E27FC236}">
                <a16:creationId xmlns:a16="http://schemas.microsoft.com/office/drawing/2014/main" id="{73B1C0E6-D23B-4B24-991C-FD109F7ACA5A}"/>
              </a:ext>
            </a:extLst>
          </p:cNvPr>
          <p:cNvCxnSpPr>
            <a:cxnSpLocks/>
          </p:cNvCxnSpPr>
          <p:nvPr/>
        </p:nvCxnSpPr>
        <p:spPr bwMode="auto">
          <a:xfrm flipH="1">
            <a:off x="6626419" y="3506095"/>
            <a:ext cx="426981" cy="146352"/>
          </a:xfrm>
          <a:prstGeom prst="line">
            <a:avLst/>
          </a:prstGeom>
          <a:solidFill>
            <a:srgbClr val="C0C0C0"/>
          </a:solidFill>
          <a:ln w="12700" cap="flat" cmpd="sng" algn="ctr">
            <a:solidFill>
              <a:schemeClr val="tx1"/>
            </a:solidFill>
            <a:prstDash val="solid"/>
            <a:round/>
            <a:headEnd type="none" w="med" len="med"/>
            <a:tailEnd type="none" w="med" len="med"/>
          </a:ln>
          <a:effectLst/>
        </p:spPr>
      </p:cxnSp>
      <p:cxnSp>
        <p:nvCxnSpPr>
          <p:cNvPr id="545" name="Straight Connector 544">
            <a:extLst>
              <a:ext uri="{FF2B5EF4-FFF2-40B4-BE49-F238E27FC236}">
                <a16:creationId xmlns:a16="http://schemas.microsoft.com/office/drawing/2014/main" id="{6CB103BF-5632-4474-8550-DB6C124E3C52}"/>
              </a:ext>
            </a:extLst>
          </p:cNvPr>
          <p:cNvCxnSpPr>
            <a:cxnSpLocks/>
          </p:cNvCxnSpPr>
          <p:nvPr/>
        </p:nvCxnSpPr>
        <p:spPr bwMode="auto">
          <a:xfrm flipH="1">
            <a:off x="9799634" y="3131354"/>
            <a:ext cx="276040" cy="159207"/>
          </a:xfrm>
          <a:prstGeom prst="line">
            <a:avLst/>
          </a:prstGeom>
          <a:solidFill>
            <a:srgbClr val="C0C0C0"/>
          </a:solidFill>
          <a:ln w="12700" cap="flat" cmpd="sng" algn="ctr">
            <a:solidFill>
              <a:schemeClr val="tx1"/>
            </a:solidFill>
            <a:prstDash val="solid"/>
            <a:round/>
            <a:headEnd type="none" w="med" len="med"/>
            <a:tailEnd type="none" w="med" len="med"/>
          </a:ln>
          <a:effectLst/>
        </p:spPr>
      </p:cxnSp>
      <p:cxnSp>
        <p:nvCxnSpPr>
          <p:cNvPr id="546" name="Straight Connector 545">
            <a:extLst>
              <a:ext uri="{FF2B5EF4-FFF2-40B4-BE49-F238E27FC236}">
                <a16:creationId xmlns:a16="http://schemas.microsoft.com/office/drawing/2014/main" id="{CC269ACC-22D6-4A1A-B848-EBB3511F421D}"/>
              </a:ext>
            </a:extLst>
          </p:cNvPr>
          <p:cNvCxnSpPr>
            <a:cxnSpLocks/>
          </p:cNvCxnSpPr>
          <p:nvPr/>
        </p:nvCxnSpPr>
        <p:spPr bwMode="auto">
          <a:xfrm flipH="1">
            <a:off x="10231688" y="3333182"/>
            <a:ext cx="286027" cy="125933"/>
          </a:xfrm>
          <a:prstGeom prst="line">
            <a:avLst/>
          </a:prstGeom>
          <a:solidFill>
            <a:srgbClr val="C0C0C0"/>
          </a:solidFill>
          <a:ln w="12700" cap="flat" cmpd="sng" algn="ctr">
            <a:solidFill>
              <a:schemeClr val="tx1"/>
            </a:solidFill>
            <a:prstDash val="solid"/>
            <a:round/>
            <a:headEnd type="none" w="med" len="med"/>
            <a:tailEnd type="none" w="med" len="med"/>
          </a:ln>
          <a:effectLst/>
        </p:spPr>
      </p:cxnSp>
      <p:sp>
        <p:nvSpPr>
          <p:cNvPr id="547" name="Oval 546">
            <a:extLst>
              <a:ext uri="{FF2B5EF4-FFF2-40B4-BE49-F238E27FC236}">
                <a16:creationId xmlns:a16="http://schemas.microsoft.com/office/drawing/2014/main" id="{4BAF2087-ECB8-4165-B4F0-5088EB70CC56}"/>
              </a:ext>
            </a:extLst>
          </p:cNvPr>
          <p:cNvSpPr/>
          <p:nvPr/>
        </p:nvSpPr>
        <p:spPr bwMode="auto">
          <a:xfrm>
            <a:off x="6498728" y="4704114"/>
            <a:ext cx="366912" cy="2880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48" name="TextBox 547">
            <a:extLst>
              <a:ext uri="{FF2B5EF4-FFF2-40B4-BE49-F238E27FC236}">
                <a16:creationId xmlns:a16="http://schemas.microsoft.com/office/drawing/2014/main" id="{85B71C9B-7981-41F4-A523-4A2EF916909E}"/>
              </a:ext>
            </a:extLst>
          </p:cNvPr>
          <p:cNvSpPr txBox="1"/>
          <p:nvPr/>
        </p:nvSpPr>
        <p:spPr>
          <a:xfrm>
            <a:off x="6480275" y="4727259"/>
            <a:ext cx="394684" cy="215444"/>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FFFFFF"/>
                </a:solidFill>
                <a:effectLst/>
                <a:uLnTx/>
                <a:uFillTx/>
                <a:latin typeface="Verdana" panose="020B0604030504040204" pitchFamily="34" charset="0"/>
                <a:ea typeface="Verdana" panose="020B0604030504040204" pitchFamily="34" charset="0"/>
                <a:cs typeface="+mn-cs"/>
              </a:rPr>
              <a:t>sGC</a:t>
            </a:r>
            <a:endPar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549" name="TextBox 548">
            <a:extLst>
              <a:ext uri="{FF2B5EF4-FFF2-40B4-BE49-F238E27FC236}">
                <a16:creationId xmlns:a16="http://schemas.microsoft.com/office/drawing/2014/main" id="{A188A7C4-D3EF-4866-94F7-567239A0053A}"/>
              </a:ext>
            </a:extLst>
          </p:cNvPr>
          <p:cNvSpPr txBox="1"/>
          <p:nvPr/>
        </p:nvSpPr>
        <p:spPr>
          <a:xfrm>
            <a:off x="6911310" y="4727259"/>
            <a:ext cx="394684" cy="215444"/>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PDE-5</a:t>
            </a:r>
          </a:p>
        </p:txBody>
      </p:sp>
      <p:grpSp>
        <p:nvGrpSpPr>
          <p:cNvPr id="550" name="Group 549">
            <a:extLst>
              <a:ext uri="{FF2B5EF4-FFF2-40B4-BE49-F238E27FC236}">
                <a16:creationId xmlns:a16="http://schemas.microsoft.com/office/drawing/2014/main" id="{B796A60F-6F5E-4E3E-AC4F-BBF70540F5C3}"/>
              </a:ext>
            </a:extLst>
          </p:cNvPr>
          <p:cNvGrpSpPr/>
          <p:nvPr/>
        </p:nvGrpSpPr>
        <p:grpSpPr>
          <a:xfrm>
            <a:off x="6021629" y="5023654"/>
            <a:ext cx="1798194" cy="238069"/>
            <a:chOff x="6094805" y="5094537"/>
            <a:chExt cx="1798194" cy="265861"/>
          </a:xfrm>
        </p:grpSpPr>
        <p:sp>
          <p:nvSpPr>
            <p:cNvPr id="551" name="Rectangle 550">
              <a:extLst>
                <a:ext uri="{FF2B5EF4-FFF2-40B4-BE49-F238E27FC236}">
                  <a16:creationId xmlns:a16="http://schemas.microsoft.com/office/drawing/2014/main" id="{7A0A6B29-251D-4B43-9EB9-5E76A5745B2C}"/>
                </a:ext>
              </a:extLst>
            </p:cNvPr>
            <p:cNvSpPr/>
            <p:nvPr/>
          </p:nvSpPr>
          <p:spPr bwMode="auto">
            <a:xfrm>
              <a:off x="6115946" y="5094537"/>
              <a:ext cx="1707287" cy="265861"/>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52" name="TextBox 551">
              <a:extLst>
                <a:ext uri="{FF2B5EF4-FFF2-40B4-BE49-F238E27FC236}">
                  <a16:creationId xmlns:a16="http://schemas.microsoft.com/office/drawing/2014/main" id="{B18D4EF2-E7CB-4CFC-A556-FB8F0538EE29}"/>
                </a:ext>
              </a:extLst>
            </p:cNvPr>
            <p:cNvSpPr txBox="1"/>
            <p:nvPr/>
          </p:nvSpPr>
          <p:spPr>
            <a:xfrm>
              <a:off x="6094805" y="5104815"/>
              <a:ext cx="505352" cy="246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GTP</a:t>
              </a:r>
            </a:p>
          </p:txBody>
        </p:sp>
        <p:sp>
          <p:nvSpPr>
            <p:cNvPr id="553" name="TextBox 552">
              <a:extLst>
                <a:ext uri="{FF2B5EF4-FFF2-40B4-BE49-F238E27FC236}">
                  <a16:creationId xmlns:a16="http://schemas.microsoft.com/office/drawing/2014/main" id="{44431A37-17DE-466B-BBFE-A9A73C0D80CD}"/>
                </a:ext>
              </a:extLst>
            </p:cNvPr>
            <p:cNvSpPr txBox="1"/>
            <p:nvPr/>
          </p:nvSpPr>
          <p:spPr>
            <a:xfrm>
              <a:off x="6694876" y="5104815"/>
              <a:ext cx="591851" cy="246220"/>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1000" i="0" u="none" strike="noStrike" cap="none" spc="0" normalizeH="0" baseline="0">
                  <a:ln>
                    <a:noFill/>
                  </a:ln>
                  <a:solidFill>
                    <a:srgbClr val="212121"/>
                  </a:solidFill>
                  <a:effectLst/>
                  <a:uLnTx/>
                  <a:uFillTx/>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cGMP</a:t>
              </a:r>
            </a:p>
          </p:txBody>
        </p:sp>
        <p:sp>
          <p:nvSpPr>
            <p:cNvPr id="554" name="TextBox 553">
              <a:extLst>
                <a:ext uri="{FF2B5EF4-FFF2-40B4-BE49-F238E27FC236}">
                  <a16:creationId xmlns:a16="http://schemas.microsoft.com/office/drawing/2014/main" id="{572E4AB0-9149-4C80-A2AB-913338D2BED4}"/>
                </a:ext>
              </a:extLst>
            </p:cNvPr>
            <p:cNvSpPr txBox="1"/>
            <p:nvPr/>
          </p:nvSpPr>
          <p:spPr>
            <a:xfrm>
              <a:off x="7387647" y="5104815"/>
              <a:ext cx="505352" cy="246220"/>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1000" i="0" u="none" strike="noStrike" cap="none" spc="0" normalizeH="0" baseline="0">
                  <a:ln>
                    <a:noFill/>
                  </a:ln>
                  <a:solidFill>
                    <a:srgbClr val="212121"/>
                  </a:solidFill>
                  <a:effectLst/>
                  <a:uLnTx/>
                  <a:uFillTx/>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GMP</a:t>
              </a:r>
            </a:p>
          </p:txBody>
        </p:sp>
        <p:cxnSp>
          <p:nvCxnSpPr>
            <p:cNvPr id="555" name="Straight Arrow Connector 554">
              <a:extLst>
                <a:ext uri="{FF2B5EF4-FFF2-40B4-BE49-F238E27FC236}">
                  <a16:creationId xmlns:a16="http://schemas.microsoft.com/office/drawing/2014/main" id="{AA6582FC-CA23-4A79-9691-3B110F8157EA}"/>
                </a:ext>
              </a:extLst>
            </p:cNvPr>
            <p:cNvCxnSpPr>
              <a:cxnSpLocks/>
            </p:cNvCxnSpPr>
            <p:nvPr/>
          </p:nvCxnSpPr>
          <p:spPr bwMode="auto">
            <a:xfrm>
              <a:off x="6498249" y="5236439"/>
              <a:ext cx="252664" cy="0"/>
            </a:xfrm>
            <a:prstGeom prst="straightConnector1">
              <a:avLst/>
            </a:prstGeom>
            <a:solidFill>
              <a:srgbClr val="C0C0C0"/>
            </a:solidFill>
            <a:ln w="12700" cap="flat" cmpd="sng" algn="ctr">
              <a:solidFill>
                <a:schemeClr val="tx1"/>
              </a:solidFill>
              <a:prstDash val="solid"/>
              <a:round/>
              <a:headEnd type="none" w="med" len="med"/>
              <a:tailEnd type="triangle"/>
            </a:ln>
            <a:effectLst/>
          </p:spPr>
        </p:cxnSp>
        <p:cxnSp>
          <p:nvCxnSpPr>
            <p:cNvPr id="556" name="Straight Arrow Connector 555">
              <a:extLst>
                <a:ext uri="{FF2B5EF4-FFF2-40B4-BE49-F238E27FC236}">
                  <a16:creationId xmlns:a16="http://schemas.microsoft.com/office/drawing/2014/main" id="{3FFB86D7-9106-4A86-A6DA-B940CCF049CB}"/>
                </a:ext>
              </a:extLst>
            </p:cNvPr>
            <p:cNvCxnSpPr>
              <a:cxnSpLocks/>
            </p:cNvCxnSpPr>
            <p:nvPr/>
          </p:nvCxnSpPr>
          <p:spPr bwMode="auto">
            <a:xfrm>
              <a:off x="7196154" y="5236439"/>
              <a:ext cx="252664" cy="0"/>
            </a:xfrm>
            <a:prstGeom prst="straightConnector1">
              <a:avLst/>
            </a:prstGeom>
            <a:solidFill>
              <a:srgbClr val="C0C0C0"/>
            </a:solidFill>
            <a:ln w="12700" cap="flat" cmpd="sng" algn="ctr">
              <a:solidFill>
                <a:schemeClr val="tx1"/>
              </a:solidFill>
              <a:prstDash val="solid"/>
              <a:round/>
              <a:headEnd type="none" w="med" len="med"/>
              <a:tailEnd type="triangle"/>
            </a:ln>
            <a:effectLst/>
          </p:spPr>
        </p:cxnSp>
      </p:grpSp>
      <p:grpSp>
        <p:nvGrpSpPr>
          <p:cNvPr id="557" name="Group 556">
            <a:extLst>
              <a:ext uri="{FF2B5EF4-FFF2-40B4-BE49-F238E27FC236}">
                <a16:creationId xmlns:a16="http://schemas.microsoft.com/office/drawing/2014/main" id="{43939235-877F-4319-9884-83971D5A35A8}"/>
              </a:ext>
            </a:extLst>
          </p:cNvPr>
          <p:cNvGrpSpPr/>
          <p:nvPr/>
        </p:nvGrpSpPr>
        <p:grpSpPr>
          <a:xfrm>
            <a:off x="10128428" y="4958426"/>
            <a:ext cx="570648" cy="265861"/>
            <a:chOff x="6436183" y="5094537"/>
            <a:chExt cx="570648" cy="265861"/>
          </a:xfrm>
        </p:grpSpPr>
        <p:sp>
          <p:nvSpPr>
            <p:cNvPr id="558" name="Rectangle 557">
              <a:extLst>
                <a:ext uri="{FF2B5EF4-FFF2-40B4-BE49-F238E27FC236}">
                  <a16:creationId xmlns:a16="http://schemas.microsoft.com/office/drawing/2014/main" id="{53FF3AFF-8F64-4470-9503-CDE30BF9681E}"/>
                </a:ext>
              </a:extLst>
            </p:cNvPr>
            <p:cNvSpPr/>
            <p:nvPr/>
          </p:nvSpPr>
          <p:spPr bwMode="auto">
            <a:xfrm>
              <a:off x="6436183" y="5094537"/>
              <a:ext cx="487150" cy="265861"/>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59" name="TextBox 558">
              <a:extLst>
                <a:ext uri="{FF2B5EF4-FFF2-40B4-BE49-F238E27FC236}">
                  <a16:creationId xmlns:a16="http://schemas.microsoft.com/office/drawing/2014/main" id="{0C537031-ECF1-4BA3-B200-B95582B032D4}"/>
                </a:ext>
              </a:extLst>
            </p:cNvPr>
            <p:cNvSpPr txBox="1"/>
            <p:nvPr/>
          </p:nvSpPr>
          <p:spPr>
            <a:xfrm>
              <a:off x="6467546" y="5103869"/>
              <a:ext cx="539285" cy="246221"/>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1000" i="0" u="none" strike="noStrike" cap="none" spc="0" normalizeH="0" baseline="0">
                  <a:ln>
                    <a:noFill/>
                  </a:ln>
                  <a:solidFill>
                    <a:srgbClr val="212121"/>
                  </a:solidFill>
                  <a:effectLst/>
                  <a:uLnTx/>
                  <a:uFillTx/>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cAMP</a:t>
              </a:r>
            </a:p>
          </p:txBody>
        </p:sp>
        <p:cxnSp>
          <p:nvCxnSpPr>
            <p:cNvPr id="560" name="Straight Arrow Connector 559">
              <a:extLst>
                <a:ext uri="{FF2B5EF4-FFF2-40B4-BE49-F238E27FC236}">
                  <a16:creationId xmlns:a16="http://schemas.microsoft.com/office/drawing/2014/main" id="{D0B88853-ACF4-4A7B-9D73-C749611D83E2}"/>
                </a:ext>
              </a:extLst>
            </p:cNvPr>
            <p:cNvCxnSpPr>
              <a:cxnSpLocks/>
            </p:cNvCxnSpPr>
            <p:nvPr/>
          </p:nvCxnSpPr>
          <p:spPr bwMode="auto">
            <a:xfrm flipV="1">
              <a:off x="6494752" y="5133822"/>
              <a:ext cx="0" cy="160375"/>
            </a:xfrm>
            <a:prstGeom prst="straightConnector1">
              <a:avLst/>
            </a:prstGeom>
            <a:solidFill>
              <a:srgbClr val="C0C0C0"/>
            </a:solidFill>
            <a:ln w="12700" cap="flat" cmpd="sng" algn="ctr">
              <a:solidFill>
                <a:schemeClr val="tx1"/>
              </a:solidFill>
              <a:prstDash val="solid"/>
              <a:round/>
              <a:headEnd type="none" w="med" len="med"/>
              <a:tailEnd type="triangle"/>
            </a:ln>
            <a:effectLst/>
          </p:spPr>
        </p:cxnSp>
      </p:grpSp>
      <p:sp>
        <p:nvSpPr>
          <p:cNvPr id="561" name="TextBox 560">
            <a:extLst>
              <a:ext uri="{FF2B5EF4-FFF2-40B4-BE49-F238E27FC236}">
                <a16:creationId xmlns:a16="http://schemas.microsoft.com/office/drawing/2014/main" id="{D6E0077C-3D38-4E27-A9F3-BC1D92CD3F4B}"/>
              </a:ext>
            </a:extLst>
          </p:cNvPr>
          <p:cNvSpPr txBox="1"/>
          <p:nvPr/>
        </p:nvSpPr>
        <p:spPr>
          <a:xfrm>
            <a:off x="10178826" y="4537896"/>
            <a:ext cx="93373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IP receptor</a:t>
            </a:r>
          </a:p>
        </p:txBody>
      </p:sp>
      <p:cxnSp>
        <p:nvCxnSpPr>
          <p:cNvPr id="562" name="Connector: Elbow 561">
            <a:extLst>
              <a:ext uri="{FF2B5EF4-FFF2-40B4-BE49-F238E27FC236}">
                <a16:creationId xmlns:a16="http://schemas.microsoft.com/office/drawing/2014/main" id="{84FFC78F-4C5B-459E-B83E-631E3A666E38}"/>
              </a:ext>
            </a:extLst>
          </p:cNvPr>
          <p:cNvCxnSpPr>
            <a:cxnSpLocks/>
            <a:stCxn id="509" idx="4"/>
            <a:endCxn id="537" idx="0"/>
          </p:cNvCxnSpPr>
          <p:nvPr/>
        </p:nvCxnSpPr>
        <p:spPr bwMode="auto">
          <a:xfrm rot="5400000">
            <a:off x="3471245" y="3259345"/>
            <a:ext cx="977985" cy="169637"/>
          </a:xfrm>
          <a:prstGeom prst="bentConnector3">
            <a:avLst/>
          </a:prstGeom>
          <a:solidFill>
            <a:srgbClr val="C0C0C0"/>
          </a:solidFill>
          <a:ln w="28575" cap="flat" cmpd="sng" algn="ctr">
            <a:solidFill>
              <a:schemeClr val="bg2">
                <a:lumMod val="10000"/>
              </a:schemeClr>
            </a:solidFill>
            <a:prstDash val="solid"/>
            <a:round/>
            <a:headEnd type="none" w="med" len="med"/>
            <a:tailEnd type="triangle"/>
          </a:ln>
          <a:effectLst/>
        </p:spPr>
      </p:cxnSp>
      <p:cxnSp>
        <p:nvCxnSpPr>
          <p:cNvPr id="563" name="Connector: Elbow 562">
            <a:extLst>
              <a:ext uri="{FF2B5EF4-FFF2-40B4-BE49-F238E27FC236}">
                <a16:creationId xmlns:a16="http://schemas.microsoft.com/office/drawing/2014/main" id="{FC78B1EB-0694-48CD-8B71-70539FB49C7D}"/>
              </a:ext>
            </a:extLst>
          </p:cNvPr>
          <p:cNvCxnSpPr>
            <a:cxnSpLocks/>
            <a:stCxn id="509" idx="4"/>
            <a:endCxn id="538" idx="0"/>
          </p:cNvCxnSpPr>
          <p:nvPr/>
        </p:nvCxnSpPr>
        <p:spPr bwMode="auto">
          <a:xfrm rot="16200000" flipH="1">
            <a:off x="3816493" y="3083732"/>
            <a:ext cx="847744" cy="390621"/>
          </a:xfrm>
          <a:prstGeom prst="bentConnector3">
            <a:avLst>
              <a:gd name="adj1" fmla="val 71910"/>
            </a:avLst>
          </a:prstGeom>
          <a:solidFill>
            <a:srgbClr val="C0C0C0"/>
          </a:solidFill>
          <a:ln w="28575" cap="flat" cmpd="sng" algn="ctr">
            <a:solidFill>
              <a:schemeClr val="bg2">
                <a:lumMod val="10000"/>
              </a:schemeClr>
            </a:solidFill>
            <a:prstDash val="solid"/>
            <a:round/>
            <a:headEnd type="none" w="med" len="med"/>
            <a:tailEnd type="triangle"/>
          </a:ln>
          <a:effectLst/>
        </p:spPr>
      </p:cxnSp>
      <p:cxnSp>
        <p:nvCxnSpPr>
          <p:cNvPr id="564" name="Connector: Elbow 563">
            <a:extLst>
              <a:ext uri="{FF2B5EF4-FFF2-40B4-BE49-F238E27FC236}">
                <a16:creationId xmlns:a16="http://schemas.microsoft.com/office/drawing/2014/main" id="{477D69FE-ECE7-45EB-BCC9-11BD8B44782D}"/>
              </a:ext>
            </a:extLst>
          </p:cNvPr>
          <p:cNvCxnSpPr>
            <a:cxnSpLocks/>
            <a:stCxn id="528" idx="2"/>
            <a:endCxn id="511" idx="1"/>
          </p:cNvCxnSpPr>
          <p:nvPr/>
        </p:nvCxnSpPr>
        <p:spPr bwMode="auto">
          <a:xfrm rot="16200000" flipH="1">
            <a:off x="3181560" y="3652603"/>
            <a:ext cx="601078" cy="400871"/>
          </a:xfrm>
          <a:prstGeom prst="bentConnector2">
            <a:avLst/>
          </a:prstGeom>
          <a:solidFill>
            <a:srgbClr val="C0C0C0"/>
          </a:solidFill>
          <a:ln w="28575" cap="flat" cmpd="sng" algn="ctr">
            <a:solidFill>
              <a:schemeClr val="bg2">
                <a:lumMod val="10000"/>
              </a:schemeClr>
            </a:solidFill>
            <a:prstDash val="solid"/>
            <a:round/>
            <a:headEnd type="none" w="med" len="med"/>
            <a:tailEnd type="triangle"/>
          </a:ln>
          <a:effectLst/>
        </p:spPr>
      </p:cxnSp>
      <p:cxnSp>
        <p:nvCxnSpPr>
          <p:cNvPr id="565" name="Connector: Elbow 564">
            <a:extLst>
              <a:ext uri="{FF2B5EF4-FFF2-40B4-BE49-F238E27FC236}">
                <a16:creationId xmlns:a16="http://schemas.microsoft.com/office/drawing/2014/main" id="{2349559B-FEFE-4017-8025-587392157AC0}"/>
              </a:ext>
            </a:extLst>
          </p:cNvPr>
          <p:cNvCxnSpPr>
            <a:cxnSpLocks/>
            <a:stCxn id="527" idx="2"/>
            <a:endCxn id="511" idx="2"/>
          </p:cNvCxnSpPr>
          <p:nvPr/>
        </p:nvCxnSpPr>
        <p:spPr bwMode="auto">
          <a:xfrm rot="5400000">
            <a:off x="4145871" y="3306842"/>
            <a:ext cx="761550" cy="1332033"/>
          </a:xfrm>
          <a:prstGeom prst="bentConnector3">
            <a:avLst>
              <a:gd name="adj1" fmla="val 130018"/>
            </a:avLst>
          </a:prstGeom>
          <a:solidFill>
            <a:srgbClr val="C0C0C0"/>
          </a:solidFill>
          <a:ln w="28575" cap="flat" cmpd="sng" algn="ctr">
            <a:solidFill>
              <a:schemeClr val="bg2">
                <a:lumMod val="10000"/>
              </a:schemeClr>
            </a:solidFill>
            <a:prstDash val="solid"/>
            <a:round/>
            <a:headEnd type="none" w="med" len="med"/>
            <a:tailEnd type="triangle"/>
          </a:ln>
          <a:effectLst/>
        </p:spPr>
      </p:cxnSp>
      <p:cxnSp>
        <p:nvCxnSpPr>
          <p:cNvPr id="566" name="Connector: Elbow 565">
            <a:extLst>
              <a:ext uri="{FF2B5EF4-FFF2-40B4-BE49-F238E27FC236}">
                <a16:creationId xmlns:a16="http://schemas.microsoft.com/office/drawing/2014/main" id="{6A0A4663-9362-485B-A853-1D4E4B1658A8}"/>
              </a:ext>
            </a:extLst>
          </p:cNvPr>
          <p:cNvCxnSpPr>
            <a:cxnSpLocks/>
            <a:stCxn id="527" idx="2"/>
            <a:endCxn id="512" idx="3"/>
          </p:cNvCxnSpPr>
          <p:nvPr/>
        </p:nvCxnSpPr>
        <p:spPr bwMode="auto">
          <a:xfrm rot="5400000">
            <a:off x="4681041" y="3506274"/>
            <a:ext cx="425813" cy="597431"/>
          </a:xfrm>
          <a:prstGeom prst="bentConnector2">
            <a:avLst/>
          </a:prstGeom>
          <a:solidFill>
            <a:srgbClr val="C0C0C0"/>
          </a:solidFill>
          <a:ln w="28575" cap="flat" cmpd="sng" algn="ctr">
            <a:solidFill>
              <a:schemeClr val="bg2">
                <a:lumMod val="10000"/>
              </a:schemeClr>
            </a:solidFill>
            <a:prstDash val="solid"/>
            <a:round/>
            <a:headEnd type="none" w="med" len="med"/>
            <a:tailEnd type="triangle"/>
          </a:ln>
          <a:effectLst/>
        </p:spPr>
      </p:cxnSp>
      <p:cxnSp>
        <p:nvCxnSpPr>
          <p:cNvPr id="567" name="Straight Connector 566">
            <a:extLst>
              <a:ext uri="{FF2B5EF4-FFF2-40B4-BE49-F238E27FC236}">
                <a16:creationId xmlns:a16="http://schemas.microsoft.com/office/drawing/2014/main" id="{82D70095-FC3F-4A6B-92C0-56F9BFBE1FFE}"/>
              </a:ext>
            </a:extLst>
          </p:cNvPr>
          <p:cNvCxnSpPr>
            <a:cxnSpLocks/>
          </p:cNvCxnSpPr>
          <p:nvPr/>
        </p:nvCxnSpPr>
        <p:spPr bwMode="auto">
          <a:xfrm>
            <a:off x="3948314" y="2316893"/>
            <a:ext cx="78332" cy="330779"/>
          </a:xfrm>
          <a:prstGeom prst="line">
            <a:avLst/>
          </a:prstGeom>
          <a:solidFill>
            <a:srgbClr val="C0C0C0"/>
          </a:solidFill>
          <a:ln w="12700" cap="flat" cmpd="sng" algn="ctr">
            <a:solidFill>
              <a:schemeClr val="tx1"/>
            </a:solidFill>
            <a:prstDash val="solid"/>
            <a:round/>
            <a:headEnd type="none" w="med" len="med"/>
            <a:tailEnd type="triangle" w="med" len="med"/>
          </a:ln>
          <a:effectLst/>
        </p:spPr>
      </p:cxnSp>
      <p:cxnSp>
        <p:nvCxnSpPr>
          <p:cNvPr id="568" name="Straight Connector 567">
            <a:extLst>
              <a:ext uri="{FF2B5EF4-FFF2-40B4-BE49-F238E27FC236}">
                <a16:creationId xmlns:a16="http://schemas.microsoft.com/office/drawing/2014/main" id="{CA063404-2ED9-440A-B81F-66CD8FC0CFBF}"/>
              </a:ext>
            </a:extLst>
          </p:cNvPr>
          <p:cNvCxnSpPr>
            <a:cxnSpLocks/>
          </p:cNvCxnSpPr>
          <p:nvPr/>
        </p:nvCxnSpPr>
        <p:spPr bwMode="auto">
          <a:xfrm>
            <a:off x="7110666" y="3033607"/>
            <a:ext cx="38737" cy="271805"/>
          </a:xfrm>
          <a:prstGeom prst="line">
            <a:avLst/>
          </a:prstGeom>
          <a:solidFill>
            <a:srgbClr val="C0C0C0"/>
          </a:solidFill>
          <a:ln w="12700" cap="flat" cmpd="sng" algn="ctr">
            <a:solidFill>
              <a:schemeClr val="tx1"/>
            </a:solidFill>
            <a:prstDash val="solid"/>
            <a:round/>
            <a:headEnd type="none" w="med" len="med"/>
            <a:tailEnd type="triangle" w="med" len="med"/>
          </a:ln>
          <a:effectLst/>
        </p:spPr>
      </p:cxnSp>
      <p:cxnSp>
        <p:nvCxnSpPr>
          <p:cNvPr id="569" name="Straight Connector 568">
            <a:extLst>
              <a:ext uri="{FF2B5EF4-FFF2-40B4-BE49-F238E27FC236}">
                <a16:creationId xmlns:a16="http://schemas.microsoft.com/office/drawing/2014/main" id="{B2455903-3073-46D1-920E-78E9B39FA188}"/>
              </a:ext>
            </a:extLst>
          </p:cNvPr>
          <p:cNvCxnSpPr>
            <a:cxnSpLocks/>
            <a:endCxn id="523" idx="0"/>
          </p:cNvCxnSpPr>
          <p:nvPr/>
        </p:nvCxnSpPr>
        <p:spPr bwMode="auto">
          <a:xfrm flipH="1">
            <a:off x="10124556" y="3137653"/>
            <a:ext cx="15316" cy="216000"/>
          </a:xfrm>
          <a:prstGeom prst="line">
            <a:avLst/>
          </a:prstGeom>
          <a:solidFill>
            <a:srgbClr val="C0C0C0"/>
          </a:solidFill>
          <a:ln w="12700" cap="flat" cmpd="sng" algn="ctr">
            <a:solidFill>
              <a:schemeClr val="tx1"/>
            </a:solidFill>
            <a:prstDash val="solid"/>
            <a:round/>
            <a:headEnd type="none" w="med" len="med"/>
            <a:tailEnd type="triangle" w="med" len="med"/>
          </a:ln>
          <a:effectLst/>
        </p:spPr>
      </p:cxnSp>
      <p:cxnSp>
        <p:nvCxnSpPr>
          <p:cNvPr id="570" name="Connector: Elbow 569">
            <a:extLst>
              <a:ext uri="{FF2B5EF4-FFF2-40B4-BE49-F238E27FC236}">
                <a16:creationId xmlns:a16="http://schemas.microsoft.com/office/drawing/2014/main" id="{F4D4DA58-D4CC-45F1-B04F-E86A6D7E555C}"/>
              </a:ext>
            </a:extLst>
          </p:cNvPr>
          <p:cNvCxnSpPr>
            <a:cxnSpLocks/>
            <a:stCxn id="518" idx="4"/>
            <a:endCxn id="547" idx="0"/>
          </p:cNvCxnSpPr>
          <p:nvPr/>
        </p:nvCxnSpPr>
        <p:spPr bwMode="auto">
          <a:xfrm rot="5400000">
            <a:off x="6333076" y="3869459"/>
            <a:ext cx="1183763" cy="485546"/>
          </a:xfrm>
          <a:prstGeom prst="bentConnector3">
            <a:avLst>
              <a:gd name="adj1" fmla="val 64305"/>
            </a:avLst>
          </a:prstGeom>
          <a:solidFill>
            <a:srgbClr val="C0C0C0"/>
          </a:solidFill>
          <a:ln w="28575" cap="flat" cmpd="sng" algn="ctr">
            <a:solidFill>
              <a:schemeClr val="bg2">
                <a:lumMod val="10000"/>
              </a:schemeClr>
            </a:solidFill>
            <a:prstDash val="solid"/>
            <a:round/>
            <a:headEnd type="none" w="med" len="med"/>
            <a:tailEnd type="triangle"/>
          </a:ln>
          <a:effectLst/>
        </p:spPr>
      </p:cxnSp>
      <p:cxnSp>
        <p:nvCxnSpPr>
          <p:cNvPr id="571" name="Connector: Elbow 570">
            <a:extLst>
              <a:ext uri="{FF2B5EF4-FFF2-40B4-BE49-F238E27FC236}">
                <a16:creationId xmlns:a16="http://schemas.microsoft.com/office/drawing/2014/main" id="{01F1BB39-FBDC-464C-A069-3977180C7AA7}"/>
              </a:ext>
            </a:extLst>
          </p:cNvPr>
          <p:cNvCxnSpPr>
            <a:cxnSpLocks/>
            <a:stCxn id="530" idx="3"/>
            <a:endCxn id="549" idx="0"/>
          </p:cNvCxnSpPr>
          <p:nvPr/>
        </p:nvCxnSpPr>
        <p:spPr bwMode="auto">
          <a:xfrm>
            <a:off x="6481310" y="4419687"/>
            <a:ext cx="627342" cy="307572"/>
          </a:xfrm>
          <a:prstGeom prst="bentConnector2">
            <a:avLst/>
          </a:prstGeom>
          <a:solidFill>
            <a:srgbClr val="C0C0C0"/>
          </a:solidFill>
          <a:ln w="28575" cap="flat" cmpd="sng" algn="ctr">
            <a:solidFill>
              <a:schemeClr val="bg2">
                <a:lumMod val="10000"/>
              </a:schemeClr>
            </a:solidFill>
            <a:prstDash val="solid"/>
            <a:round/>
            <a:headEnd type="none" w="med" len="med"/>
            <a:tailEnd type="triangle"/>
          </a:ln>
          <a:effectLst/>
        </p:spPr>
      </p:cxnSp>
      <p:cxnSp>
        <p:nvCxnSpPr>
          <p:cNvPr id="572" name="Connector: Elbow 571">
            <a:extLst>
              <a:ext uri="{FF2B5EF4-FFF2-40B4-BE49-F238E27FC236}">
                <a16:creationId xmlns:a16="http://schemas.microsoft.com/office/drawing/2014/main" id="{59AD6BEA-F17D-4AA5-AC7E-B4E2683C3C7F}"/>
              </a:ext>
            </a:extLst>
          </p:cNvPr>
          <p:cNvCxnSpPr>
            <a:cxnSpLocks/>
            <a:stCxn id="532" idx="2"/>
            <a:endCxn id="547" idx="7"/>
          </p:cNvCxnSpPr>
          <p:nvPr/>
        </p:nvCxnSpPr>
        <p:spPr bwMode="auto">
          <a:xfrm rot="5400000">
            <a:off x="7345558" y="3988299"/>
            <a:ext cx="224341" cy="1291642"/>
          </a:xfrm>
          <a:prstGeom prst="bentConnector3">
            <a:avLst>
              <a:gd name="adj1" fmla="val 27355"/>
            </a:avLst>
          </a:prstGeom>
          <a:solidFill>
            <a:srgbClr val="C0C0C0"/>
          </a:solidFill>
          <a:ln w="28575" cap="flat" cmpd="sng" algn="ctr">
            <a:solidFill>
              <a:schemeClr val="bg2">
                <a:lumMod val="10000"/>
              </a:schemeClr>
            </a:solidFill>
            <a:prstDash val="solid"/>
            <a:round/>
            <a:headEnd type="none" w="med" len="med"/>
            <a:tailEnd type="triangle"/>
          </a:ln>
          <a:effectLst/>
        </p:spPr>
      </p:cxnSp>
      <p:cxnSp>
        <p:nvCxnSpPr>
          <p:cNvPr id="573" name="Connector: Elbow 572">
            <a:extLst>
              <a:ext uri="{FF2B5EF4-FFF2-40B4-BE49-F238E27FC236}">
                <a16:creationId xmlns:a16="http://schemas.microsoft.com/office/drawing/2014/main" id="{881B1145-8504-48A0-8610-96EAE4B49F6C}"/>
              </a:ext>
            </a:extLst>
          </p:cNvPr>
          <p:cNvCxnSpPr>
            <a:cxnSpLocks/>
            <a:stCxn id="526" idx="4"/>
            <a:endCxn id="561" idx="0"/>
          </p:cNvCxnSpPr>
          <p:nvPr/>
        </p:nvCxnSpPr>
        <p:spPr bwMode="auto">
          <a:xfrm rot="16200000" flipH="1">
            <a:off x="10043874" y="3936074"/>
            <a:ext cx="599202" cy="604442"/>
          </a:xfrm>
          <a:prstGeom prst="bentConnector3">
            <a:avLst>
              <a:gd name="adj1" fmla="val 50000"/>
            </a:avLst>
          </a:prstGeom>
          <a:solidFill>
            <a:srgbClr val="C0C0C0"/>
          </a:solidFill>
          <a:ln w="28575" cap="flat" cmpd="sng" algn="ctr">
            <a:solidFill>
              <a:schemeClr val="bg2">
                <a:lumMod val="10000"/>
              </a:schemeClr>
            </a:solidFill>
            <a:prstDash val="solid"/>
            <a:round/>
            <a:headEnd type="none" w="med" len="med"/>
            <a:tailEnd type="triangle"/>
          </a:ln>
          <a:effectLst/>
        </p:spPr>
      </p:cxnSp>
      <p:cxnSp>
        <p:nvCxnSpPr>
          <p:cNvPr id="574" name="Connector: Elbow 573">
            <a:extLst>
              <a:ext uri="{FF2B5EF4-FFF2-40B4-BE49-F238E27FC236}">
                <a16:creationId xmlns:a16="http://schemas.microsoft.com/office/drawing/2014/main" id="{2D77E56F-562B-4D91-BE2D-2E20EE318C21}"/>
              </a:ext>
            </a:extLst>
          </p:cNvPr>
          <p:cNvCxnSpPr>
            <a:cxnSpLocks/>
            <a:stCxn id="529" idx="2"/>
            <a:endCxn id="516" idx="1"/>
          </p:cNvCxnSpPr>
          <p:nvPr/>
        </p:nvCxnSpPr>
        <p:spPr bwMode="auto">
          <a:xfrm rot="16200000" flipH="1">
            <a:off x="9522522" y="3915886"/>
            <a:ext cx="760042" cy="1138673"/>
          </a:xfrm>
          <a:prstGeom prst="bentConnector2">
            <a:avLst/>
          </a:prstGeom>
          <a:solidFill>
            <a:srgbClr val="C0C0C0"/>
          </a:solidFill>
          <a:ln w="28575" cap="flat" cmpd="sng" algn="ctr">
            <a:solidFill>
              <a:schemeClr val="bg2">
                <a:lumMod val="10000"/>
              </a:schemeClr>
            </a:solidFill>
            <a:prstDash val="solid"/>
            <a:round/>
            <a:headEnd type="none" w="med" len="med"/>
            <a:tailEnd type="triangle"/>
          </a:ln>
          <a:effectLst/>
        </p:spPr>
      </p:cxnSp>
      <p:cxnSp>
        <p:nvCxnSpPr>
          <p:cNvPr id="575" name="Connector: Elbow 574">
            <a:extLst>
              <a:ext uri="{FF2B5EF4-FFF2-40B4-BE49-F238E27FC236}">
                <a16:creationId xmlns:a16="http://schemas.microsoft.com/office/drawing/2014/main" id="{7AC0B107-BF24-4D58-A9A5-38383A282AC2}"/>
              </a:ext>
            </a:extLst>
          </p:cNvPr>
          <p:cNvCxnSpPr>
            <a:cxnSpLocks/>
            <a:stCxn id="531" idx="2"/>
            <a:endCxn id="516" idx="3"/>
          </p:cNvCxnSpPr>
          <p:nvPr/>
        </p:nvCxnSpPr>
        <p:spPr bwMode="auto">
          <a:xfrm rot="5400000">
            <a:off x="10814103" y="4432349"/>
            <a:ext cx="446859" cy="418930"/>
          </a:xfrm>
          <a:prstGeom prst="bentConnector2">
            <a:avLst/>
          </a:prstGeom>
          <a:solidFill>
            <a:srgbClr val="C0C0C0"/>
          </a:solidFill>
          <a:ln w="28575" cap="flat" cmpd="sng" algn="ctr">
            <a:solidFill>
              <a:schemeClr val="bg2">
                <a:lumMod val="10000"/>
              </a:schemeClr>
            </a:solidFill>
            <a:prstDash val="solid"/>
            <a:round/>
            <a:headEnd type="none" w="med" len="med"/>
            <a:tailEnd type="triangle"/>
          </a:ln>
          <a:effectLst/>
        </p:spPr>
      </p:cxnSp>
      <p:sp>
        <p:nvSpPr>
          <p:cNvPr id="576" name="Rectangle 575">
            <a:extLst>
              <a:ext uri="{FF2B5EF4-FFF2-40B4-BE49-F238E27FC236}">
                <a16:creationId xmlns:a16="http://schemas.microsoft.com/office/drawing/2014/main" id="{560D67D1-95E2-4CA3-BE93-FB8BE1EFEE75}"/>
              </a:ext>
            </a:extLst>
          </p:cNvPr>
          <p:cNvSpPr/>
          <p:nvPr/>
        </p:nvSpPr>
        <p:spPr bwMode="auto">
          <a:xfrm>
            <a:off x="2929760" y="5299764"/>
            <a:ext cx="2635476" cy="288000"/>
          </a:xfrm>
          <a:prstGeom prst="rect">
            <a:avLst/>
          </a:prstGeom>
          <a:solidFill>
            <a:schemeClr val="bg1"/>
          </a:solidFill>
          <a:ln w="19050" cap="flat" cmpd="sng" algn="ctr">
            <a:solidFill>
              <a:schemeClr val="tx1"/>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Vasoconstriction and proliferation</a:t>
            </a:r>
          </a:p>
        </p:txBody>
      </p:sp>
      <p:sp>
        <p:nvSpPr>
          <p:cNvPr id="577" name="Rectangle 576">
            <a:extLst>
              <a:ext uri="{FF2B5EF4-FFF2-40B4-BE49-F238E27FC236}">
                <a16:creationId xmlns:a16="http://schemas.microsoft.com/office/drawing/2014/main" id="{8F87CDA2-2544-44E3-B1E4-8404CDBA915A}"/>
              </a:ext>
            </a:extLst>
          </p:cNvPr>
          <p:cNvSpPr/>
          <p:nvPr/>
        </p:nvSpPr>
        <p:spPr bwMode="auto">
          <a:xfrm>
            <a:off x="5944493" y="5299764"/>
            <a:ext cx="2635476" cy="288000"/>
          </a:xfrm>
          <a:prstGeom prst="rect">
            <a:avLst/>
          </a:prstGeom>
          <a:solidFill>
            <a:schemeClr val="bg1"/>
          </a:solidFill>
          <a:ln w="19050" cap="flat" cmpd="sng" algn="ctr">
            <a:solidFill>
              <a:schemeClr val="tx1"/>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dirty="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Vasodilation and anti-proliferation</a:t>
            </a:r>
          </a:p>
        </p:txBody>
      </p:sp>
      <p:sp>
        <p:nvSpPr>
          <p:cNvPr id="578" name="Rectangle 577">
            <a:extLst>
              <a:ext uri="{FF2B5EF4-FFF2-40B4-BE49-F238E27FC236}">
                <a16:creationId xmlns:a16="http://schemas.microsoft.com/office/drawing/2014/main" id="{42337562-EE5D-4401-90A8-220D6CE175E8}"/>
              </a:ext>
            </a:extLst>
          </p:cNvPr>
          <p:cNvSpPr/>
          <p:nvPr/>
        </p:nvSpPr>
        <p:spPr bwMode="auto">
          <a:xfrm>
            <a:off x="9029227" y="5299764"/>
            <a:ext cx="2635476" cy="288000"/>
          </a:xfrm>
          <a:prstGeom prst="rect">
            <a:avLst/>
          </a:prstGeom>
          <a:solidFill>
            <a:schemeClr val="bg1"/>
          </a:solidFill>
          <a:ln w="19050" cap="flat" cmpd="sng" algn="ctr">
            <a:solidFill>
              <a:schemeClr val="tx1"/>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Vasodilation and anti-proliferation</a:t>
            </a:r>
          </a:p>
        </p:txBody>
      </p:sp>
      <p:sp>
        <p:nvSpPr>
          <p:cNvPr id="579" name="TextBox 578">
            <a:extLst>
              <a:ext uri="{FF2B5EF4-FFF2-40B4-BE49-F238E27FC236}">
                <a16:creationId xmlns:a16="http://schemas.microsoft.com/office/drawing/2014/main" id="{90068DA5-FF5A-4C11-B3F0-919812732CB8}"/>
              </a:ext>
            </a:extLst>
          </p:cNvPr>
          <p:cNvSpPr txBox="1"/>
          <p:nvPr/>
        </p:nvSpPr>
        <p:spPr>
          <a:xfrm>
            <a:off x="711950" y="2190437"/>
            <a:ext cx="132673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Endothelium</a:t>
            </a:r>
          </a:p>
        </p:txBody>
      </p:sp>
      <p:sp>
        <p:nvSpPr>
          <p:cNvPr id="580" name="TextBox 579">
            <a:extLst>
              <a:ext uri="{FF2B5EF4-FFF2-40B4-BE49-F238E27FC236}">
                <a16:creationId xmlns:a16="http://schemas.microsoft.com/office/drawing/2014/main" id="{FF588F4F-905F-498F-AFD6-6AACC31A4A97}"/>
              </a:ext>
            </a:extLst>
          </p:cNvPr>
          <p:cNvSpPr txBox="1"/>
          <p:nvPr/>
        </p:nvSpPr>
        <p:spPr>
          <a:xfrm>
            <a:off x="567353" y="5427557"/>
            <a:ext cx="132673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Smooth muscle cell</a:t>
            </a:r>
          </a:p>
        </p:txBody>
      </p:sp>
      <p:cxnSp>
        <p:nvCxnSpPr>
          <p:cNvPr id="581" name="Straight Connector 580">
            <a:extLst>
              <a:ext uri="{FF2B5EF4-FFF2-40B4-BE49-F238E27FC236}">
                <a16:creationId xmlns:a16="http://schemas.microsoft.com/office/drawing/2014/main" id="{DC46A708-4CCA-4DD6-9DED-E5149F5B008D}"/>
              </a:ext>
            </a:extLst>
          </p:cNvPr>
          <p:cNvCxnSpPr>
            <a:cxnSpLocks/>
            <a:stCxn id="579" idx="2"/>
            <a:endCxn id="203" idx="6"/>
          </p:cNvCxnSpPr>
          <p:nvPr/>
        </p:nvCxnSpPr>
        <p:spPr bwMode="auto">
          <a:xfrm flipH="1">
            <a:off x="1271386" y="2421269"/>
            <a:ext cx="103929" cy="1110289"/>
          </a:xfrm>
          <a:prstGeom prst="line">
            <a:avLst/>
          </a:prstGeom>
          <a:solidFill>
            <a:srgbClr val="C0C0C0"/>
          </a:solidFill>
          <a:ln w="12700" cap="flat" cmpd="sng" algn="ctr">
            <a:solidFill>
              <a:schemeClr val="tx1"/>
            </a:solidFill>
            <a:prstDash val="solid"/>
            <a:round/>
            <a:headEnd type="none" w="med" len="med"/>
            <a:tailEnd type="none" w="med" len="med"/>
          </a:ln>
          <a:effectLst/>
        </p:spPr>
      </p:cxnSp>
      <p:cxnSp>
        <p:nvCxnSpPr>
          <p:cNvPr id="582" name="Straight Connector 581">
            <a:extLst>
              <a:ext uri="{FF2B5EF4-FFF2-40B4-BE49-F238E27FC236}">
                <a16:creationId xmlns:a16="http://schemas.microsoft.com/office/drawing/2014/main" id="{89AEE893-CAE0-4C33-878B-6F94D94EEEAB}"/>
              </a:ext>
            </a:extLst>
          </p:cNvPr>
          <p:cNvCxnSpPr>
            <a:cxnSpLocks/>
            <a:stCxn id="580" idx="0"/>
            <a:endCxn id="170" idx="2"/>
          </p:cNvCxnSpPr>
          <p:nvPr/>
        </p:nvCxnSpPr>
        <p:spPr bwMode="auto">
          <a:xfrm flipH="1" flipV="1">
            <a:off x="1015807" y="4458036"/>
            <a:ext cx="214911" cy="969521"/>
          </a:xfrm>
          <a:prstGeom prst="line">
            <a:avLst/>
          </a:prstGeom>
          <a:solidFill>
            <a:srgbClr val="C0C0C0"/>
          </a:solidFill>
          <a:ln w="12700" cap="flat" cmpd="sng" algn="ctr">
            <a:solidFill>
              <a:schemeClr val="tx1"/>
            </a:solidFill>
            <a:prstDash val="solid"/>
            <a:round/>
            <a:headEnd type="none" w="med" len="med"/>
            <a:tailEnd type="none" w="med" len="med"/>
          </a:ln>
          <a:effectLst/>
        </p:spPr>
      </p:cxnSp>
      <p:sp>
        <p:nvSpPr>
          <p:cNvPr id="583" name="Rectangle 582">
            <a:extLst>
              <a:ext uri="{FF2B5EF4-FFF2-40B4-BE49-F238E27FC236}">
                <a16:creationId xmlns:a16="http://schemas.microsoft.com/office/drawing/2014/main" id="{2F891B4C-A015-4972-9431-872DC5DE2F33}"/>
              </a:ext>
            </a:extLst>
          </p:cNvPr>
          <p:cNvSpPr/>
          <p:nvPr/>
        </p:nvSpPr>
        <p:spPr bwMode="auto">
          <a:xfrm>
            <a:off x="2594115" y="1581867"/>
            <a:ext cx="6119376" cy="4050096"/>
          </a:xfrm>
          <a:prstGeom prst="rect">
            <a:avLst/>
          </a:prstGeom>
          <a:noFill/>
          <a:ln w="28575"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84" name="Rectangle 583">
            <a:extLst>
              <a:ext uri="{FF2B5EF4-FFF2-40B4-BE49-F238E27FC236}">
                <a16:creationId xmlns:a16="http://schemas.microsoft.com/office/drawing/2014/main" id="{333AC1D5-C9FF-4003-B99C-7AFAB5CE4DAF}"/>
              </a:ext>
            </a:extLst>
          </p:cNvPr>
          <p:cNvSpPr/>
          <p:nvPr/>
        </p:nvSpPr>
        <p:spPr bwMode="auto">
          <a:xfrm>
            <a:off x="2594115" y="1581867"/>
            <a:ext cx="3137077" cy="4050096"/>
          </a:xfrm>
          <a:prstGeom prst="rect">
            <a:avLst/>
          </a:prstGeom>
          <a:noFill/>
          <a:ln w="28575"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3" name="TextBox 2">
            <a:extLst>
              <a:ext uri="{FF2B5EF4-FFF2-40B4-BE49-F238E27FC236}">
                <a16:creationId xmlns:a16="http://schemas.microsoft.com/office/drawing/2014/main" id="{D4ECF93C-BEDA-234B-8AFF-562D898CEEF4}"/>
              </a:ext>
            </a:extLst>
          </p:cNvPr>
          <p:cNvSpPr txBox="1"/>
          <p:nvPr/>
        </p:nvSpPr>
        <p:spPr>
          <a:xfrm>
            <a:off x="21491" y="6317680"/>
            <a:ext cx="12170509" cy="553998"/>
          </a:xfrm>
          <a:prstGeom prst="rect">
            <a:avLst/>
          </a:prstGeom>
          <a:noFill/>
        </p:spPr>
        <p:txBody>
          <a:bodyPr wrap="square" numCol="1" spcCol="45720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F3F3F"/>
                </a:solidFill>
                <a:effectLst/>
                <a:uLnTx/>
                <a:uFillTx/>
                <a:latin typeface="Arial" panose="020B0604020202020204"/>
                <a:ea typeface="+mn-ea"/>
                <a:cs typeface="+mn-cs"/>
              </a:rPr>
              <a:t>1. Pugliese S, et al. </a:t>
            </a:r>
            <a:r>
              <a:rPr kumimoji="0" lang="en-US" sz="1000" b="0" i="1" u="none" strike="noStrike" kern="1200" cap="none" spc="0" normalizeH="0" baseline="0" noProof="0" dirty="0">
                <a:ln>
                  <a:noFill/>
                </a:ln>
                <a:solidFill>
                  <a:srgbClr val="3F3F3F"/>
                </a:solidFill>
                <a:effectLst/>
                <a:uLnTx/>
                <a:uFillTx/>
                <a:latin typeface="Arial" panose="020B0604020202020204"/>
                <a:ea typeface="+mn-ea"/>
                <a:cs typeface="+mn-cs"/>
              </a:rPr>
              <a:t>Am J </a:t>
            </a:r>
            <a:r>
              <a:rPr kumimoji="0" lang="en-US" sz="1000" b="0" i="1" u="none" strike="noStrike" kern="1200" cap="none" spc="0" normalizeH="0" baseline="0" noProof="0" dirty="0" err="1">
                <a:ln>
                  <a:noFill/>
                </a:ln>
                <a:solidFill>
                  <a:srgbClr val="3F3F3F"/>
                </a:solidFill>
                <a:effectLst/>
                <a:uLnTx/>
                <a:uFillTx/>
                <a:latin typeface="Arial" panose="020B0604020202020204"/>
                <a:ea typeface="+mn-ea"/>
                <a:cs typeface="+mn-cs"/>
              </a:rPr>
              <a:t>Physiol</a:t>
            </a:r>
            <a:r>
              <a:rPr kumimoji="0" lang="en-US" sz="1000" b="0" i="1" u="none" strike="noStrike" kern="1200" cap="none" spc="0" normalizeH="0" baseline="0" noProof="0" dirty="0">
                <a:ln>
                  <a:noFill/>
                </a:ln>
                <a:solidFill>
                  <a:srgbClr val="3F3F3F"/>
                </a:solidFill>
                <a:effectLst/>
                <a:uLnTx/>
                <a:uFillTx/>
                <a:latin typeface="Arial" panose="020B0604020202020204"/>
                <a:ea typeface="+mn-ea"/>
                <a:cs typeface="+mn-cs"/>
              </a:rPr>
              <a:t> Lung Cell </a:t>
            </a:r>
            <a:r>
              <a:rPr kumimoji="0" lang="en-US" sz="1000" b="0" i="1" u="none" strike="noStrike" kern="1200" cap="none" spc="0" normalizeH="0" baseline="0" noProof="0" dirty="0" err="1">
                <a:ln>
                  <a:noFill/>
                </a:ln>
                <a:solidFill>
                  <a:srgbClr val="3F3F3F"/>
                </a:solidFill>
                <a:effectLst/>
                <a:uLnTx/>
                <a:uFillTx/>
                <a:latin typeface="Arial" panose="020B0604020202020204"/>
                <a:ea typeface="+mn-ea"/>
                <a:cs typeface="+mn-cs"/>
              </a:rPr>
              <a:t>Mol</a:t>
            </a:r>
            <a:r>
              <a:rPr kumimoji="0" lang="en-US" sz="1000" b="0" i="1" u="none" strike="noStrike" kern="1200" cap="none" spc="0" normalizeH="0" baseline="0" noProof="0" dirty="0">
                <a:ln>
                  <a:noFill/>
                </a:ln>
                <a:solidFill>
                  <a:srgbClr val="3F3F3F"/>
                </a:solidFill>
                <a:effectLst/>
                <a:uLnTx/>
                <a:uFillTx/>
                <a:latin typeface="Arial" panose="020B0604020202020204"/>
                <a:ea typeface="+mn-ea"/>
                <a:cs typeface="+mn-cs"/>
              </a:rPr>
              <a:t> Physiol.</a:t>
            </a:r>
            <a:r>
              <a:rPr kumimoji="0" lang="en-US" sz="1000" b="0" i="0" u="none" strike="noStrike" kern="1200" cap="none" spc="0" normalizeH="0" baseline="0" noProof="0" dirty="0">
                <a:ln>
                  <a:noFill/>
                </a:ln>
                <a:solidFill>
                  <a:srgbClr val="3F3F3F"/>
                </a:solidFill>
                <a:effectLst/>
                <a:uLnTx/>
                <a:uFillTx/>
                <a:latin typeface="Arial" panose="020B0604020202020204"/>
                <a:ea typeface="+mn-ea"/>
                <a:cs typeface="+mn-cs"/>
              </a:rPr>
              <a:t> 2015; 308:L229-252; 2. Lau EMT, et al. </a:t>
            </a:r>
            <a:r>
              <a:rPr kumimoji="0" lang="en-US" sz="1000" b="0" i="1" u="none" strike="noStrike" kern="1200" cap="none" spc="0" normalizeH="0" baseline="0" noProof="0" dirty="0">
                <a:ln>
                  <a:noFill/>
                </a:ln>
                <a:solidFill>
                  <a:srgbClr val="3F3F3F"/>
                </a:solidFill>
                <a:effectLst/>
                <a:uLnTx/>
                <a:uFillTx/>
                <a:latin typeface="Arial" panose="020B0604020202020204"/>
                <a:ea typeface="+mn-ea"/>
                <a:cs typeface="+mn-cs"/>
              </a:rPr>
              <a:t>Nat Rev </a:t>
            </a:r>
            <a:r>
              <a:rPr kumimoji="0" lang="en-US" sz="1000" b="0" i="1" u="none" strike="noStrike" kern="1200" cap="none" spc="0" normalizeH="0" baseline="0" noProof="0" dirty="0" err="1">
                <a:ln>
                  <a:noFill/>
                </a:ln>
                <a:solidFill>
                  <a:srgbClr val="3F3F3F"/>
                </a:solidFill>
                <a:effectLst/>
                <a:uLnTx/>
                <a:uFillTx/>
                <a:latin typeface="Arial" panose="020B0604020202020204"/>
                <a:ea typeface="+mn-ea"/>
                <a:cs typeface="+mn-cs"/>
              </a:rPr>
              <a:t>Cardio</a:t>
            </a:r>
            <a:r>
              <a:rPr kumimoji="0" lang="en-US" sz="1000" b="0" i="0" u="none" strike="noStrike" kern="1200" cap="none" spc="0" normalizeH="0" baseline="0" noProof="0" dirty="0" err="1">
                <a:ln>
                  <a:noFill/>
                </a:ln>
                <a:solidFill>
                  <a:srgbClr val="3F3F3F"/>
                </a:solidFill>
                <a:effectLst/>
                <a:uLnTx/>
                <a:uFillTx/>
                <a:latin typeface="Arial" panose="020B0604020202020204"/>
                <a:ea typeface="+mn-ea"/>
                <a:cs typeface="+mn-cs"/>
              </a:rPr>
              <a:t>l</a:t>
            </a:r>
            <a:r>
              <a:rPr kumimoji="0" lang="en-US" sz="1000" b="0" i="0" u="none" strike="noStrike" kern="1200" cap="none" spc="0" normalizeH="0" baseline="0" noProof="0" dirty="0">
                <a:ln>
                  <a:noFill/>
                </a:ln>
                <a:solidFill>
                  <a:srgbClr val="3F3F3F"/>
                </a:solidFill>
                <a:effectLst/>
                <a:uLnTx/>
                <a:uFillTx/>
                <a:latin typeface="Arial" panose="020B0604020202020204"/>
                <a:ea typeface="+mn-ea"/>
                <a:cs typeface="+mn-cs"/>
              </a:rPr>
              <a:t>. 2017;14:603-14; 3. Actelion. </a:t>
            </a:r>
            <a:r>
              <a:rPr kumimoji="0" lang="en-US" sz="1000" b="0" i="0" u="none" strike="noStrike" kern="1200" cap="none" spc="0" normalizeH="0" baseline="0" noProof="0" dirty="0" err="1">
                <a:ln>
                  <a:noFill/>
                </a:ln>
                <a:solidFill>
                  <a:srgbClr val="3F3F3F"/>
                </a:solidFill>
                <a:effectLst/>
                <a:uLnTx/>
                <a:uFillTx/>
                <a:latin typeface="Arial" panose="020B0604020202020204"/>
                <a:ea typeface="+mn-ea"/>
                <a:cs typeface="+mn-cs"/>
              </a:rPr>
              <a:t>ClinicalTrials.gov</a:t>
            </a:r>
            <a:r>
              <a:rPr kumimoji="0" lang="en-US" sz="1000" b="0" i="0" u="none" strike="noStrike" kern="1200" cap="none" spc="0" normalizeH="0" baseline="0" noProof="0" dirty="0">
                <a:ln>
                  <a:noFill/>
                </a:ln>
                <a:solidFill>
                  <a:srgbClr val="3F3F3F"/>
                </a:solidFill>
                <a:effectLst/>
                <a:uLnTx/>
                <a:uFillTx/>
                <a:latin typeface="Arial" panose="020B0604020202020204"/>
                <a:ea typeface="+mn-ea"/>
                <a:cs typeface="+mn-cs"/>
              </a:rPr>
              <a:t> Identifier: NCT04273945. Updated August 16,2023; 4. Actelion. </a:t>
            </a:r>
            <a:r>
              <a:rPr kumimoji="0" lang="en-US" sz="1000" b="0" i="0" u="none" strike="noStrike" kern="1200" cap="none" spc="0" normalizeH="0" baseline="0" noProof="0" dirty="0" err="1">
                <a:ln>
                  <a:noFill/>
                </a:ln>
                <a:solidFill>
                  <a:srgbClr val="3F3F3F"/>
                </a:solidFill>
                <a:effectLst/>
                <a:uLnTx/>
                <a:uFillTx/>
                <a:latin typeface="Arial" panose="020B0604020202020204"/>
                <a:ea typeface="+mn-ea"/>
                <a:cs typeface="+mn-cs"/>
              </a:rPr>
              <a:t>ClinicalTrials.gov</a:t>
            </a:r>
            <a:r>
              <a:rPr kumimoji="0" lang="en-US" sz="1000" b="0" i="0" u="none" strike="noStrike" kern="1200" cap="none" spc="0" normalizeH="0" baseline="0" noProof="0" dirty="0">
                <a:ln>
                  <a:noFill/>
                </a:ln>
                <a:solidFill>
                  <a:srgbClr val="3F3F3F"/>
                </a:solidFill>
                <a:effectLst/>
                <a:uLnTx/>
                <a:uFillTx/>
                <a:latin typeface="Arial" panose="020B0604020202020204"/>
                <a:ea typeface="+mn-ea"/>
                <a:cs typeface="+mn-cs"/>
              </a:rPr>
              <a:t> Identifier: NCT03904693. Updated August 16, 2023; 5. </a:t>
            </a:r>
            <a:r>
              <a:rPr kumimoji="0" lang="en-US" sz="1000" b="0" i="0" u="none" strike="noStrike" kern="1200" cap="none" spc="0" normalizeH="0" baseline="0" noProof="0" dirty="0" err="1">
                <a:ln>
                  <a:noFill/>
                </a:ln>
                <a:solidFill>
                  <a:srgbClr val="3F3F3F"/>
                </a:solidFill>
                <a:effectLst/>
                <a:uLnTx/>
                <a:uFillTx/>
                <a:latin typeface="Arial" panose="020B0604020202020204"/>
                <a:ea typeface="+mn-ea"/>
                <a:cs typeface="+mn-cs"/>
              </a:rPr>
              <a:t>Liquidia</a:t>
            </a:r>
            <a:r>
              <a:rPr kumimoji="0" lang="en-US" sz="1000" b="0" i="0" u="none" strike="noStrike" kern="1200" cap="none" spc="0" normalizeH="0" baseline="0" noProof="0" dirty="0">
                <a:ln>
                  <a:noFill/>
                </a:ln>
                <a:solidFill>
                  <a:srgbClr val="3F3F3F"/>
                </a:solidFill>
                <a:effectLst/>
                <a:uLnTx/>
                <a:uFillTx/>
                <a:latin typeface="Arial" panose="020B0604020202020204"/>
                <a:ea typeface="+mn-ea"/>
                <a:cs typeface="+mn-cs"/>
              </a:rPr>
              <a:t> Technologies, Inc. </a:t>
            </a:r>
            <a:r>
              <a:rPr kumimoji="0" lang="en-US" sz="1000" b="0" i="0" u="none" strike="noStrike" kern="1200" cap="none" spc="0" normalizeH="0" baseline="0" noProof="0" dirty="0" err="1">
                <a:ln>
                  <a:noFill/>
                </a:ln>
                <a:solidFill>
                  <a:srgbClr val="3F3F3F"/>
                </a:solidFill>
                <a:effectLst/>
                <a:uLnTx/>
                <a:uFillTx/>
                <a:latin typeface="Arial" panose="020B0604020202020204"/>
                <a:ea typeface="+mn-ea"/>
                <a:cs typeface="+mn-cs"/>
              </a:rPr>
              <a:t>ClinicalTrials.gov</a:t>
            </a:r>
            <a:r>
              <a:rPr kumimoji="0" lang="en-US" sz="1000" b="0" i="0" u="none" strike="noStrike" kern="1200" cap="none" spc="0" normalizeH="0" baseline="0" noProof="0" dirty="0">
                <a:ln>
                  <a:noFill/>
                </a:ln>
                <a:solidFill>
                  <a:srgbClr val="3F3F3F"/>
                </a:solidFill>
                <a:effectLst/>
                <a:uLnTx/>
                <a:uFillTx/>
                <a:latin typeface="Arial" panose="020B0604020202020204"/>
                <a:ea typeface="+mn-ea"/>
                <a:cs typeface="+mn-cs"/>
              </a:rPr>
              <a:t> Identifier: NCT03399604. Updated November 6, 2020; 6. Torres F,</a:t>
            </a:r>
            <a:r>
              <a:rPr kumimoji="0" lang="en-US" sz="1000" b="0" i="1" u="none" strike="noStrike" kern="1200" cap="none" spc="0" normalizeH="0" baseline="0" noProof="0" dirty="0">
                <a:ln>
                  <a:noFill/>
                </a:ln>
                <a:solidFill>
                  <a:srgbClr val="3F3F3F"/>
                </a:solidFill>
                <a:effectLst/>
                <a:uLnTx/>
                <a:uFillTx/>
                <a:latin typeface="Arial" panose="020B0604020202020204"/>
                <a:ea typeface="+mn-ea"/>
                <a:cs typeface="+mn-cs"/>
              </a:rPr>
              <a:t> </a:t>
            </a:r>
            <a:r>
              <a:rPr kumimoji="0" lang="en-US" sz="1000" b="0" i="0" u="none" strike="noStrike" kern="1200" cap="none" spc="0" normalizeH="0" baseline="0" noProof="0" dirty="0">
                <a:ln>
                  <a:noFill/>
                </a:ln>
                <a:solidFill>
                  <a:srgbClr val="3F3F3F"/>
                </a:solidFill>
                <a:effectLst/>
                <a:uLnTx/>
                <a:uFillTx/>
                <a:latin typeface="Arial" panose="020B0604020202020204"/>
                <a:ea typeface="+mn-ea"/>
                <a:cs typeface="+mn-cs"/>
              </a:rPr>
              <a:t>et al. </a:t>
            </a:r>
            <a:r>
              <a:rPr kumimoji="0" lang="en-US" sz="1000" b="0" i="1" u="none" strike="noStrike" kern="1200" cap="none" spc="0" normalizeH="0" baseline="0" noProof="0" dirty="0" err="1">
                <a:ln>
                  <a:noFill/>
                </a:ln>
                <a:solidFill>
                  <a:srgbClr val="3F3F3F"/>
                </a:solidFill>
                <a:effectLst/>
                <a:uLnTx/>
                <a:uFillTx/>
                <a:latin typeface="Arial" panose="020B0604020202020204"/>
                <a:ea typeface="+mn-ea"/>
                <a:cs typeface="+mn-cs"/>
              </a:rPr>
              <a:t>Eur</a:t>
            </a:r>
            <a:r>
              <a:rPr kumimoji="0" lang="en-US" sz="1000" b="0" i="1" u="none" strike="noStrike" kern="1200" cap="none" spc="0" normalizeH="0" baseline="0" noProof="0" dirty="0">
                <a:ln>
                  <a:noFill/>
                </a:ln>
                <a:solidFill>
                  <a:srgbClr val="3F3F3F"/>
                </a:solidFill>
                <a:effectLst/>
                <a:uLnTx/>
                <a:uFillTx/>
                <a:latin typeface="Arial" panose="020B0604020202020204"/>
                <a:ea typeface="+mn-ea"/>
                <a:cs typeface="+mn-cs"/>
              </a:rPr>
              <a:t> </a:t>
            </a:r>
            <a:r>
              <a:rPr kumimoji="0" lang="en-US" sz="1000" b="0" i="1" u="none" strike="noStrike" kern="1200" cap="none" spc="0" normalizeH="0" baseline="0" noProof="0" dirty="0" err="1">
                <a:ln>
                  <a:noFill/>
                </a:ln>
                <a:solidFill>
                  <a:srgbClr val="3F3F3F"/>
                </a:solidFill>
                <a:effectLst/>
                <a:uLnTx/>
                <a:uFillTx/>
                <a:latin typeface="Arial" panose="020B0604020202020204"/>
                <a:ea typeface="+mn-ea"/>
                <a:cs typeface="+mn-cs"/>
              </a:rPr>
              <a:t>Resp</a:t>
            </a:r>
            <a:r>
              <a:rPr kumimoji="0" lang="en-US" sz="1000" b="0" i="1" u="none" strike="noStrike" kern="1200" cap="none" spc="0" normalizeH="0" baseline="0" noProof="0" dirty="0">
                <a:ln>
                  <a:noFill/>
                </a:ln>
                <a:solidFill>
                  <a:srgbClr val="3F3F3F"/>
                </a:solidFill>
                <a:effectLst/>
                <a:uLnTx/>
                <a:uFillTx/>
                <a:latin typeface="Arial" panose="020B0604020202020204"/>
                <a:ea typeface="+mn-ea"/>
                <a:cs typeface="+mn-cs"/>
              </a:rPr>
              <a:t> J.</a:t>
            </a:r>
            <a:r>
              <a:rPr kumimoji="0" lang="en-US" sz="1000" b="0" i="0" u="none" strike="noStrike" kern="1200" cap="none" spc="0" normalizeH="0" baseline="0" noProof="0" dirty="0">
                <a:ln>
                  <a:noFill/>
                </a:ln>
                <a:solidFill>
                  <a:srgbClr val="3F3F3F"/>
                </a:solidFill>
                <a:effectLst/>
                <a:uLnTx/>
                <a:uFillTx/>
                <a:latin typeface="Arial" panose="020B0604020202020204"/>
                <a:ea typeface="+mn-ea"/>
                <a:cs typeface="+mn-cs"/>
              </a:rPr>
              <a:t> 2019;54:1901030.</a:t>
            </a:r>
          </a:p>
        </p:txBody>
      </p:sp>
    </p:spTree>
    <p:extLst>
      <p:ext uri="{BB962C8B-B14F-4D97-AF65-F5344CB8AC3E}">
        <p14:creationId xmlns:p14="http://schemas.microsoft.com/office/powerpoint/2010/main" val="31910893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 name="TextBox 603">
            <a:extLst>
              <a:ext uri="{FF2B5EF4-FFF2-40B4-BE49-F238E27FC236}">
                <a16:creationId xmlns:a16="http://schemas.microsoft.com/office/drawing/2014/main" id="{355D14AD-F3CE-9066-4409-DC41C97085C0}"/>
              </a:ext>
            </a:extLst>
          </p:cNvPr>
          <p:cNvSpPr txBox="1"/>
          <p:nvPr/>
        </p:nvSpPr>
        <p:spPr>
          <a:xfrm>
            <a:off x="5600700" y="1045927"/>
            <a:ext cx="3341353"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12121"/>
                </a:solidFill>
                <a:effectLst/>
                <a:uLnTx/>
                <a:uFillTx/>
                <a:latin typeface="Verdana" panose="020B0604030504040204" pitchFamily="34" charset="0"/>
                <a:ea typeface="Verdana" panose="020B0604030504040204" pitchFamily="34" charset="0"/>
                <a:cs typeface="+mn-cs"/>
              </a:rPr>
              <a:t>Therapeutic Pathways</a:t>
            </a:r>
            <a:r>
              <a:rPr kumimoji="0" lang="en-US" sz="1600" b="1" i="0" u="none" strike="noStrike" kern="1200" cap="none" spc="0" normalizeH="0" baseline="30000" noProof="0" dirty="0">
                <a:ln>
                  <a:noFill/>
                </a:ln>
                <a:solidFill>
                  <a:srgbClr val="212121"/>
                </a:solidFill>
                <a:effectLst/>
                <a:uLnTx/>
                <a:uFillTx/>
                <a:latin typeface="Verdana" panose="020B0604030504040204" pitchFamily="34" charset="0"/>
                <a:ea typeface="Verdana" panose="020B0604030504040204" pitchFamily="34" charset="0"/>
                <a:cs typeface="+mn-cs"/>
              </a:rPr>
              <a:t>2</a:t>
            </a:r>
            <a:endParaRPr kumimoji="0" lang="en-US" sz="1600" b="1" i="0" u="none" strike="noStrike" kern="1200" cap="none" spc="0" normalizeH="0" baseline="0" noProof="0" dirty="0">
              <a:ln>
                <a:noFill/>
              </a:ln>
              <a:solidFill>
                <a:srgbClr val="212121"/>
              </a:solidFill>
              <a:effectLst/>
              <a:uLnTx/>
              <a:uFillTx/>
              <a:latin typeface="Verdana" panose="020B0604030504040204" pitchFamily="34" charset="0"/>
              <a:ea typeface="Verdana" panose="020B0604030504040204" pitchFamily="34" charset="0"/>
              <a:cs typeface="+mn-cs"/>
            </a:endParaRPr>
          </a:p>
        </p:txBody>
      </p:sp>
      <p:sp>
        <p:nvSpPr>
          <p:cNvPr id="602" name="TextBox 601">
            <a:extLst>
              <a:ext uri="{FF2B5EF4-FFF2-40B4-BE49-F238E27FC236}">
                <a16:creationId xmlns:a16="http://schemas.microsoft.com/office/drawing/2014/main" id="{8759B869-067B-3A11-FE84-96D26649DB96}"/>
              </a:ext>
            </a:extLst>
          </p:cNvPr>
          <p:cNvSpPr txBox="1"/>
          <p:nvPr/>
        </p:nvSpPr>
        <p:spPr>
          <a:xfrm>
            <a:off x="347346" y="1045927"/>
            <a:ext cx="1805595"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212121"/>
                </a:solidFill>
                <a:effectLst/>
                <a:uLnTx/>
                <a:uFillTx/>
                <a:latin typeface="Verdana" panose="020B0604030504040204" pitchFamily="34" charset="0"/>
                <a:ea typeface="Verdana" panose="020B0604030504040204" pitchFamily="34" charset="0"/>
                <a:cs typeface="+mn-cs"/>
              </a:rPr>
              <a:t>Vessels</a:t>
            </a:r>
            <a:r>
              <a:rPr kumimoji="0" lang="en-US" sz="1600" b="1" i="0" u="none" strike="noStrike" kern="1200" cap="none" spc="0" normalizeH="0" baseline="30000" noProof="0" dirty="0">
                <a:ln>
                  <a:noFill/>
                </a:ln>
                <a:solidFill>
                  <a:srgbClr val="212121"/>
                </a:solidFill>
                <a:effectLst/>
                <a:uLnTx/>
                <a:uFillTx/>
                <a:latin typeface="Verdana" panose="020B0604030504040204" pitchFamily="34" charset="0"/>
                <a:ea typeface="Verdana" panose="020B0604030504040204" pitchFamily="34" charset="0"/>
                <a:cs typeface="+mn-cs"/>
              </a:rPr>
              <a:t>1</a:t>
            </a:r>
            <a:endParaRPr kumimoji="0" lang="en-US" sz="1600" b="1" i="0" u="none" strike="noStrike" kern="1200" cap="none" spc="0" normalizeH="0" baseline="0" noProof="0" dirty="0">
              <a:ln>
                <a:noFill/>
              </a:ln>
              <a:solidFill>
                <a:srgbClr val="212121"/>
              </a:solidFill>
              <a:effectLst/>
              <a:uLnTx/>
              <a:uFillTx/>
              <a:latin typeface="Verdana" panose="020B0604030504040204" pitchFamily="34" charset="0"/>
              <a:ea typeface="Verdana" panose="020B0604030504040204" pitchFamily="34" charset="0"/>
              <a:cs typeface="+mn-cs"/>
            </a:endParaRPr>
          </a:p>
        </p:txBody>
      </p:sp>
      <p:sp>
        <p:nvSpPr>
          <p:cNvPr id="2" name="Title 1">
            <a:extLst>
              <a:ext uri="{FF2B5EF4-FFF2-40B4-BE49-F238E27FC236}">
                <a16:creationId xmlns:a16="http://schemas.microsoft.com/office/drawing/2014/main" id="{19C28EA7-048F-49BC-863A-0D10B1ED2DA5}"/>
              </a:ext>
            </a:extLst>
          </p:cNvPr>
          <p:cNvSpPr>
            <a:spLocks noGrp="1"/>
          </p:cNvSpPr>
          <p:nvPr>
            <p:ph type="title"/>
          </p:nvPr>
        </p:nvSpPr>
        <p:spPr>
          <a:xfrm>
            <a:off x="605367" y="378458"/>
            <a:ext cx="10145760" cy="387798"/>
          </a:xfrm>
        </p:spPr>
        <p:txBody>
          <a:bodyPr>
            <a:normAutofit fontScale="90000"/>
          </a:bodyPr>
          <a:lstStyle/>
          <a:p>
            <a:r>
              <a:rPr lang="en-GB" noProof="0" dirty="0"/>
              <a:t>New Developments Target </a:t>
            </a:r>
            <a:r>
              <a:rPr lang="en-GB" dirty="0"/>
              <a:t>W</a:t>
            </a:r>
            <a:r>
              <a:rPr lang="en-GB" noProof="0" dirty="0"/>
              <a:t>ell-Established Pathological Pathways in PAH</a:t>
            </a:r>
          </a:p>
        </p:txBody>
      </p:sp>
      <p:grpSp>
        <p:nvGrpSpPr>
          <p:cNvPr id="586" name="Group 585">
            <a:extLst>
              <a:ext uri="{FF2B5EF4-FFF2-40B4-BE49-F238E27FC236}">
                <a16:creationId xmlns:a16="http://schemas.microsoft.com/office/drawing/2014/main" id="{2FD3274D-29B7-349B-7128-DCBADF3D68B4}"/>
              </a:ext>
            </a:extLst>
          </p:cNvPr>
          <p:cNvGrpSpPr/>
          <p:nvPr/>
        </p:nvGrpSpPr>
        <p:grpSpPr>
          <a:xfrm>
            <a:off x="209543" y="1579860"/>
            <a:ext cx="11647461" cy="4155017"/>
            <a:chOff x="209543" y="1592217"/>
            <a:chExt cx="11647461" cy="4155017"/>
          </a:xfrm>
        </p:grpSpPr>
        <p:grpSp>
          <p:nvGrpSpPr>
            <p:cNvPr id="6" name="Group 5">
              <a:extLst>
                <a:ext uri="{FF2B5EF4-FFF2-40B4-BE49-F238E27FC236}">
                  <a16:creationId xmlns:a16="http://schemas.microsoft.com/office/drawing/2014/main" id="{82F8827B-8628-4EE0-85D4-D0F50FD045FE}"/>
                </a:ext>
              </a:extLst>
            </p:cNvPr>
            <p:cNvGrpSpPr/>
            <p:nvPr/>
          </p:nvGrpSpPr>
          <p:grpSpPr>
            <a:xfrm>
              <a:off x="2550782" y="4961461"/>
              <a:ext cx="290606" cy="250186"/>
              <a:chOff x="2504633" y="4498758"/>
              <a:chExt cx="540336" cy="465181"/>
            </a:xfrm>
          </p:grpSpPr>
          <p:sp>
            <p:nvSpPr>
              <p:cNvPr id="7" name="Freeform: Shape 6">
                <a:extLst>
                  <a:ext uri="{FF2B5EF4-FFF2-40B4-BE49-F238E27FC236}">
                    <a16:creationId xmlns:a16="http://schemas.microsoft.com/office/drawing/2014/main" id="{EB0F6BFC-19A1-4135-BD14-05997BB66C73}"/>
                  </a:ext>
                </a:extLst>
              </p:cNvPr>
              <p:cNvSpPr>
                <a:spLocks/>
              </p:cNvSpPr>
              <p:nvPr/>
            </p:nvSpPr>
            <p:spPr bwMode="auto">
              <a:xfrm rot="1279283">
                <a:off x="2504633" y="4498758"/>
                <a:ext cx="540336" cy="465181"/>
              </a:xfrm>
              <a:custGeom>
                <a:avLst/>
                <a:gdLst>
                  <a:gd name="connsiteX0" fmla="*/ 0 w 540336"/>
                  <a:gd name="connsiteY0" fmla="*/ 0 h 465181"/>
                  <a:gd name="connsiteX1" fmla="*/ 76192 w 540336"/>
                  <a:gd name="connsiteY1" fmla="*/ 28409 h 465181"/>
                  <a:gd name="connsiteX2" fmla="*/ 229828 w 540336"/>
                  <a:gd name="connsiteY2" fmla="*/ 101152 h 465181"/>
                  <a:gd name="connsiteX3" fmla="*/ 540336 w 540336"/>
                  <a:gd name="connsiteY3" fmla="*/ 273457 h 465181"/>
                  <a:gd name="connsiteX4" fmla="*/ 255704 w 540336"/>
                  <a:gd name="connsiteY4" fmla="*/ 432757 h 465181"/>
                  <a:gd name="connsiteX5" fmla="*/ 181567 w 540336"/>
                  <a:gd name="connsiteY5" fmla="*/ 465181 h 465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336" h="465181">
                    <a:moveTo>
                      <a:pt x="0" y="0"/>
                    </a:moveTo>
                    <a:lnTo>
                      <a:pt x="76192" y="28409"/>
                    </a:lnTo>
                    <a:cubicBezTo>
                      <a:pt x="130369" y="51573"/>
                      <a:pt x="186163" y="80020"/>
                      <a:pt x="229828" y="101152"/>
                    </a:cubicBezTo>
                    <a:cubicBezTo>
                      <a:pt x="317159" y="143415"/>
                      <a:pt x="540336" y="237695"/>
                      <a:pt x="540336" y="273457"/>
                    </a:cubicBezTo>
                    <a:cubicBezTo>
                      <a:pt x="540336" y="312469"/>
                      <a:pt x="349503" y="390494"/>
                      <a:pt x="255704" y="432757"/>
                    </a:cubicBezTo>
                    <a:lnTo>
                      <a:pt x="181567" y="465181"/>
                    </a:ln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8" name="Freeform: Shape 7">
                <a:extLst>
                  <a:ext uri="{FF2B5EF4-FFF2-40B4-BE49-F238E27FC236}">
                    <a16:creationId xmlns:a16="http://schemas.microsoft.com/office/drawing/2014/main" id="{CA620A7C-207A-4BF5-899E-28654B05CD0D}"/>
                  </a:ext>
                </a:extLst>
              </p:cNvPr>
              <p:cNvSpPr>
                <a:spLocks/>
              </p:cNvSpPr>
              <p:nvPr/>
            </p:nvSpPr>
            <p:spPr bwMode="auto">
              <a:xfrm rot="1279283">
                <a:off x="2505953" y="4499522"/>
                <a:ext cx="538955" cy="464225"/>
              </a:xfrm>
              <a:custGeom>
                <a:avLst/>
                <a:gdLst>
                  <a:gd name="connsiteX0" fmla="*/ 0 w 538955"/>
                  <a:gd name="connsiteY0" fmla="*/ 0 h 464225"/>
                  <a:gd name="connsiteX1" fmla="*/ 74811 w 538955"/>
                  <a:gd name="connsiteY1" fmla="*/ 27894 h 464225"/>
                  <a:gd name="connsiteX2" fmla="*/ 228447 w 538955"/>
                  <a:gd name="connsiteY2" fmla="*/ 100637 h 464225"/>
                  <a:gd name="connsiteX3" fmla="*/ 538955 w 538955"/>
                  <a:gd name="connsiteY3" fmla="*/ 272942 h 464225"/>
                  <a:gd name="connsiteX4" fmla="*/ 254323 w 538955"/>
                  <a:gd name="connsiteY4" fmla="*/ 432242 h 464225"/>
                  <a:gd name="connsiteX5" fmla="*/ 181193 w 538955"/>
                  <a:gd name="connsiteY5" fmla="*/ 464225 h 46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8955" h="464225">
                    <a:moveTo>
                      <a:pt x="0" y="0"/>
                    </a:moveTo>
                    <a:lnTo>
                      <a:pt x="74811" y="27894"/>
                    </a:lnTo>
                    <a:cubicBezTo>
                      <a:pt x="128988" y="51058"/>
                      <a:pt x="184782" y="79505"/>
                      <a:pt x="228447" y="100637"/>
                    </a:cubicBezTo>
                    <a:cubicBezTo>
                      <a:pt x="315778" y="142900"/>
                      <a:pt x="538955" y="237180"/>
                      <a:pt x="538955" y="272942"/>
                    </a:cubicBezTo>
                    <a:cubicBezTo>
                      <a:pt x="538955" y="311954"/>
                      <a:pt x="348122" y="389979"/>
                      <a:pt x="254323" y="432242"/>
                    </a:cubicBezTo>
                    <a:lnTo>
                      <a:pt x="181193" y="464225"/>
                    </a:ln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grpSp>
        <p:sp>
          <p:nvSpPr>
            <p:cNvPr id="9" name="Freeform: Shape 8">
              <a:extLst>
                <a:ext uri="{FF2B5EF4-FFF2-40B4-BE49-F238E27FC236}">
                  <a16:creationId xmlns:a16="http://schemas.microsoft.com/office/drawing/2014/main" id="{CFC3C7FD-B571-44C3-BF98-9F0DA019FB4F}"/>
                </a:ext>
              </a:extLst>
            </p:cNvPr>
            <p:cNvSpPr/>
            <p:nvPr/>
          </p:nvSpPr>
          <p:spPr bwMode="auto">
            <a:xfrm>
              <a:off x="2597150" y="1598566"/>
              <a:ext cx="9245600" cy="1352550"/>
            </a:xfrm>
            <a:custGeom>
              <a:avLst/>
              <a:gdLst>
                <a:gd name="connsiteX0" fmla="*/ 9245600 w 9245600"/>
                <a:gd name="connsiteY0" fmla="*/ 0 h 1352550"/>
                <a:gd name="connsiteX1" fmla="*/ 9245600 w 9245600"/>
                <a:gd name="connsiteY1" fmla="*/ 1339850 h 1352550"/>
                <a:gd name="connsiteX2" fmla="*/ 7410450 w 9245600"/>
                <a:gd name="connsiteY2" fmla="*/ 1352550 h 1352550"/>
                <a:gd name="connsiteX3" fmla="*/ 5365750 w 9245600"/>
                <a:gd name="connsiteY3" fmla="*/ 1308100 h 1352550"/>
                <a:gd name="connsiteX4" fmla="*/ 4146550 w 9245600"/>
                <a:gd name="connsiteY4" fmla="*/ 1212850 h 1352550"/>
                <a:gd name="connsiteX5" fmla="*/ 2501900 w 9245600"/>
                <a:gd name="connsiteY5" fmla="*/ 927100 h 1352550"/>
                <a:gd name="connsiteX6" fmla="*/ 1428750 w 9245600"/>
                <a:gd name="connsiteY6" fmla="*/ 609600 h 1352550"/>
                <a:gd name="connsiteX7" fmla="*/ 158750 w 9245600"/>
                <a:gd name="connsiteY7" fmla="*/ 146050 h 1352550"/>
                <a:gd name="connsiteX8" fmla="*/ 0 w 9245600"/>
                <a:gd name="connsiteY8" fmla="*/ 6350 h 1352550"/>
                <a:gd name="connsiteX9" fmla="*/ 9245600 w 9245600"/>
                <a:gd name="connsiteY9" fmla="*/ 0 h 1352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245600" h="1352550">
                  <a:moveTo>
                    <a:pt x="9245600" y="0"/>
                  </a:moveTo>
                  <a:lnTo>
                    <a:pt x="9245600" y="1339850"/>
                  </a:lnTo>
                  <a:lnTo>
                    <a:pt x="7410450" y="1352550"/>
                  </a:lnTo>
                  <a:lnTo>
                    <a:pt x="5365750" y="1308100"/>
                  </a:lnTo>
                  <a:lnTo>
                    <a:pt x="4146550" y="1212850"/>
                  </a:lnTo>
                  <a:lnTo>
                    <a:pt x="2501900" y="927100"/>
                  </a:lnTo>
                  <a:lnTo>
                    <a:pt x="1428750" y="609600"/>
                  </a:lnTo>
                  <a:lnTo>
                    <a:pt x="158750" y="146050"/>
                  </a:lnTo>
                  <a:lnTo>
                    <a:pt x="0" y="6350"/>
                  </a:lnTo>
                  <a:lnTo>
                    <a:pt x="9245600" y="0"/>
                  </a:lnTo>
                  <a:close/>
                </a:path>
              </a:pathLst>
            </a:custGeom>
            <a:solidFill>
              <a:srgbClr val="CC3300"/>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grpSp>
          <p:nvGrpSpPr>
            <p:cNvPr id="10" name="Group 9">
              <a:extLst>
                <a:ext uri="{FF2B5EF4-FFF2-40B4-BE49-F238E27FC236}">
                  <a16:creationId xmlns:a16="http://schemas.microsoft.com/office/drawing/2014/main" id="{71E30789-0D23-4232-9111-073A94FE1347}"/>
                </a:ext>
              </a:extLst>
            </p:cNvPr>
            <p:cNvGrpSpPr/>
            <p:nvPr/>
          </p:nvGrpSpPr>
          <p:grpSpPr>
            <a:xfrm>
              <a:off x="209543" y="2791025"/>
              <a:ext cx="2211453" cy="2215655"/>
              <a:chOff x="4246448" y="2171701"/>
              <a:chExt cx="3366256" cy="3349598"/>
            </a:xfrm>
          </p:grpSpPr>
          <p:sp>
            <p:nvSpPr>
              <p:cNvPr id="11" name="Flowchart: Connector 10">
                <a:extLst>
                  <a:ext uri="{FF2B5EF4-FFF2-40B4-BE49-F238E27FC236}">
                    <a16:creationId xmlns:a16="http://schemas.microsoft.com/office/drawing/2014/main" id="{117024CA-0746-459E-8A47-A1F152A405EA}"/>
                  </a:ext>
                </a:extLst>
              </p:cNvPr>
              <p:cNvSpPr/>
              <p:nvPr/>
            </p:nvSpPr>
            <p:spPr bwMode="auto">
              <a:xfrm>
                <a:off x="4246448" y="2171701"/>
                <a:ext cx="3366256" cy="3349598"/>
              </a:xfrm>
              <a:prstGeom prst="flowChartConnector">
                <a:avLst/>
              </a:prstGeom>
              <a:solidFill>
                <a:srgbClr val="FFFFFF"/>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2" name="Flowchart: Connector 11">
                <a:extLst>
                  <a:ext uri="{FF2B5EF4-FFF2-40B4-BE49-F238E27FC236}">
                    <a16:creationId xmlns:a16="http://schemas.microsoft.com/office/drawing/2014/main" id="{9D707B02-4499-4409-95A5-A4EF591C6A06}"/>
                  </a:ext>
                </a:extLst>
              </p:cNvPr>
              <p:cNvSpPr/>
              <p:nvPr/>
            </p:nvSpPr>
            <p:spPr bwMode="auto">
              <a:xfrm>
                <a:off x="4798799" y="2725747"/>
                <a:ext cx="2248878" cy="2235200"/>
              </a:xfrm>
              <a:prstGeom prst="flowChartConnector">
                <a:avLst/>
              </a:prstGeom>
              <a:solidFill>
                <a:srgbClr val="EED1E0"/>
              </a:solidFill>
              <a:ln w="28575" cap="flat" cmpd="sng" algn="ctr">
                <a:solidFill>
                  <a:srgbClr val="996633"/>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3" name="Flowchart: Connector 12">
                <a:extLst>
                  <a:ext uri="{FF2B5EF4-FFF2-40B4-BE49-F238E27FC236}">
                    <a16:creationId xmlns:a16="http://schemas.microsoft.com/office/drawing/2014/main" id="{885F95F4-71EB-4DD4-896B-0C68D1FC4F18}"/>
                  </a:ext>
                </a:extLst>
              </p:cNvPr>
              <p:cNvSpPr/>
              <p:nvPr/>
            </p:nvSpPr>
            <p:spPr bwMode="auto">
              <a:xfrm>
                <a:off x="5274733" y="3169915"/>
                <a:ext cx="1299634" cy="1313185"/>
              </a:xfrm>
              <a:prstGeom prst="flowChartConnector">
                <a:avLst/>
              </a:prstGeom>
              <a:noFill/>
              <a:ln w="57150" cap="flat" cmpd="sng" algn="ctr">
                <a:solidFill>
                  <a:srgbClr val="CC66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4" name="Flowchart: Connector 13">
                <a:extLst>
                  <a:ext uri="{FF2B5EF4-FFF2-40B4-BE49-F238E27FC236}">
                    <a16:creationId xmlns:a16="http://schemas.microsoft.com/office/drawing/2014/main" id="{93C4EFDF-28BB-403D-9FA4-248641DE4FBD}"/>
                  </a:ext>
                </a:extLst>
              </p:cNvPr>
              <p:cNvSpPr/>
              <p:nvPr/>
            </p:nvSpPr>
            <p:spPr bwMode="auto">
              <a:xfrm>
                <a:off x="5291665" y="3211377"/>
                <a:ext cx="1257300" cy="1252072"/>
              </a:xfrm>
              <a:prstGeom prst="flowChartConnector">
                <a:avLst/>
              </a:prstGeom>
              <a:solidFill>
                <a:srgbClr val="C000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grpSp>
            <p:nvGrpSpPr>
              <p:cNvPr id="15" name="Group 14">
                <a:extLst>
                  <a:ext uri="{FF2B5EF4-FFF2-40B4-BE49-F238E27FC236}">
                    <a16:creationId xmlns:a16="http://schemas.microsoft.com/office/drawing/2014/main" id="{FF7315A5-9283-44B3-BAA1-0A8246AA5C7D}"/>
                  </a:ext>
                </a:extLst>
              </p:cNvPr>
              <p:cNvGrpSpPr/>
              <p:nvPr/>
            </p:nvGrpSpPr>
            <p:grpSpPr>
              <a:xfrm rot="11753699">
                <a:off x="6297633" y="2436232"/>
                <a:ext cx="614395" cy="302314"/>
                <a:chOff x="7815272" y="2280892"/>
                <a:chExt cx="817760" cy="302314"/>
              </a:xfrm>
            </p:grpSpPr>
            <p:sp>
              <p:nvSpPr>
                <p:cNvPr id="247" name="Freeform 283">
                  <a:extLst>
                    <a:ext uri="{FF2B5EF4-FFF2-40B4-BE49-F238E27FC236}">
                      <a16:creationId xmlns:a16="http://schemas.microsoft.com/office/drawing/2014/main" id="{AE33776D-A90D-4BA7-9375-7CF1F5196057}"/>
                    </a:ext>
                  </a:extLst>
                </p:cNvPr>
                <p:cNvSpPr>
                  <a:spLocks/>
                </p:cNvSpPr>
                <p:nvPr/>
              </p:nvSpPr>
              <p:spPr bwMode="auto">
                <a:xfrm rot="21172157">
                  <a:off x="7815272" y="2280892"/>
                  <a:ext cx="817760" cy="302314"/>
                </a:xfrm>
                <a:custGeom>
                  <a:avLst/>
                  <a:gdLst>
                    <a:gd name="T0" fmla="*/ 26 w 52"/>
                    <a:gd name="T1" fmla="*/ 4 h 51"/>
                    <a:gd name="T2" fmla="*/ 18 w 52"/>
                    <a:gd name="T3" fmla="*/ 10 h 51"/>
                    <a:gd name="T4" fmla="*/ 10 w 52"/>
                    <a:gd name="T5" fmla="*/ 12 h 51"/>
                    <a:gd name="T6" fmla="*/ 3 w 52"/>
                    <a:gd name="T7" fmla="*/ 25 h 51"/>
                    <a:gd name="T8" fmla="*/ 16 w 52"/>
                    <a:gd name="T9" fmla="*/ 37 h 51"/>
                    <a:gd name="T10" fmla="*/ 34 w 52"/>
                    <a:gd name="T11" fmla="*/ 45 h 51"/>
                    <a:gd name="T12" fmla="*/ 46 w 52"/>
                    <a:gd name="T13" fmla="*/ 36 h 51"/>
                    <a:gd name="T14" fmla="*/ 46 w 52"/>
                    <a:gd name="T15" fmla="*/ 17 h 51"/>
                    <a:gd name="T16" fmla="*/ 34 w 52"/>
                    <a:gd name="T17" fmla="*/ 5 h 51"/>
                    <a:gd name="T18" fmla="*/ 26 w 52"/>
                    <a:gd name="T19" fmla="*/ 4 h 51"/>
                    <a:gd name="connsiteX0" fmla="*/ 4531 w 11136"/>
                    <a:gd name="connsiteY0" fmla="*/ 500 h 9017"/>
                    <a:gd name="connsiteX1" fmla="*/ 2993 w 11136"/>
                    <a:gd name="connsiteY1" fmla="*/ 1677 h 9017"/>
                    <a:gd name="connsiteX2" fmla="*/ 1454 w 11136"/>
                    <a:gd name="connsiteY2" fmla="*/ 2069 h 9017"/>
                    <a:gd name="connsiteX3" fmla="*/ 108 w 11136"/>
                    <a:gd name="connsiteY3" fmla="*/ 4618 h 9017"/>
                    <a:gd name="connsiteX4" fmla="*/ 2608 w 11136"/>
                    <a:gd name="connsiteY4" fmla="*/ 6971 h 9017"/>
                    <a:gd name="connsiteX5" fmla="*/ 6069 w 11136"/>
                    <a:gd name="connsiteY5" fmla="*/ 8540 h 9017"/>
                    <a:gd name="connsiteX6" fmla="*/ 8377 w 11136"/>
                    <a:gd name="connsiteY6" fmla="*/ 6775 h 9017"/>
                    <a:gd name="connsiteX7" fmla="*/ 10903 w 11136"/>
                    <a:gd name="connsiteY7" fmla="*/ 2255 h 9017"/>
                    <a:gd name="connsiteX8" fmla="*/ 6069 w 11136"/>
                    <a:gd name="connsiteY8" fmla="*/ 696 h 9017"/>
                    <a:gd name="connsiteX9" fmla="*/ 4531 w 11136"/>
                    <a:gd name="connsiteY9" fmla="*/ 500 h 9017"/>
                    <a:gd name="connsiteX0" fmla="*/ 4069 w 10292"/>
                    <a:gd name="connsiteY0" fmla="*/ 555 h 10000"/>
                    <a:gd name="connsiteX1" fmla="*/ 2688 w 10292"/>
                    <a:gd name="connsiteY1" fmla="*/ 1860 h 10000"/>
                    <a:gd name="connsiteX2" fmla="*/ 1306 w 10292"/>
                    <a:gd name="connsiteY2" fmla="*/ 2295 h 10000"/>
                    <a:gd name="connsiteX3" fmla="*/ 97 w 10292"/>
                    <a:gd name="connsiteY3" fmla="*/ 5121 h 10000"/>
                    <a:gd name="connsiteX4" fmla="*/ 2342 w 10292"/>
                    <a:gd name="connsiteY4" fmla="*/ 7731 h 10000"/>
                    <a:gd name="connsiteX5" fmla="*/ 5450 w 10292"/>
                    <a:gd name="connsiteY5" fmla="*/ 9471 h 10000"/>
                    <a:gd name="connsiteX6" fmla="*/ 9790 w 10292"/>
                    <a:gd name="connsiteY6" fmla="*/ 7375 h 10000"/>
                    <a:gd name="connsiteX7" fmla="*/ 9791 w 10292"/>
                    <a:gd name="connsiteY7" fmla="*/ 2501 h 10000"/>
                    <a:gd name="connsiteX8" fmla="*/ 5450 w 10292"/>
                    <a:gd name="connsiteY8" fmla="*/ 772 h 10000"/>
                    <a:gd name="connsiteX9" fmla="*/ 4069 w 10292"/>
                    <a:gd name="connsiteY9" fmla="*/ 555 h 10000"/>
                    <a:gd name="connsiteX0" fmla="*/ 4069 w 10292"/>
                    <a:gd name="connsiteY0" fmla="*/ 555 h 9288"/>
                    <a:gd name="connsiteX1" fmla="*/ 2688 w 10292"/>
                    <a:gd name="connsiteY1" fmla="*/ 1860 h 9288"/>
                    <a:gd name="connsiteX2" fmla="*/ 1306 w 10292"/>
                    <a:gd name="connsiteY2" fmla="*/ 2295 h 9288"/>
                    <a:gd name="connsiteX3" fmla="*/ 97 w 10292"/>
                    <a:gd name="connsiteY3" fmla="*/ 5121 h 9288"/>
                    <a:gd name="connsiteX4" fmla="*/ 2342 w 10292"/>
                    <a:gd name="connsiteY4" fmla="*/ 7731 h 9288"/>
                    <a:gd name="connsiteX5" fmla="*/ 7309 w 10292"/>
                    <a:gd name="connsiteY5" fmla="*/ 8822 h 9288"/>
                    <a:gd name="connsiteX6" fmla="*/ 9790 w 10292"/>
                    <a:gd name="connsiteY6" fmla="*/ 7375 h 9288"/>
                    <a:gd name="connsiteX7" fmla="*/ 9791 w 10292"/>
                    <a:gd name="connsiteY7" fmla="*/ 2501 h 9288"/>
                    <a:gd name="connsiteX8" fmla="*/ 5450 w 10292"/>
                    <a:gd name="connsiteY8" fmla="*/ 772 h 9288"/>
                    <a:gd name="connsiteX9" fmla="*/ 4069 w 10292"/>
                    <a:gd name="connsiteY9" fmla="*/ 555 h 9288"/>
                    <a:gd name="connsiteX0" fmla="*/ 3974 w 10019"/>
                    <a:gd name="connsiteY0" fmla="*/ 598 h 9866"/>
                    <a:gd name="connsiteX1" fmla="*/ 2632 w 10019"/>
                    <a:gd name="connsiteY1" fmla="*/ 2003 h 9866"/>
                    <a:gd name="connsiteX2" fmla="*/ 1289 w 10019"/>
                    <a:gd name="connsiteY2" fmla="*/ 2471 h 9866"/>
                    <a:gd name="connsiteX3" fmla="*/ 114 w 10019"/>
                    <a:gd name="connsiteY3" fmla="*/ 5514 h 9866"/>
                    <a:gd name="connsiteX4" fmla="*/ 4716 w 10019"/>
                    <a:gd name="connsiteY4" fmla="*/ 7226 h 9866"/>
                    <a:gd name="connsiteX5" fmla="*/ 7122 w 10019"/>
                    <a:gd name="connsiteY5" fmla="*/ 9498 h 9866"/>
                    <a:gd name="connsiteX6" fmla="*/ 9532 w 10019"/>
                    <a:gd name="connsiteY6" fmla="*/ 7940 h 9866"/>
                    <a:gd name="connsiteX7" fmla="*/ 9533 w 10019"/>
                    <a:gd name="connsiteY7" fmla="*/ 2693 h 9866"/>
                    <a:gd name="connsiteX8" fmla="*/ 5315 w 10019"/>
                    <a:gd name="connsiteY8" fmla="*/ 831 h 9866"/>
                    <a:gd name="connsiteX9" fmla="*/ 3974 w 10019"/>
                    <a:gd name="connsiteY9" fmla="*/ 598 h 9866"/>
                    <a:gd name="connsiteX0" fmla="*/ 3432 w 9467"/>
                    <a:gd name="connsiteY0" fmla="*/ 606 h 12399"/>
                    <a:gd name="connsiteX1" fmla="*/ 2093 w 9467"/>
                    <a:gd name="connsiteY1" fmla="*/ 2030 h 12399"/>
                    <a:gd name="connsiteX2" fmla="*/ 753 w 9467"/>
                    <a:gd name="connsiteY2" fmla="*/ 2505 h 12399"/>
                    <a:gd name="connsiteX3" fmla="*/ 157 w 9467"/>
                    <a:gd name="connsiteY3" fmla="*/ 12318 h 12399"/>
                    <a:gd name="connsiteX4" fmla="*/ 4173 w 9467"/>
                    <a:gd name="connsiteY4" fmla="*/ 7324 h 12399"/>
                    <a:gd name="connsiteX5" fmla="*/ 6574 w 9467"/>
                    <a:gd name="connsiteY5" fmla="*/ 9627 h 12399"/>
                    <a:gd name="connsiteX6" fmla="*/ 8980 w 9467"/>
                    <a:gd name="connsiteY6" fmla="*/ 8048 h 12399"/>
                    <a:gd name="connsiteX7" fmla="*/ 8981 w 9467"/>
                    <a:gd name="connsiteY7" fmla="*/ 2730 h 12399"/>
                    <a:gd name="connsiteX8" fmla="*/ 4771 w 9467"/>
                    <a:gd name="connsiteY8" fmla="*/ 842 h 12399"/>
                    <a:gd name="connsiteX9" fmla="*/ 3432 w 9467"/>
                    <a:gd name="connsiteY9" fmla="*/ 606 h 12399"/>
                    <a:gd name="connsiteX0" fmla="*/ 5344 w 11719"/>
                    <a:gd name="connsiteY0" fmla="*/ 488 h 9962"/>
                    <a:gd name="connsiteX1" fmla="*/ 3930 w 11719"/>
                    <a:gd name="connsiteY1" fmla="*/ 1636 h 9962"/>
                    <a:gd name="connsiteX2" fmla="*/ 0 w 11719"/>
                    <a:gd name="connsiteY2" fmla="*/ 3447 h 9962"/>
                    <a:gd name="connsiteX3" fmla="*/ 1885 w 11719"/>
                    <a:gd name="connsiteY3" fmla="*/ 9934 h 9962"/>
                    <a:gd name="connsiteX4" fmla="*/ 6127 w 11719"/>
                    <a:gd name="connsiteY4" fmla="*/ 5906 h 9962"/>
                    <a:gd name="connsiteX5" fmla="*/ 8663 w 11719"/>
                    <a:gd name="connsiteY5" fmla="*/ 7763 h 9962"/>
                    <a:gd name="connsiteX6" fmla="*/ 11205 w 11719"/>
                    <a:gd name="connsiteY6" fmla="*/ 6490 h 9962"/>
                    <a:gd name="connsiteX7" fmla="*/ 11206 w 11719"/>
                    <a:gd name="connsiteY7" fmla="*/ 2201 h 9962"/>
                    <a:gd name="connsiteX8" fmla="*/ 6759 w 11719"/>
                    <a:gd name="connsiteY8" fmla="*/ 678 h 9962"/>
                    <a:gd name="connsiteX9" fmla="*/ 5344 w 11719"/>
                    <a:gd name="connsiteY9" fmla="*/ 488 h 9962"/>
                    <a:gd name="connsiteX0" fmla="*/ 4560 w 10000"/>
                    <a:gd name="connsiteY0" fmla="*/ 490 h 10000"/>
                    <a:gd name="connsiteX1" fmla="*/ 3354 w 10000"/>
                    <a:gd name="connsiteY1" fmla="*/ 1642 h 10000"/>
                    <a:gd name="connsiteX2" fmla="*/ 0 w 10000"/>
                    <a:gd name="connsiteY2" fmla="*/ 3460 h 10000"/>
                    <a:gd name="connsiteX3" fmla="*/ 1608 w 10000"/>
                    <a:gd name="connsiteY3" fmla="*/ 9972 h 10000"/>
                    <a:gd name="connsiteX4" fmla="*/ 5228 w 10000"/>
                    <a:gd name="connsiteY4" fmla="*/ 5929 h 10000"/>
                    <a:gd name="connsiteX5" fmla="*/ 7392 w 10000"/>
                    <a:gd name="connsiteY5" fmla="*/ 7793 h 10000"/>
                    <a:gd name="connsiteX6" fmla="*/ 9561 w 10000"/>
                    <a:gd name="connsiteY6" fmla="*/ 6515 h 10000"/>
                    <a:gd name="connsiteX7" fmla="*/ 9562 w 10000"/>
                    <a:gd name="connsiteY7" fmla="*/ 2209 h 10000"/>
                    <a:gd name="connsiteX8" fmla="*/ 5768 w 10000"/>
                    <a:gd name="connsiteY8" fmla="*/ 681 h 10000"/>
                    <a:gd name="connsiteX9" fmla="*/ 4560 w 10000"/>
                    <a:gd name="connsiteY9" fmla="*/ 490 h 10000"/>
                    <a:gd name="connsiteX0" fmla="*/ 4982 w 10422"/>
                    <a:gd name="connsiteY0" fmla="*/ 490 h 9973"/>
                    <a:gd name="connsiteX1" fmla="*/ 3776 w 10422"/>
                    <a:gd name="connsiteY1" fmla="*/ 1642 h 9973"/>
                    <a:gd name="connsiteX2" fmla="*/ 0 w 10422"/>
                    <a:gd name="connsiteY2" fmla="*/ 5385 h 9973"/>
                    <a:gd name="connsiteX3" fmla="*/ 2030 w 10422"/>
                    <a:gd name="connsiteY3" fmla="*/ 9972 h 9973"/>
                    <a:gd name="connsiteX4" fmla="*/ 5650 w 10422"/>
                    <a:gd name="connsiteY4" fmla="*/ 5929 h 9973"/>
                    <a:gd name="connsiteX5" fmla="*/ 7814 w 10422"/>
                    <a:gd name="connsiteY5" fmla="*/ 7793 h 9973"/>
                    <a:gd name="connsiteX6" fmla="*/ 9983 w 10422"/>
                    <a:gd name="connsiteY6" fmla="*/ 6515 h 9973"/>
                    <a:gd name="connsiteX7" fmla="*/ 9984 w 10422"/>
                    <a:gd name="connsiteY7" fmla="*/ 2209 h 9973"/>
                    <a:gd name="connsiteX8" fmla="*/ 6190 w 10422"/>
                    <a:gd name="connsiteY8" fmla="*/ 681 h 9973"/>
                    <a:gd name="connsiteX9" fmla="*/ 4982 w 10422"/>
                    <a:gd name="connsiteY9" fmla="*/ 490 h 9973"/>
                    <a:gd name="connsiteX0" fmla="*/ 4780 w 10000"/>
                    <a:gd name="connsiteY0" fmla="*/ 491 h 10000"/>
                    <a:gd name="connsiteX1" fmla="*/ 1159 w 10000"/>
                    <a:gd name="connsiteY1" fmla="*/ 1276 h 10000"/>
                    <a:gd name="connsiteX2" fmla="*/ 0 w 10000"/>
                    <a:gd name="connsiteY2" fmla="*/ 5400 h 10000"/>
                    <a:gd name="connsiteX3" fmla="*/ 1948 w 10000"/>
                    <a:gd name="connsiteY3" fmla="*/ 9999 h 10000"/>
                    <a:gd name="connsiteX4" fmla="*/ 5421 w 10000"/>
                    <a:gd name="connsiteY4" fmla="*/ 5945 h 10000"/>
                    <a:gd name="connsiteX5" fmla="*/ 7498 w 10000"/>
                    <a:gd name="connsiteY5" fmla="*/ 7814 h 10000"/>
                    <a:gd name="connsiteX6" fmla="*/ 9579 w 10000"/>
                    <a:gd name="connsiteY6" fmla="*/ 6533 h 10000"/>
                    <a:gd name="connsiteX7" fmla="*/ 9580 w 10000"/>
                    <a:gd name="connsiteY7" fmla="*/ 2215 h 10000"/>
                    <a:gd name="connsiteX8" fmla="*/ 5939 w 10000"/>
                    <a:gd name="connsiteY8" fmla="*/ 683 h 10000"/>
                    <a:gd name="connsiteX9" fmla="*/ 4780 w 10000"/>
                    <a:gd name="connsiteY9" fmla="*/ 491 h 10000"/>
                    <a:gd name="connsiteX0" fmla="*/ 4032 w 10000"/>
                    <a:gd name="connsiteY0" fmla="*/ 240 h 10817"/>
                    <a:gd name="connsiteX1" fmla="*/ 1159 w 10000"/>
                    <a:gd name="connsiteY1" fmla="*/ 2093 h 10817"/>
                    <a:gd name="connsiteX2" fmla="*/ 0 w 10000"/>
                    <a:gd name="connsiteY2" fmla="*/ 6217 h 10817"/>
                    <a:gd name="connsiteX3" fmla="*/ 1948 w 10000"/>
                    <a:gd name="connsiteY3" fmla="*/ 10816 h 10817"/>
                    <a:gd name="connsiteX4" fmla="*/ 5421 w 10000"/>
                    <a:gd name="connsiteY4" fmla="*/ 6762 h 10817"/>
                    <a:gd name="connsiteX5" fmla="*/ 7498 w 10000"/>
                    <a:gd name="connsiteY5" fmla="*/ 8631 h 10817"/>
                    <a:gd name="connsiteX6" fmla="*/ 9579 w 10000"/>
                    <a:gd name="connsiteY6" fmla="*/ 7350 h 10817"/>
                    <a:gd name="connsiteX7" fmla="*/ 9580 w 10000"/>
                    <a:gd name="connsiteY7" fmla="*/ 3032 h 10817"/>
                    <a:gd name="connsiteX8" fmla="*/ 5939 w 10000"/>
                    <a:gd name="connsiteY8" fmla="*/ 1500 h 10817"/>
                    <a:gd name="connsiteX9" fmla="*/ 4032 w 10000"/>
                    <a:gd name="connsiteY9" fmla="*/ 240 h 10817"/>
                    <a:gd name="connsiteX0" fmla="*/ 4032 w 10000"/>
                    <a:gd name="connsiteY0" fmla="*/ 507 h 11084"/>
                    <a:gd name="connsiteX1" fmla="*/ 1159 w 10000"/>
                    <a:gd name="connsiteY1" fmla="*/ 2360 h 11084"/>
                    <a:gd name="connsiteX2" fmla="*/ 0 w 10000"/>
                    <a:gd name="connsiteY2" fmla="*/ 6484 h 11084"/>
                    <a:gd name="connsiteX3" fmla="*/ 1948 w 10000"/>
                    <a:gd name="connsiteY3" fmla="*/ 11083 h 11084"/>
                    <a:gd name="connsiteX4" fmla="*/ 5421 w 10000"/>
                    <a:gd name="connsiteY4" fmla="*/ 7029 h 11084"/>
                    <a:gd name="connsiteX5" fmla="*/ 7498 w 10000"/>
                    <a:gd name="connsiteY5" fmla="*/ 8898 h 11084"/>
                    <a:gd name="connsiteX6" fmla="*/ 9579 w 10000"/>
                    <a:gd name="connsiteY6" fmla="*/ 7617 h 11084"/>
                    <a:gd name="connsiteX7" fmla="*/ 9580 w 10000"/>
                    <a:gd name="connsiteY7" fmla="*/ 3299 h 11084"/>
                    <a:gd name="connsiteX8" fmla="*/ 8340 w 10000"/>
                    <a:gd name="connsiteY8" fmla="*/ 658 h 11084"/>
                    <a:gd name="connsiteX9" fmla="*/ 4032 w 10000"/>
                    <a:gd name="connsiteY9" fmla="*/ 507 h 11084"/>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67"/>
                    <a:gd name="connsiteX1" fmla="*/ 1159 w 10000"/>
                    <a:gd name="connsiteY1" fmla="*/ 2309 h 11067"/>
                    <a:gd name="connsiteX2" fmla="*/ 0 w 10000"/>
                    <a:gd name="connsiteY2" fmla="*/ 6433 h 11067"/>
                    <a:gd name="connsiteX3" fmla="*/ 1948 w 10000"/>
                    <a:gd name="connsiteY3" fmla="*/ 11032 h 11067"/>
                    <a:gd name="connsiteX4" fmla="*/ 4641 w 10000"/>
                    <a:gd name="connsiteY4" fmla="*/ 8580 h 11067"/>
                    <a:gd name="connsiteX5" fmla="*/ 7498 w 10000"/>
                    <a:gd name="connsiteY5" fmla="*/ 8847 h 11067"/>
                    <a:gd name="connsiteX6" fmla="*/ 9579 w 10000"/>
                    <a:gd name="connsiteY6" fmla="*/ 7566 h 11067"/>
                    <a:gd name="connsiteX7" fmla="*/ 9580 w 10000"/>
                    <a:gd name="connsiteY7" fmla="*/ 3248 h 11067"/>
                    <a:gd name="connsiteX8" fmla="*/ 8340 w 10000"/>
                    <a:gd name="connsiteY8" fmla="*/ 607 h 11067"/>
                    <a:gd name="connsiteX9" fmla="*/ 4032 w 10000"/>
                    <a:gd name="connsiteY9" fmla="*/ 456 h 11067"/>
                    <a:gd name="connsiteX0" fmla="*/ 4032 w 10000"/>
                    <a:gd name="connsiteY0" fmla="*/ 456 h 11053"/>
                    <a:gd name="connsiteX1" fmla="*/ 1159 w 10000"/>
                    <a:gd name="connsiteY1" fmla="*/ 2309 h 11053"/>
                    <a:gd name="connsiteX2" fmla="*/ 0 w 10000"/>
                    <a:gd name="connsiteY2" fmla="*/ 6433 h 11053"/>
                    <a:gd name="connsiteX3" fmla="*/ 1948 w 10000"/>
                    <a:gd name="connsiteY3" fmla="*/ 11032 h 11053"/>
                    <a:gd name="connsiteX4" fmla="*/ 4641 w 10000"/>
                    <a:gd name="connsiteY4" fmla="*/ 8580 h 11053"/>
                    <a:gd name="connsiteX5" fmla="*/ 7498 w 10000"/>
                    <a:gd name="connsiteY5" fmla="*/ 8847 h 11053"/>
                    <a:gd name="connsiteX6" fmla="*/ 9579 w 10000"/>
                    <a:gd name="connsiteY6" fmla="*/ 7566 h 11053"/>
                    <a:gd name="connsiteX7" fmla="*/ 9580 w 10000"/>
                    <a:gd name="connsiteY7" fmla="*/ 3248 h 11053"/>
                    <a:gd name="connsiteX8" fmla="*/ 8340 w 10000"/>
                    <a:gd name="connsiteY8" fmla="*/ 607 h 11053"/>
                    <a:gd name="connsiteX9" fmla="*/ 4032 w 10000"/>
                    <a:gd name="connsiteY9" fmla="*/ 456 h 11053"/>
                    <a:gd name="connsiteX0" fmla="*/ 4032 w 10000"/>
                    <a:gd name="connsiteY0" fmla="*/ 456 h 11130"/>
                    <a:gd name="connsiteX1" fmla="*/ 1159 w 10000"/>
                    <a:gd name="connsiteY1" fmla="*/ 2309 h 11130"/>
                    <a:gd name="connsiteX2" fmla="*/ 0 w 10000"/>
                    <a:gd name="connsiteY2" fmla="*/ 6433 h 11130"/>
                    <a:gd name="connsiteX3" fmla="*/ 1948 w 10000"/>
                    <a:gd name="connsiteY3" fmla="*/ 11032 h 11130"/>
                    <a:gd name="connsiteX4" fmla="*/ 4641 w 10000"/>
                    <a:gd name="connsiteY4" fmla="*/ 8580 h 11130"/>
                    <a:gd name="connsiteX5" fmla="*/ 7498 w 10000"/>
                    <a:gd name="connsiteY5" fmla="*/ 8847 h 11130"/>
                    <a:gd name="connsiteX6" fmla="*/ 9579 w 10000"/>
                    <a:gd name="connsiteY6" fmla="*/ 7566 h 11130"/>
                    <a:gd name="connsiteX7" fmla="*/ 9580 w 10000"/>
                    <a:gd name="connsiteY7" fmla="*/ 3248 h 11130"/>
                    <a:gd name="connsiteX8" fmla="*/ 8340 w 10000"/>
                    <a:gd name="connsiteY8" fmla="*/ 607 h 11130"/>
                    <a:gd name="connsiteX9" fmla="*/ 4032 w 10000"/>
                    <a:gd name="connsiteY9" fmla="*/ 456 h 11130"/>
                    <a:gd name="connsiteX0" fmla="*/ 4662 w 10630"/>
                    <a:gd name="connsiteY0" fmla="*/ 456 h 11130"/>
                    <a:gd name="connsiteX1" fmla="*/ 1789 w 10630"/>
                    <a:gd name="connsiteY1" fmla="*/ 2309 h 11130"/>
                    <a:gd name="connsiteX2" fmla="*/ 630 w 10630"/>
                    <a:gd name="connsiteY2" fmla="*/ 6433 h 11130"/>
                    <a:gd name="connsiteX3" fmla="*/ 2578 w 10630"/>
                    <a:gd name="connsiteY3" fmla="*/ 11032 h 11130"/>
                    <a:gd name="connsiteX4" fmla="*/ 5271 w 10630"/>
                    <a:gd name="connsiteY4" fmla="*/ 8580 h 11130"/>
                    <a:gd name="connsiteX5" fmla="*/ 8128 w 10630"/>
                    <a:gd name="connsiteY5" fmla="*/ 8847 h 11130"/>
                    <a:gd name="connsiteX6" fmla="*/ 10209 w 10630"/>
                    <a:gd name="connsiteY6" fmla="*/ 7566 h 11130"/>
                    <a:gd name="connsiteX7" fmla="*/ 10210 w 10630"/>
                    <a:gd name="connsiteY7" fmla="*/ 3248 h 11130"/>
                    <a:gd name="connsiteX8" fmla="*/ 8970 w 10630"/>
                    <a:gd name="connsiteY8" fmla="*/ 607 h 11130"/>
                    <a:gd name="connsiteX9" fmla="*/ 4662 w 10630"/>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2836"/>
                    <a:gd name="connsiteX1" fmla="*/ 2266 w 11107"/>
                    <a:gd name="connsiteY1" fmla="*/ 2309 h 12836"/>
                    <a:gd name="connsiteX2" fmla="*/ 546 w 11107"/>
                    <a:gd name="connsiteY2" fmla="*/ 6228 h 12836"/>
                    <a:gd name="connsiteX3" fmla="*/ 3055 w 11107"/>
                    <a:gd name="connsiteY3" fmla="*/ 11032 h 12836"/>
                    <a:gd name="connsiteX4" fmla="*/ 5748 w 11107"/>
                    <a:gd name="connsiteY4" fmla="*/ 8580 h 12836"/>
                    <a:gd name="connsiteX5" fmla="*/ 8605 w 11107"/>
                    <a:gd name="connsiteY5" fmla="*/ 8847 h 12836"/>
                    <a:gd name="connsiteX6" fmla="*/ 10686 w 11107"/>
                    <a:gd name="connsiteY6" fmla="*/ 7566 h 12836"/>
                    <a:gd name="connsiteX7" fmla="*/ 10687 w 11107"/>
                    <a:gd name="connsiteY7" fmla="*/ 3248 h 12836"/>
                    <a:gd name="connsiteX8" fmla="*/ 9447 w 11107"/>
                    <a:gd name="connsiteY8" fmla="*/ 607 h 12836"/>
                    <a:gd name="connsiteX9" fmla="*/ 5139 w 11107"/>
                    <a:gd name="connsiteY9" fmla="*/ 456 h 12836"/>
                    <a:gd name="connsiteX0" fmla="*/ 5139 w 11107"/>
                    <a:gd name="connsiteY0" fmla="*/ 456 h 13188"/>
                    <a:gd name="connsiteX1" fmla="*/ 2266 w 11107"/>
                    <a:gd name="connsiteY1" fmla="*/ 2309 h 13188"/>
                    <a:gd name="connsiteX2" fmla="*/ 546 w 11107"/>
                    <a:gd name="connsiteY2" fmla="*/ 6228 h 13188"/>
                    <a:gd name="connsiteX3" fmla="*/ 3055 w 11107"/>
                    <a:gd name="connsiteY3" fmla="*/ 11032 h 13188"/>
                    <a:gd name="connsiteX4" fmla="*/ 5748 w 11107"/>
                    <a:gd name="connsiteY4" fmla="*/ 8580 h 13188"/>
                    <a:gd name="connsiteX5" fmla="*/ 8886 w 11107"/>
                    <a:gd name="connsiteY5" fmla="*/ 9792 h 13188"/>
                    <a:gd name="connsiteX6" fmla="*/ 10686 w 11107"/>
                    <a:gd name="connsiteY6" fmla="*/ 7566 h 13188"/>
                    <a:gd name="connsiteX7" fmla="*/ 10687 w 11107"/>
                    <a:gd name="connsiteY7" fmla="*/ 3248 h 13188"/>
                    <a:gd name="connsiteX8" fmla="*/ 9447 w 11107"/>
                    <a:gd name="connsiteY8" fmla="*/ 607 h 13188"/>
                    <a:gd name="connsiteX9" fmla="*/ 5139 w 11107"/>
                    <a:gd name="connsiteY9" fmla="*/ 456 h 13188"/>
                    <a:gd name="connsiteX0" fmla="*/ 5139 w 11107"/>
                    <a:gd name="connsiteY0" fmla="*/ 922 h 13654"/>
                    <a:gd name="connsiteX1" fmla="*/ 2266 w 11107"/>
                    <a:gd name="connsiteY1" fmla="*/ 2775 h 13654"/>
                    <a:gd name="connsiteX2" fmla="*/ 546 w 11107"/>
                    <a:gd name="connsiteY2" fmla="*/ 6694 h 13654"/>
                    <a:gd name="connsiteX3" fmla="*/ 3055 w 11107"/>
                    <a:gd name="connsiteY3" fmla="*/ 11498 h 13654"/>
                    <a:gd name="connsiteX4" fmla="*/ 5748 w 11107"/>
                    <a:gd name="connsiteY4" fmla="*/ 9046 h 13654"/>
                    <a:gd name="connsiteX5" fmla="*/ 8886 w 11107"/>
                    <a:gd name="connsiteY5" fmla="*/ 10258 h 13654"/>
                    <a:gd name="connsiteX6" fmla="*/ 10686 w 11107"/>
                    <a:gd name="connsiteY6" fmla="*/ 8032 h 13654"/>
                    <a:gd name="connsiteX7" fmla="*/ 10687 w 11107"/>
                    <a:gd name="connsiteY7" fmla="*/ 3714 h 13654"/>
                    <a:gd name="connsiteX8" fmla="*/ 9447 w 11107"/>
                    <a:gd name="connsiteY8" fmla="*/ 1073 h 13654"/>
                    <a:gd name="connsiteX9" fmla="*/ 5139 w 11107"/>
                    <a:gd name="connsiteY9" fmla="*/ 922 h 13654"/>
                    <a:gd name="connsiteX0" fmla="*/ 5139 w 11107"/>
                    <a:gd name="connsiteY0" fmla="*/ 1423 h 14155"/>
                    <a:gd name="connsiteX1" fmla="*/ 2266 w 11107"/>
                    <a:gd name="connsiteY1" fmla="*/ 3276 h 14155"/>
                    <a:gd name="connsiteX2" fmla="*/ 546 w 11107"/>
                    <a:gd name="connsiteY2" fmla="*/ 7195 h 14155"/>
                    <a:gd name="connsiteX3" fmla="*/ 3055 w 11107"/>
                    <a:gd name="connsiteY3" fmla="*/ 11999 h 14155"/>
                    <a:gd name="connsiteX4" fmla="*/ 5748 w 11107"/>
                    <a:gd name="connsiteY4" fmla="*/ 9547 h 14155"/>
                    <a:gd name="connsiteX5" fmla="*/ 8886 w 11107"/>
                    <a:gd name="connsiteY5" fmla="*/ 10759 h 14155"/>
                    <a:gd name="connsiteX6" fmla="*/ 10686 w 11107"/>
                    <a:gd name="connsiteY6" fmla="*/ 8533 h 14155"/>
                    <a:gd name="connsiteX7" fmla="*/ 10687 w 11107"/>
                    <a:gd name="connsiteY7" fmla="*/ 4215 h 14155"/>
                    <a:gd name="connsiteX8" fmla="*/ 9728 w 11107"/>
                    <a:gd name="connsiteY8" fmla="*/ 835 h 14155"/>
                    <a:gd name="connsiteX9" fmla="*/ 5139 w 11107"/>
                    <a:gd name="connsiteY9" fmla="*/ 1423 h 14155"/>
                    <a:gd name="connsiteX0" fmla="*/ 5139 w 12384"/>
                    <a:gd name="connsiteY0" fmla="*/ 1423 h 14155"/>
                    <a:gd name="connsiteX1" fmla="*/ 2266 w 12384"/>
                    <a:gd name="connsiteY1" fmla="*/ 3276 h 14155"/>
                    <a:gd name="connsiteX2" fmla="*/ 546 w 12384"/>
                    <a:gd name="connsiteY2" fmla="*/ 7195 h 14155"/>
                    <a:gd name="connsiteX3" fmla="*/ 3055 w 12384"/>
                    <a:gd name="connsiteY3" fmla="*/ 11999 h 14155"/>
                    <a:gd name="connsiteX4" fmla="*/ 5748 w 12384"/>
                    <a:gd name="connsiteY4" fmla="*/ 9547 h 14155"/>
                    <a:gd name="connsiteX5" fmla="*/ 8886 w 12384"/>
                    <a:gd name="connsiteY5" fmla="*/ 10759 h 14155"/>
                    <a:gd name="connsiteX6" fmla="*/ 10686 w 12384"/>
                    <a:gd name="connsiteY6" fmla="*/ 8533 h 14155"/>
                    <a:gd name="connsiteX7" fmla="*/ 12184 w 12384"/>
                    <a:gd name="connsiteY7" fmla="*/ 3927 h 14155"/>
                    <a:gd name="connsiteX8" fmla="*/ 9728 w 12384"/>
                    <a:gd name="connsiteY8" fmla="*/ 835 h 14155"/>
                    <a:gd name="connsiteX9" fmla="*/ 5139 w 12384"/>
                    <a:gd name="connsiteY9" fmla="*/ 1423 h 14155"/>
                    <a:gd name="connsiteX0" fmla="*/ 5139 w 12562"/>
                    <a:gd name="connsiteY0" fmla="*/ 1423 h 14155"/>
                    <a:gd name="connsiteX1" fmla="*/ 2266 w 12562"/>
                    <a:gd name="connsiteY1" fmla="*/ 3276 h 14155"/>
                    <a:gd name="connsiteX2" fmla="*/ 546 w 12562"/>
                    <a:gd name="connsiteY2" fmla="*/ 7195 h 14155"/>
                    <a:gd name="connsiteX3" fmla="*/ 3055 w 12562"/>
                    <a:gd name="connsiteY3" fmla="*/ 11999 h 14155"/>
                    <a:gd name="connsiteX4" fmla="*/ 5748 w 12562"/>
                    <a:gd name="connsiteY4" fmla="*/ 9547 h 14155"/>
                    <a:gd name="connsiteX5" fmla="*/ 8886 w 12562"/>
                    <a:gd name="connsiteY5" fmla="*/ 10759 h 14155"/>
                    <a:gd name="connsiteX6" fmla="*/ 12027 w 12562"/>
                    <a:gd name="connsiteY6" fmla="*/ 8163 h 14155"/>
                    <a:gd name="connsiteX7" fmla="*/ 12184 w 12562"/>
                    <a:gd name="connsiteY7" fmla="*/ 3927 h 14155"/>
                    <a:gd name="connsiteX8" fmla="*/ 9728 w 12562"/>
                    <a:gd name="connsiteY8" fmla="*/ 835 h 14155"/>
                    <a:gd name="connsiteX9" fmla="*/ 5139 w 12562"/>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53"/>
                    <a:gd name="connsiteY0" fmla="*/ 1423 h 14155"/>
                    <a:gd name="connsiteX1" fmla="*/ 2266 w 14753"/>
                    <a:gd name="connsiteY1" fmla="*/ 3276 h 14155"/>
                    <a:gd name="connsiteX2" fmla="*/ 546 w 14753"/>
                    <a:gd name="connsiteY2" fmla="*/ 7195 h 14155"/>
                    <a:gd name="connsiteX3" fmla="*/ 3055 w 14753"/>
                    <a:gd name="connsiteY3" fmla="*/ 11999 h 14155"/>
                    <a:gd name="connsiteX4" fmla="*/ 5748 w 14753"/>
                    <a:gd name="connsiteY4" fmla="*/ 9547 h 14155"/>
                    <a:gd name="connsiteX5" fmla="*/ 8886 w 14753"/>
                    <a:gd name="connsiteY5" fmla="*/ 10759 h 14155"/>
                    <a:gd name="connsiteX6" fmla="*/ 11965 w 14753"/>
                    <a:gd name="connsiteY6" fmla="*/ 8779 h 14155"/>
                    <a:gd name="connsiteX7" fmla="*/ 12184 w 14753"/>
                    <a:gd name="connsiteY7" fmla="*/ 3927 h 14155"/>
                    <a:gd name="connsiteX8" fmla="*/ 9728 w 14753"/>
                    <a:gd name="connsiteY8" fmla="*/ 835 h 14155"/>
                    <a:gd name="connsiteX9" fmla="*/ 5139 w 14753"/>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661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69"/>
                    <a:gd name="connsiteX1" fmla="*/ 2697 w 16991"/>
                    <a:gd name="connsiteY1" fmla="*/ 3276 h 14169"/>
                    <a:gd name="connsiteX2" fmla="*/ 1039 w 16991"/>
                    <a:gd name="connsiteY2" fmla="*/ 6661 h 14169"/>
                    <a:gd name="connsiteX3" fmla="*/ 2831 w 16991"/>
                    <a:gd name="connsiteY3" fmla="*/ 11547 h 14169"/>
                    <a:gd name="connsiteX4" fmla="*/ 6179 w 16991"/>
                    <a:gd name="connsiteY4" fmla="*/ 9547 h 14169"/>
                    <a:gd name="connsiteX5" fmla="*/ 9317 w 16991"/>
                    <a:gd name="connsiteY5" fmla="*/ 10759 h 14169"/>
                    <a:gd name="connsiteX6" fmla="*/ 12396 w 16991"/>
                    <a:gd name="connsiteY6" fmla="*/ 8779 h 14169"/>
                    <a:gd name="connsiteX7" fmla="*/ 12615 w 16991"/>
                    <a:gd name="connsiteY7" fmla="*/ 3927 h 14169"/>
                    <a:gd name="connsiteX8" fmla="*/ 10159 w 16991"/>
                    <a:gd name="connsiteY8" fmla="*/ 835 h 14169"/>
                    <a:gd name="connsiteX9" fmla="*/ 5570 w 16991"/>
                    <a:gd name="connsiteY9" fmla="*/ 1423 h 14169"/>
                    <a:gd name="connsiteX0" fmla="*/ 5570 w 16991"/>
                    <a:gd name="connsiteY0" fmla="*/ 1423 h 14319"/>
                    <a:gd name="connsiteX1" fmla="*/ 2697 w 16991"/>
                    <a:gd name="connsiteY1" fmla="*/ 3276 h 14319"/>
                    <a:gd name="connsiteX2" fmla="*/ 1039 w 16991"/>
                    <a:gd name="connsiteY2" fmla="*/ 6661 h 14319"/>
                    <a:gd name="connsiteX3" fmla="*/ 2831 w 16991"/>
                    <a:gd name="connsiteY3" fmla="*/ 11547 h 14319"/>
                    <a:gd name="connsiteX4" fmla="*/ 6241 w 16991"/>
                    <a:gd name="connsiteY4" fmla="*/ 10204 h 14319"/>
                    <a:gd name="connsiteX5" fmla="*/ 9317 w 16991"/>
                    <a:gd name="connsiteY5" fmla="*/ 10759 h 14319"/>
                    <a:gd name="connsiteX6" fmla="*/ 12396 w 16991"/>
                    <a:gd name="connsiteY6" fmla="*/ 8779 h 14319"/>
                    <a:gd name="connsiteX7" fmla="*/ 12615 w 16991"/>
                    <a:gd name="connsiteY7" fmla="*/ 3927 h 14319"/>
                    <a:gd name="connsiteX8" fmla="*/ 10159 w 16991"/>
                    <a:gd name="connsiteY8" fmla="*/ 835 h 14319"/>
                    <a:gd name="connsiteX9" fmla="*/ 5570 w 16991"/>
                    <a:gd name="connsiteY9" fmla="*/ 1423 h 14319"/>
                    <a:gd name="connsiteX0" fmla="*/ 5570 w 16991"/>
                    <a:gd name="connsiteY0" fmla="*/ 1423 h 14440"/>
                    <a:gd name="connsiteX1" fmla="*/ 2697 w 16991"/>
                    <a:gd name="connsiteY1" fmla="*/ 3276 h 14440"/>
                    <a:gd name="connsiteX2" fmla="*/ 1039 w 16991"/>
                    <a:gd name="connsiteY2" fmla="*/ 6661 h 14440"/>
                    <a:gd name="connsiteX3" fmla="*/ 2831 w 16991"/>
                    <a:gd name="connsiteY3" fmla="*/ 11547 h 14440"/>
                    <a:gd name="connsiteX4" fmla="*/ 6241 w 16991"/>
                    <a:gd name="connsiteY4" fmla="*/ 10204 h 14440"/>
                    <a:gd name="connsiteX5" fmla="*/ 9317 w 16991"/>
                    <a:gd name="connsiteY5" fmla="*/ 10759 h 14440"/>
                    <a:gd name="connsiteX6" fmla="*/ 12396 w 16991"/>
                    <a:gd name="connsiteY6" fmla="*/ 8779 h 14440"/>
                    <a:gd name="connsiteX7" fmla="*/ 12615 w 16991"/>
                    <a:gd name="connsiteY7" fmla="*/ 3927 h 14440"/>
                    <a:gd name="connsiteX8" fmla="*/ 10159 w 16991"/>
                    <a:gd name="connsiteY8" fmla="*/ 835 h 14440"/>
                    <a:gd name="connsiteX9" fmla="*/ 5570 w 16991"/>
                    <a:gd name="connsiteY9" fmla="*/ 1423 h 14440"/>
                    <a:gd name="connsiteX0" fmla="*/ 5570 w 16991"/>
                    <a:gd name="connsiteY0" fmla="*/ 1423 h 14549"/>
                    <a:gd name="connsiteX1" fmla="*/ 2697 w 16991"/>
                    <a:gd name="connsiteY1" fmla="*/ 3276 h 14549"/>
                    <a:gd name="connsiteX2" fmla="*/ 1039 w 16991"/>
                    <a:gd name="connsiteY2" fmla="*/ 6661 h 14549"/>
                    <a:gd name="connsiteX3" fmla="*/ 2831 w 16991"/>
                    <a:gd name="connsiteY3" fmla="*/ 11547 h 14549"/>
                    <a:gd name="connsiteX4" fmla="*/ 6241 w 16991"/>
                    <a:gd name="connsiteY4" fmla="*/ 10204 h 14549"/>
                    <a:gd name="connsiteX5" fmla="*/ 9317 w 16991"/>
                    <a:gd name="connsiteY5" fmla="*/ 10759 h 14549"/>
                    <a:gd name="connsiteX6" fmla="*/ 12396 w 16991"/>
                    <a:gd name="connsiteY6" fmla="*/ 8779 h 14549"/>
                    <a:gd name="connsiteX7" fmla="*/ 12615 w 16991"/>
                    <a:gd name="connsiteY7" fmla="*/ 3927 h 14549"/>
                    <a:gd name="connsiteX8" fmla="*/ 10159 w 16991"/>
                    <a:gd name="connsiteY8" fmla="*/ 835 h 14549"/>
                    <a:gd name="connsiteX9" fmla="*/ 5570 w 16991"/>
                    <a:gd name="connsiteY9" fmla="*/ 1423 h 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991" h="14549">
                      <a:moveTo>
                        <a:pt x="5570" y="1423"/>
                      </a:moveTo>
                      <a:cubicBezTo>
                        <a:pt x="5570" y="1423"/>
                        <a:pt x="3130" y="3084"/>
                        <a:pt x="2697" y="3276"/>
                      </a:cubicBezTo>
                      <a:cubicBezTo>
                        <a:pt x="2116" y="3276"/>
                        <a:pt x="-1842" y="6053"/>
                        <a:pt x="1039" y="6661"/>
                      </a:cubicBezTo>
                      <a:cubicBezTo>
                        <a:pt x="7088" y="4584"/>
                        <a:pt x="1964" y="10957"/>
                        <a:pt x="2831" y="11547"/>
                      </a:cubicBezTo>
                      <a:cubicBezTo>
                        <a:pt x="3698" y="12137"/>
                        <a:pt x="5378" y="9267"/>
                        <a:pt x="6241" y="10204"/>
                      </a:cubicBezTo>
                      <a:cubicBezTo>
                        <a:pt x="7104" y="11141"/>
                        <a:pt x="8518" y="19143"/>
                        <a:pt x="9317" y="10759"/>
                      </a:cubicBezTo>
                      <a:cubicBezTo>
                        <a:pt x="9836" y="7618"/>
                        <a:pt x="10455" y="8698"/>
                        <a:pt x="12396" y="8779"/>
                      </a:cubicBezTo>
                      <a:cubicBezTo>
                        <a:pt x="22146" y="14045"/>
                        <a:pt x="13484" y="5276"/>
                        <a:pt x="12615" y="3927"/>
                      </a:cubicBezTo>
                      <a:cubicBezTo>
                        <a:pt x="11601" y="2772"/>
                        <a:pt x="11853" y="1347"/>
                        <a:pt x="10159" y="835"/>
                      </a:cubicBezTo>
                      <a:cubicBezTo>
                        <a:pt x="8883" y="-1003"/>
                        <a:pt x="5715" y="652"/>
                        <a:pt x="5570" y="1423"/>
                      </a:cubicBezTo>
                      <a:close/>
                    </a:path>
                  </a:pathLst>
                </a:custGeom>
                <a:solidFill>
                  <a:srgbClr val="FFC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48" name="Oval 284">
                  <a:extLst>
                    <a:ext uri="{FF2B5EF4-FFF2-40B4-BE49-F238E27FC236}">
                      <a16:creationId xmlns:a16="http://schemas.microsoft.com/office/drawing/2014/main" id="{EAF45746-11AE-43F3-A38E-9BB49B006780}"/>
                    </a:ext>
                  </a:extLst>
                </p:cNvPr>
                <p:cNvSpPr>
                  <a:spLocks noChangeArrowheads="1"/>
                </p:cNvSpPr>
                <p:nvPr/>
              </p:nvSpPr>
              <p:spPr bwMode="auto">
                <a:xfrm rot="15772157">
                  <a:off x="8188752" y="2258212"/>
                  <a:ext cx="63039" cy="160334"/>
                </a:xfrm>
                <a:prstGeom prst="ellipse">
                  <a:avLst/>
                </a:prstGeom>
                <a:solidFill>
                  <a:srgbClr val="E2A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6" name="Group 15">
                <a:extLst>
                  <a:ext uri="{FF2B5EF4-FFF2-40B4-BE49-F238E27FC236}">
                    <a16:creationId xmlns:a16="http://schemas.microsoft.com/office/drawing/2014/main" id="{6C82AC68-0155-4455-91A4-3453C372918A}"/>
                  </a:ext>
                </a:extLst>
              </p:cNvPr>
              <p:cNvGrpSpPr/>
              <p:nvPr/>
            </p:nvGrpSpPr>
            <p:grpSpPr>
              <a:xfrm rot="17704255">
                <a:off x="4688034" y="2543455"/>
                <a:ext cx="614395" cy="302314"/>
                <a:chOff x="7815272" y="2280892"/>
                <a:chExt cx="817760" cy="302314"/>
              </a:xfrm>
            </p:grpSpPr>
            <p:sp>
              <p:nvSpPr>
                <p:cNvPr id="245" name="Freeform 283">
                  <a:extLst>
                    <a:ext uri="{FF2B5EF4-FFF2-40B4-BE49-F238E27FC236}">
                      <a16:creationId xmlns:a16="http://schemas.microsoft.com/office/drawing/2014/main" id="{6928D140-E3D3-4472-B50F-8FCA2933939C}"/>
                    </a:ext>
                  </a:extLst>
                </p:cNvPr>
                <p:cNvSpPr>
                  <a:spLocks/>
                </p:cNvSpPr>
                <p:nvPr/>
              </p:nvSpPr>
              <p:spPr bwMode="auto">
                <a:xfrm rot="21172157">
                  <a:off x="7815272" y="2280892"/>
                  <a:ext cx="817760" cy="302314"/>
                </a:xfrm>
                <a:custGeom>
                  <a:avLst/>
                  <a:gdLst>
                    <a:gd name="T0" fmla="*/ 26 w 52"/>
                    <a:gd name="T1" fmla="*/ 4 h 51"/>
                    <a:gd name="T2" fmla="*/ 18 w 52"/>
                    <a:gd name="T3" fmla="*/ 10 h 51"/>
                    <a:gd name="T4" fmla="*/ 10 w 52"/>
                    <a:gd name="T5" fmla="*/ 12 h 51"/>
                    <a:gd name="T6" fmla="*/ 3 w 52"/>
                    <a:gd name="T7" fmla="*/ 25 h 51"/>
                    <a:gd name="T8" fmla="*/ 16 w 52"/>
                    <a:gd name="T9" fmla="*/ 37 h 51"/>
                    <a:gd name="T10" fmla="*/ 34 w 52"/>
                    <a:gd name="T11" fmla="*/ 45 h 51"/>
                    <a:gd name="T12" fmla="*/ 46 w 52"/>
                    <a:gd name="T13" fmla="*/ 36 h 51"/>
                    <a:gd name="T14" fmla="*/ 46 w 52"/>
                    <a:gd name="T15" fmla="*/ 17 h 51"/>
                    <a:gd name="T16" fmla="*/ 34 w 52"/>
                    <a:gd name="T17" fmla="*/ 5 h 51"/>
                    <a:gd name="T18" fmla="*/ 26 w 52"/>
                    <a:gd name="T19" fmla="*/ 4 h 51"/>
                    <a:gd name="connsiteX0" fmla="*/ 4531 w 11136"/>
                    <a:gd name="connsiteY0" fmla="*/ 500 h 9017"/>
                    <a:gd name="connsiteX1" fmla="*/ 2993 w 11136"/>
                    <a:gd name="connsiteY1" fmla="*/ 1677 h 9017"/>
                    <a:gd name="connsiteX2" fmla="*/ 1454 w 11136"/>
                    <a:gd name="connsiteY2" fmla="*/ 2069 h 9017"/>
                    <a:gd name="connsiteX3" fmla="*/ 108 w 11136"/>
                    <a:gd name="connsiteY3" fmla="*/ 4618 h 9017"/>
                    <a:gd name="connsiteX4" fmla="*/ 2608 w 11136"/>
                    <a:gd name="connsiteY4" fmla="*/ 6971 h 9017"/>
                    <a:gd name="connsiteX5" fmla="*/ 6069 w 11136"/>
                    <a:gd name="connsiteY5" fmla="*/ 8540 h 9017"/>
                    <a:gd name="connsiteX6" fmla="*/ 8377 w 11136"/>
                    <a:gd name="connsiteY6" fmla="*/ 6775 h 9017"/>
                    <a:gd name="connsiteX7" fmla="*/ 10903 w 11136"/>
                    <a:gd name="connsiteY7" fmla="*/ 2255 h 9017"/>
                    <a:gd name="connsiteX8" fmla="*/ 6069 w 11136"/>
                    <a:gd name="connsiteY8" fmla="*/ 696 h 9017"/>
                    <a:gd name="connsiteX9" fmla="*/ 4531 w 11136"/>
                    <a:gd name="connsiteY9" fmla="*/ 500 h 9017"/>
                    <a:gd name="connsiteX0" fmla="*/ 4069 w 10292"/>
                    <a:gd name="connsiteY0" fmla="*/ 555 h 10000"/>
                    <a:gd name="connsiteX1" fmla="*/ 2688 w 10292"/>
                    <a:gd name="connsiteY1" fmla="*/ 1860 h 10000"/>
                    <a:gd name="connsiteX2" fmla="*/ 1306 w 10292"/>
                    <a:gd name="connsiteY2" fmla="*/ 2295 h 10000"/>
                    <a:gd name="connsiteX3" fmla="*/ 97 w 10292"/>
                    <a:gd name="connsiteY3" fmla="*/ 5121 h 10000"/>
                    <a:gd name="connsiteX4" fmla="*/ 2342 w 10292"/>
                    <a:gd name="connsiteY4" fmla="*/ 7731 h 10000"/>
                    <a:gd name="connsiteX5" fmla="*/ 5450 w 10292"/>
                    <a:gd name="connsiteY5" fmla="*/ 9471 h 10000"/>
                    <a:gd name="connsiteX6" fmla="*/ 9790 w 10292"/>
                    <a:gd name="connsiteY6" fmla="*/ 7375 h 10000"/>
                    <a:gd name="connsiteX7" fmla="*/ 9791 w 10292"/>
                    <a:gd name="connsiteY7" fmla="*/ 2501 h 10000"/>
                    <a:gd name="connsiteX8" fmla="*/ 5450 w 10292"/>
                    <a:gd name="connsiteY8" fmla="*/ 772 h 10000"/>
                    <a:gd name="connsiteX9" fmla="*/ 4069 w 10292"/>
                    <a:gd name="connsiteY9" fmla="*/ 555 h 10000"/>
                    <a:gd name="connsiteX0" fmla="*/ 4069 w 10292"/>
                    <a:gd name="connsiteY0" fmla="*/ 555 h 9288"/>
                    <a:gd name="connsiteX1" fmla="*/ 2688 w 10292"/>
                    <a:gd name="connsiteY1" fmla="*/ 1860 h 9288"/>
                    <a:gd name="connsiteX2" fmla="*/ 1306 w 10292"/>
                    <a:gd name="connsiteY2" fmla="*/ 2295 h 9288"/>
                    <a:gd name="connsiteX3" fmla="*/ 97 w 10292"/>
                    <a:gd name="connsiteY3" fmla="*/ 5121 h 9288"/>
                    <a:gd name="connsiteX4" fmla="*/ 2342 w 10292"/>
                    <a:gd name="connsiteY4" fmla="*/ 7731 h 9288"/>
                    <a:gd name="connsiteX5" fmla="*/ 7309 w 10292"/>
                    <a:gd name="connsiteY5" fmla="*/ 8822 h 9288"/>
                    <a:gd name="connsiteX6" fmla="*/ 9790 w 10292"/>
                    <a:gd name="connsiteY6" fmla="*/ 7375 h 9288"/>
                    <a:gd name="connsiteX7" fmla="*/ 9791 w 10292"/>
                    <a:gd name="connsiteY7" fmla="*/ 2501 h 9288"/>
                    <a:gd name="connsiteX8" fmla="*/ 5450 w 10292"/>
                    <a:gd name="connsiteY8" fmla="*/ 772 h 9288"/>
                    <a:gd name="connsiteX9" fmla="*/ 4069 w 10292"/>
                    <a:gd name="connsiteY9" fmla="*/ 555 h 9288"/>
                    <a:gd name="connsiteX0" fmla="*/ 3974 w 10019"/>
                    <a:gd name="connsiteY0" fmla="*/ 598 h 9866"/>
                    <a:gd name="connsiteX1" fmla="*/ 2632 w 10019"/>
                    <a:gd name="connsiteY1" fmla="*/ 2003 h 9866"/>
                    <a:gd name="connsiteX2" fmla="*/ 1289 w 10019"/>
                    <a:gd name="connsiteY2" fmla="*/ 2471 h 9866"/>
                    <a:gd name="connsiteX3" fmla="*/ 114 w 10019"/>
                    <a:gd name="connsiteY3" fmla="*/ 5514 h 9866"/>
                    <a:gd name="connsiteX4" fmla="*/ 4716 w 10019"/>
                    <a:gd name="connsiteY4" fmla="*/ 7226 h 9866"/>
                    <a:gd name="connsiteX5" fmla="*/ 7122 w 10019"/>
                    <a:gd name="connsiteY5" fmla="*/ 9498 h 9866"/>
                    <a:gd name="connsiteX6" fmla="*/ 9532 w 10019"/>
                    <a:gd name="connsiteY6" fmla="*/ 7940 h 9866"/>
                    <a:gd name="connsiteX7" fmla="*/ 9533 w 10019"/>
                    <a:gd name="connsiteY7" fmla="*/ 2693 h 9866"/>
                    <a:gd name="connsiteX8" fmla="*/ 5315 w 10019"/>
                    <a:gd name="connsiteY8" fmla="*/ 831 h 9866"/>
                    <a:gd name="connsiteX9" fmla="*/ 3974 w 10019"/>
                    <a:gd name="connsiteY9" fmla="*/ 598 h 9866"/>
                    <a:gd name="connsiteX0" fmla="*/ 3432 w 9467"/>
                    <a:gd name="connsiteY0" fmla="*/ 606 h 12399"/>
                    <a:gd name="connsiteX1" fmla="*/ 2093 w 9467"/>
                    <a:gd name="connsiteY1" fmla="*/ 2030 h 12399"/>
                    <a:gd name="connsiteX2" fmla="*/ 753 w 9467"/>
                    <a:gd name="connsiteY2" fmla="*/ 2505 h 12399"/>
                    <a:gd name="connsiteX3" fmla="*/ 157 w 9467"/>
                    <a:gd name="connsiteY3" fmla="*/ 12318 h 12399"/>
                    <a:gd name="connsiteX4" fmla="*/ 4173 w 9467"/>
                    <a:gd name="connsiteY4" fmla="*/ 7324 h 12399"/>
                    <a:gd name="connsiteX5" fmla="*/ 6574 w 9467"/>
                    <a:gd name="connsiteY5" fmla="*/ 9627 h 12399"/>
                    <a:gd name="connsiteX6" fmla="*/ 8980 w 9467"/>
                    <a:gd name="connsiteY6" fmla="*/ 8048 h 12399"/>
                    <a:gd name="connsiteX7" fmla="*/ 8981 w 9467"/>
                    <a:gd name="connsiteY7" fmla="*/ 2730 h 12399"/>
                    <a:gd name="connsiteX8" fmla="*/ 4771 w 9467"/>
                    <a:gd name="connsiteY8" fmla="*/ 842 h 12399"/>
                    <a:gd name="connsiteX9" fmla="*/ 3432 w 9467"/>
                    <a:gd name="connsiteY9" fmla="*/ 606 h 12399"/>
                    <a:gd name="connsiteX0" fmla="*/ 5344 w 11719"/>
                    <a:gd name="connsiteY0" fmla="*/ 488 h 9962"/>
                    <a:gd name="connsiteX1" fmla="*/ 3930 w 11719"/>
                    <a:gd name="connsiteY1" fmla="*/ 1636 h 9962"/>
                    <a:gd name="connsiteX2" fmla="*/ 0 w 11719"/>
                    <a:gd name="connsiteY2" fmla="*/ 3447 h 9962"/>
                    <a:gd name="connsiteX3" fmla="*/ 1885 w 11719"/>
                    <a:gd name="connsiteY3" fmla="*/ 9934 h 9962"/>
                    <a:gd name="connsiteX4" fmla="*/ 6127 w 11719"/>
                    <a:gd name="connsiteY4" fmla="*/ 5906 h 9962"/>
                    <a:gd name="connsiteX5" fmla="*/ 8663 w 11719"/>
                    <a:gd name="connsiteY5" fmla="*/ 7763 h 9962"/>
                    <a:gd name="connsiteX6" fmla="*/ 11205 w 11719"/>
                    <a:gd name="connsiteY6" fmla="*/ 6490 h 9962"/>
                    <a:gd name="connsiteX7" fmla="*/ 11206 w 11719"/>
                    <a:gd name="connsiteY7" fmla="*/ 2201 h 9962"/>
                    <a:gd name="connsiteX8" fmla="*/ 6759 w 11719"/>
                    <a:gd name="connsiteY8" fmla="*/ 678 h 9962"/>
                    <a:gd name="connsiteX9" fmla="*/ 5344 w 11719"/>
                    <a:gd name="connsiteY9" fmla="*/ 488 h 9962"/>
                    <a:gd name="connsiteX0" fmla="*/ 4560 w 10000"/>
                    <a:gd name="connsiteY0" fmla="*/ 490 h 10000"/>
                    <a:gd name="connsiteX1" fmla="*/ 3354 w 10000"/>
                    <a:gd name="connsiteY1" fmla="*/ 1642 h 10000"/>
                    <a:gd name="connsiteX2" fmla="*/ 0 w 10000"/>
                    <a:gd name="connsiteY2" fmla="*/ 3460 h 10000"/>
                    <a:gd name="connsiteX3" fmla="*/ 1608 w 10000"/>
                    <a:gd name="connsiteY3" fmla="*/ 9972 h 10000"/>
                    <a:gd name="connsiteX4" fmla="*/ 5228 w 10000"/>
                    <a:gd name="connsiteY4" fmla="*/ 5929 h 10000"/>
                    <a:gd name="connsiteX5" fmla="*/ 7392 w 10000"/>
                    <a:gd name="connsiteY5" fmla="*/ 7793 h 10000"/>
                    <a:gd name="connsiteX6" fmla="*/ 9561 w 10000"/>
                    <a:gd name="connsiteY6" fmla="*/ 6515 h 10000"/>
                    <a:gd name="connsiteX7" fmla="*/ 9562 w 10000"/>
                    <a:gd name="connsiteY7" fmla="*/ 2209 h 10000"/>
                    <a:gd name="connsiteX8" fmla="*/ 5768 w 10000"/>
                    <a:gd name="connsiteY8" fmla="*/ 681 h 10000"/>
                    <a:gd name="connsiteX9" fmla="*/ 4560 w 10000"/>
                    <a:gd name="connsiteY9" fmla="*/ 490 h 10000"/>
                    <a:gd name="connsiteX0" fmla="*/ 4982 w 10422"/>
                    <a:gd name="connsiteY0" fmla="*/ 490 h 9973"/>
                    <a:gd name="connsiteX1" fmla="*/ 3776 w 10422"/>
                    <a:gd name="connsiteY1" fmla="*/ 1642 h 9973"/>
                    <a:gd name="connsiteX2" fmla="*/ 0 w 10422"/>
                    <a:gd name="connsiteY2" fmla="*/ 5385 h 9973"/>
                    <a:gd name="connsiteX3" fmla="*/ 2030 w 10422"/>
                    <a:gd name="connsiteY3" fmla="*/ 9972 h 9973"/>
                    <a:gd name="connsiteX4" fmla="*/ 5650 w 10422"/>
                    <a:gd name="connsiteY4" fmla="*/ 5929 h 9973"/>
                    <a:gd name="connsiteX5" fmla="*/ 7814 w 10422"/>
                    <a:gd name="connsiteY5" fmla="*/ 7793 h 9973"/>
                    <a:gd name="connsiteX6" fmla="*/ 9983 w 10422"/>
                    <a:gd name="connsiteY6" fmla="*/ 6515 h 9973"/>
                    <a:gd name="connsiteX7" fmla="*/ 9984 w 10422"/>
                    <a:gd name="connsiteY7" fmla="*/ 2209 h 9973"/>
                    <a:gd name="connsiteX8" fmla="*/ 6190 w 10422"/>
                    <a:gd name="connsiteY8" fmla="*/ 681 h 9973"/>
                    <a:gd name="connsiteX9" fmla="*/ 4982 w 10422"/>
                    <a:gd name="connsiteY9" fmla="*/ 490 h 9973"/>
                    <a:gd name="connsiteX0" fmla="*/ 4780 w 10000"/>
                    <a:gd name="connsiteY0" fmla="*/ 491 h 10000"/>
                    <a:gd name="connsiteX1" fmla="*/ 1159 w 10000"/>
                    <a:gd name="connsiteY1" fmla="*/ 1276 h 10000"/>
                    <a:gd name="connsiteX2" fmla="*/ 0 w 10000"/>
                    <a:gd name="connsiteY2" fmla="*/ 5400 h 10000"/>
                    <a:gd name="connsiteX3" fmla="*/ 1948 w 10000"/>
                    <a:gd name="connsiteY3" fmla="*/ 9999 h 10000"/>
                    <a:gd name="connsiteX4" fmla="*/ 5421 w 10000"/>
                    <a:gd name="connsiteY4" fmla="*/ 5945 h 10000"/>
                    <a:gd name="connsiteX5" fmla="*/ 7498 w 10000"/>
                    <a:gd name="connsiteY5" fmla="*/ 7814 h 10000"/>
                    <a:gd name="connsiteX6" fmla="*/ 9579 w 10000"/>
                    <a:gd name="connsiteY6" fmla="*/ 6533 h 10000"/>
                    <a:gd name="connsiteX7" fmla="*/ 9580 w 10000"/>
                    <a:gd name="connsiteY7" fmla="*/ 2215 h 10000"/>
                    <a:gd name="connsiteX8" fmla="*/ 5939 w 10000"/>
                    <a:gd name="connsiteY8" fmla="*/ 683 h 10000"/>
                    <a:gd name="connsiteX9" fmla="*/ 4780 w 10000"/>
                    <a:gd name="connsiteY9" fmla="*/ 491 h 10000"/>
                    <a:gd name="connsiteX0" fmla="*/ 4032 w 10000"/>
                    <a:gd name="connsiteY0" fmla="*/ 240 h 10817"/>
                    <a:gd name="connsiteX1" fmla="*/ 1159 w 10000"/>
                    <a:gd name="connsiteY1" fmla="*/ 2093 h 10817"/>
                    <a:gd name="connsiteX2" fmla="*/ 0 w 10000"/>
                    <a:gd name="connsiteY2" fmla="*/ 6217 h 10817"/>
                    <a:gd name="connsiteX3" fmla="*/ 1948 w 10000"/>
                    <a:gd name="connsiteY3" fmla="*/ 10816 h 10817"/>
                    <a:gd name="connsiteX4" fmla="*/ 5421 w 10000"/>
                    <a:gd name="connsiteY4" fmla="*/ 6762 h 10817"/>
                    <a:gd name="connsiteX5" fmla="*/ 7498 w 10000"/>
                    <a:gd name="connsiteY5" fmla="*/ 8631 h 10817"/>
                    <a:gd name="connsiteX6" fmla="*/ 9579 w 10000"/>
                    <a:gd name="connsiteY6" fmla="*/ 7350 h 10817"/>
                    <a:gd name="connsiteX7" fmla="*/ 9580 w 10000"/>
                    <a:gd name="connsiteY7" fmla="*/ 3032 h 10817"/>
                    <a:gd name="connsiteX8" fmla="*/ 5939 w 10000"/>
                    <a:gd name="connsiteY8" fmla="*/ 1500 h 10817"/>
                    <a:gd name="connsiteX9" fmla="*/ 4032 w 10000"/>
                    <a:gd name="connsiteY9" fmla="*/ 240 h 10817"/>
                    <a:gd name="connsiteX0" fmla="*/ 4032 w 10000"/>
                    <a:gd name="connsiteY0" fmla="*/ 507 h 11084"/>
                    <a:gd name="connsiteX1" fmla="*/ 1159 w 10000"/>
                    <a:gd name="connsiteY1" fmla="*/ 2360 h 11084"/>
                    <a:gd name="connsiteX2" fmla="*/ 0 w 10000"/>
                    <a:gd name="connsiteY2" fmla="*/ 6484 h 11084"/>
                    <a:gd name="connsiteX3" fmla="*/ 1948 w 10000"/>
                    <a:gd name="connsiteY3" fmla="*/ 11083 h 11084"/>
                    <a:gd name="connsiteX4" fmla="*/ 5421 w 10000"/>
                    <a:gd name="connsiteY4" fmla="*/ 7029 h 11084"/>
                    <a:gd name="connsiteX5" fmla="*/ 7498 w 10000"/>
                    <a:gd name="connsiteY5" fmla="*/ 8898 h 11084"/>
                    <a:gd name="connsiteX6" fmla="*/ 9579 w 10000"/>
                    <a:gd name="connsiteY6" fmla="*/ 7617 h 11084"/>
                    <a:gd name="connsiteX7" fmla="*/ 9580 w 10000"/>
                    <a:gd name="connsiteY7" fmla="*/ 3299 h 11084"/>
                    <a:gd name="connsiteX8" fmla="*/ 8340 w 10000"/>
                    <a:gd name="connsiteY8" fmla="*/ 658 h 11084"/>
                    <a:gd name="connsiteX9" fmla="*/ 4032 w 10000"/>
                    <a:gd name="connsiteY9" fmla="*/ 507 h 11084"/>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67"/>
                    <a:gd name="connsiteX1" fmla="*/ 1159 w 10000"/>
                    <a:gd name="connsiteY1" fmla="*/ 2309 h 11067"/>
                    <a:gd name="connsiteX2" fmla="*/ 0 w 10000"/>
                    <a:gd name="connsiteY2" fmla="*/ 6433 h 11067"/>
                    <a:gd name="connsiteX3" fmla="*/ 1948 w 10000"/>
                    <a:gd name="connsiteY3" fmla="*/ 11032 h 11067"/>
                    <a:gd name="connsiteX4" fmla="*/ 4641 w 10000"/>
                    <a:gd name="connsiteY4" fmla="*/ 8580 h 11067"/>
                    <a:gd name="connsiteX5" fmla="*/ 7498 w 10000"/>
                    <a:gd name="connsiteY5" fmla="*/ 8847 h 11067"/>
                    <a:gd name="connsiteX6" fmla="*/ 9579 w 10000"/>
                    <a:gd name="connsiteY6" fmla="*/ 7566 h 11067"/>
                    <a:gd name="connsiteX7" fmla="*/ 9580 w 10000"/>
                    <a:gd name="connsiteY7" fmla="*/ 3248 h 11067"/>
                    <a:gd name="connsiteX8" fmla="*/ 8340 w 10000"/>
                    <a:gd name="connsiteY8" fmla="*/ 607 h 11067"/>
                    <a:gd name="connsiteX9" fmla="*/ 4032 w 10000"/>
                    <a:gd name="connsiteY9" fmla="*/ 456 h 11067"/>
                    <a:gd name="connsiteX0" fmla="*/ 4032 w 10000"/>
                    <a:gd name="connsiteY0" fmla="*/ 456 h 11053"/>
                    <a:gd name="connsiteX1" fmla="*/ 1159 w 10000"/>
                    <a:gd name="connsiteY1" fmla="*/ 2309 h 11053"/>
                    <a:gd name="connsiteX2" fmla="*/ 0 w 10000"/>
                    <a:gd name="connsiteY2" fmla="*/ 6433 h 11053"/>
                    <a:gd name="connsiteX3" fmla="*/ 1948 w 10000"/>
                    <a:gd name="connsiteY3" fmla="*/ 11032 h 11053"/>
                    <a:gd name="connsiteX4" fmla="*/ 4641 w 10000"/>
                    <a:gd name="connsiteY4" fmla="*/ 8580 h 11053"/>
                    <a:gd name="connsiteX5" fmla="*/ 7498 w 10000"/>
                    <a:gd name="connsiteY5" fmla="*/ 8847 h 11053"/>
                    <a:gd name="connsiteX6" fmla="*/ 9579 w 10000"/>
                    <a:gd name="connsiteY6" fmla="*/ 7566 h 11053"/>
                    <a:gd name="connsiteX7" fmla="*/ 9580 w 10000"/>
                    <a:gd name="connsiteY7" fmla="*/ 3248 h 11053"/>
                    <a:gd name="connsiteX8" fmla="*/ 8340 w 10000"/>
                    <a:gd name="connsiteY8" fmla="*/ 607 h 11053"/>
                    <a:gd name="connsiteX9" fmla="*/ 4032 w 10000"/>
                    <a:gd name="connsiteY9" fmla="*/ 456 h 11053"/>
                    <a:gd name="connsiteX0" fmla="*/ 4032 w 10000"/>
                    <a:gd name="connsiteY0" fmla="*/ 456 h 11130"/>
                    <a:gd name="connsiteX1" fmla="*/ 1159 w 10000"/>
                    <a:gd name="connsiteY1" fmla="*/ 2309 h 11130"/>
                    <a:gd name="connsiteX2" fmla="*/ 0 w 10000"/>
                    <a:gd name="connsiteY2" fmla="*/ 6433 h 11130"/>
                    <a:gd name="connsiteX3" fmla="*/ 1948 w 10000"/>
                    <a:gd name="connsiteY3" fmla="*/ 11032 h 11130"/>
                    <a:gd name="connsiteX4" fmla="*/ 4641 w 10000"/>
                    <a:gd name="connsiteY4" fmla="*/ 8580 h 11130"/>
                    <a:gd name="connsiteX5" fmla="*/ 7498 w 10000"/>
                    <a:gd name="connsiteY5" fmla="*/ 8847 h 11130"/>
                    <a:gd name="connsiteX6" fmla="*/ 9579 w 10000"/>
                    <a:gd name="connsiteY6" fmla="*/ 7566 h 11130"/>
                    <a:gd name="connsiteX7" fmla="*/ 9580 w 10000"/>
                    <a:gd name="connsiteY7" fmla="*/ 3248 h 11130"/>
                    <a:gd name="connsiteX8" fmla="*/ 8340 w 10000"/>
                    <a:gd name="connsiteY8" fmla="*/ 607 h 11130"/>
                    <a:gd name="connsiteX9" fmla="*/ 4032 w 10000"/>
                    <a:gd name="connsiteY9" fmla="*/ 456 h 11130"/>
                    <a:gd name="connsiteX0" fmla="*/ 4662 w 10630"/>
                    <a:gd name="connsiteY0" fmla="*/ 456 h 11130"/>
                    <a:gd name="connsiteX1" fmla="*/ 1789 w 10630"/>
                    <a:gd name="connsiteY1" fmla="*/ 2309 h 11130"/>
                    <a:gd name="connsiteX2" fmla="*/ 630 w 10630"/>
                    <a:gd name="connsiteY2" fmla="*/ 6433 h 11130"/>
                    <a:gd name="connsiteX3" fmla="*/ 2578 w 10630"/>
                    <a:gd name="connsiteY3" fmla="*/ 11032 h 11130"/>
                    <a:gd name="connsiteX4" fmla="*/ 5271 w 10630"/>
                    <a:gd name="connsiteY4" fmla="*/ 8580 h 11130"/>
                    <a:gd name="connsiteX5" fmla="*/ 8128 w 10630"/>
                    <a:gd name="connsiteY5" fmla="*/ 8847 h 11130"/>
                    <a:gd name="connsiteX6" fmla="*/ 10209 w 10630"/>
                    <a:gd name="connsiteY6" fmla="*/ 7566 h 11130"/>
                    <a:gd name="connsiteX7" fmla="*/ 10210 w 10630"/>
                    <a:gd name="connsiteY7" fmla="*/ 3248 h 11130"/>
                    <a:gd name="connsiteX8" fmla="*/ 8970 w 10630"/>
                    <a:gd name="connsiteY8" fmla="*/ 607 h 11130"/>
                    <a:gd name="connsiteX9" fmla="*/ 4662 w 10630"/>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2836"/>
                    <a:gd name="connsiteX1" fmla="*/ 2266 w 11107"/>
                    <a:gd name="connsiteY1" fmla="*/ 2309 h 12836"/>
                    <a:gd name="connsiteX2" fmla="*/ 546 w 11107"/>
                    <a:gd name="connsiteY2" fmla="*/ 6228 h 12836"/>
                    <a:gd name="connsiteX3" fmla="*/ 3055 w 11107"/>
                    <a:gd name="connsiteY3" fmla="*/ 11032 h 12836"/>
                    <a:gd name="connsiteX4" fmla="*/ 5748 w 11107"/>
                    <a:gd name="connsiteY4" fmla="*/ 8580 h 12836"/>
                    <a:gd name="connsiteX5" fmla="*/ 8605 w 11107"/>
                    <a:gd name="connsiteY5" fmla="*/ 8847 h 12836"/>
                    <a:gd name="connsiteX6" fmla="*/ 10686 w 11107"/>
                    <a:gd name="connsiteY6" fmla="*/ 7566 h 12836"/>
                    <a:gd name="connsiteX7" fmla="*/ 10687 w 11107"/>
                    <a:gd name="connsiteY7" fmla="*/ 3248 h 12836"/>
                    <a:gd name="connsiteX8" fmla="*/ 9447 w 11107"/>
                    <a:gd name="connsiteY8" fmla="*/ 607 h 12836"/>
                    <a:gd name="connsiteX9" fmla="*/ 5139 w 11107"/>
                    <a:gd name="connsiteY9" fmla="*/ 456 h 12836"/>
                    <a:gd name="connsiteX0" fmla="*/ 5139 w 11107"/>
                    <a:gd name="connsiteY0" fmla="*/ 456 h 13188"/>
                    <a:gd name="connsiteX1" fmla="*/ 2266 w 11107"/>
                    <a:gd name="connsiteY1" fmla="*/ 2309 h 13188"/>
                    <a:gd name="connsiteX2" fmla="*/ 546 w 11107"/>
                    <a:gd name="connsiteY2" fmla="*/ 6228 h 13188"/>
                    <a:gd name="connsiteX3" fmla="*/ 3055 w 11107"/>
                    <a:gd name="connsiteY3" fmla="*/ 11032 h 13188"/>
                    <a:gd name="connsiteX4" fmla="*/ 5748 w 11107"/>
                    <a:gd name="connsiteY4" fmla="*/ 8580 h 13188"/>
                    <a:gd name="connsiteX5" fmla="*/ 8886 w 11107"/>
                    <a:gd name="connsiteY5" fmla="*/ 9792 h 13188"/>
                    <a:gd name="connsiteX6" fmla="*/ 10686 w 11107"/>
                    <a:gd name="connsiteY6" fmla="*/ 7566 h 13188"/>
                    <a:gd name="connsiteX7" fmla="*/ 10687 w 11107"/>
                    <a:gd name="connsiteY7" fmla="*/ 3248 h 13188"/>
                    <a:gd name="connsiteX8" fmla="*/ 9447 w 11107"/>
                    <a:gd name="connsiteY8" fmla="*/ 607 h 13188"/>
                    <a:gd name="connsiteX9" fmla="*/ 5139 w 11107"/>
                    <a:gd name="connsiteY9" fmla="*/ 456 h 13188"/>
                    <a:gd name="connsiteX0" fmla="*/ 5139 w 11107"/>
                    <a:gd name="connsiteY0" fmla="*/ 922 h 13654"/>
                    <a:gd name="connsiteX1" fmla="*/ 2266 w 11107"/>
                    <a:gd name="connsiteY1" fmla="*/ 2775 h 13654"/>
                    <a:gd name="connsiteX2" fmla="*/ 546 w 11107"/>
                    <a:gd name="connsiteY2" fmla="*/ 6694 h 13654"/>
                    <a:gd name="connsiteX3" fmla="*/ 3055 w 11107"/>
                    <a:gd name="connsiteY3" fmla="*/ 11498 h 13654"/>
                    <a:gd name="connsiteX4" fmla="*/ 5748 w 11107"/>
                    <a:gd name="connsiteY4" fmla="*/ 9046 h 13654"/>
                    <a:gd name="connsiteX5" fmla="*/ 8886 w 11107"/>
                    <a:gd name="connsiteY5" fmla="*/ 10258 h 13654"/>
                    <a:gd name="connsiteX6" fmla="*/ 10686 w 11107"/>
                    <a:gd name="connsiteY6" fmla="*/ 8032 h 13654"/>
                    <a:gd name="connsiteX7" fmla="*/ 10687 w 11107"/>
                    <a:gd name="connsiteY7" fmla="*/ 3714 h 13654"/>
                    <a:gd name="connsiteX8" fmla="*/ 9447 w 11107"/>
                    <a:gd name="connsiteY8" fmla="*/ 1073 h 13654"/>
                    <a:gd name="connsiteX9" fmla="*/ 5139 w 11107"/>
                    <a:gd name="connsiteY9" fmla="*/ 922 h 13654"/>
                    <a:gd name="connsiteX0" fmla="*/ 5139 w 11107"/>
                    <a:gd name="connsiteY0" fmla="*/ 1423 h 14155"/>
                    <a:gd name="connsiteX1" fmla="*/ 2266 w 11107"/>
                    <a:gd name="connsiteY1" fmla="*/ 3276 h 14155"/>
                    <a:gd name="connsiteX2" fmla="*/ 546 w 11107"/>
                    <a:gd name="connsiteY2" fmla="*/ 7195 h 14155"/>
                    <a:gd name="connsiteX3" fmla="*/ 3055 w 11107"/>
                    <a:gd name="connsiteY3" fmla="*/ 11999 h 14155"/>
                    <a:gd name="connsiteX4" fmla="*/ 5748 w 11107"/>
                    <a:gd name="connsiteY4" fmla="*/ 9547 h 14155"/>
                    <a:gd name="connsiteX5" fmla="*/ 8886 w 11107"/>
                    <a:gd name="connsiteY5" fmla="*/ 10759 h 14155"/>
                    <a:gd name="connsiteX6" fmla="*/ 10686 w 11107"/>
                    <a:gd name="connsiteY6" fmla="*/ 8533 h 14155"/>
                    <a:gd name="connsiteX7" fmla="*/ 10687 w 11107"/>
                    <a:gd name="connsiteY7" fmla="*/ 4215 h 14155"/>
                    <a:gd name="connsiteX8" fmla="*/ 9728 w 11107"/>
                    <a:gd name="connsiteY8" fmla="*/ 835 h 14155"/>
                    <a:gd name="connsiteX9" fmla="*/ 5139 w 11107"/>
                    <a:gd name="connsiteY9" fmla="*/ 1423 h 14155"/>
                    <a:gd name="connsiteX0" fmla="*/ 5139 w 12384"/>
                    <a:gd name="connsiteY0" fmla="*/ 1423 h 14155"/>
                    <a:gd name="connsiteX1" fmla="*/ 2266 w 12384"/>
                    <a:gd name="connsiteY1" fmla="*/ 3276 h 14155"/>
                    <a:gd name="connsiteX2" fmla="*/ 546 w 12384"/>
                    <a:gd name="connsiteY2" fmla="*/ 7195 h 14155"/>
                    <a:gd name="connsiteX3" fmla="*/ 3055 w 12384"/>
                    <a:gd name="connsiteY3" fmla="*/ 11999 h 14155"/>
                    <a:gd name="connsiteX4" fmla="*/ 5748 w 12384"/>
                    <a:gd name="connsiteY4" fmla="*/ 9547 h 14155"/>
                    <a:gd name="connsiteX5" fmla="*/ 8886 w 12384"/>
                    <a:gd name="connsiteY5" fmla="*/ 10759 h 14155"/>
                    <a:gd name="connsiteX6" fmla="*/ 10686 w 12384"/>
                    <a:gd name="connsiteY6" fmla="*/ 8533 h 14155"/>
                    <a:gd name="connsiteX7" fmla="*/ 12184 w 12384"/>
                    <a:gd name="connsiteY7" fmla="*/ 3927 h 14155"/>
                    <a:gd name="connsiteX8" fmla="*/ 9728 w 12384"/>
                    <a:gd name="connsiteY8" fmla="*/ 835 h 14155"/>
                    <a:gd name="connsiteX9" fmla="*/ 5139 w 12384"/>
                    <a:gd name="connsiteY9" fmla="*/ 1423 h 14155"/>
                    <a:gd name="connsiteX0" fmla="*/ 5139 w 12562"/>
                    <a:gd name="connsiteY0" fmla="*/ 1423 h 14155"/>
                    <a:gd name="connsiteX1" fmla="*/ 2266 w 12562"/>
                    <a:gd name="connsiteY1" fmla="*/ 3276 h 14155"/>
                    <a:gd name="connsiteX2" fmla="*/ 546 w 12562"/>
                    <a:gd name="connsiteY2" fmla="*/ 7195 h 14155"/>
                    <a:gd name="connsiteX3" fmla="*/ 3055 w 12562"/>
                    <a:gd name="connsiteY3" fmla="*/ 11999 h 14155"/>
                    <a:gd name="connsiteX4" fmla="*/ 5748 w 12562"/>
                    <a:gd name="connsiteY4" fmla="*/ 9547 h 14155"/>
                    <a:gd name="connsiteX5" fmla="*/ 8886 w 12562"/>
                    <a:gd name="connsiteY5" fmla="*/ 10759 h 14155"/>
                    <a:gd name="connsiteX6" fmla="*/ 12027 w 12562"/>
                    <a:gd name="connsiteY6" fmla="*/ 8163 h 14155"/>
                    <a:gd name="connsiteX7" fmla="*/ 12184 w 12562"/>
                    <a:gd name="connsiteY7" fmla="*/ 3927 h 14155"/>
                    <a:gd name="connsiteX8" fmla="*/ 9728 w 12562"/>
                    <a:gd name="connsiteY8" fmla="*/ 835 h 14155"/>
                    <a:gd name="connsiteX9" fmla="*/ 5139 w 12562"/>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53"/>
                    <a:gd name="connsiteY0" fmla="*/ 1423 h 14155"/>
                    <a:gd name="connsiteX1" fmla="*/ 2266 w 14753"/>
                    <a:gd name="connsiteY1" fmla="*/ 3276 h 14155"/>
                    <a:gd name="connsiteX2" fmla="*/ 546 w 14753"/>
                    <a:gd name="connsiteY2" fmla="*/ 7195 h 14155"/>
                    <a:gd name="connsiteX3" fmla="*/ 3055 w 14753"/>
                    <a:gd name="connsiteY3" fmla="*/ 11999 h 14155"/>
                    <a:gd name="connsiteX4" fmla="*/ 5748 w 14753"/>
                    <a:gd name="connsiteY4" fmla="*/ 9547 h 14155"/>
                    <a:gd name="connsiteX5" fmla="*/ 8886 w 14753"/>
                    <a:gd name="connsiteY5" fmla="*/ 10759 h 14155"/>
                    <a:gd name="connsiteX6" fmla="*/ 11965 w 14753"/>
                    <a:gd name="connsiteY6" fmla="*/ 8779 h 14155"/>
                    <a:gd name="connsiteX7" fmla="*/ 12184 w 14753"/>
                    <a:gd name="connsiteY7" fmla="*/ 3927 h 14155"/>
                    <a:gd name="connsiteX8" fmla="*/ 9728 w 14753"/>
                    <a:gd name="connsiteY8" fmla="*/ 835 h 14155"/>
                    <a:gd name="connsiteX9" fmla="*/ 5139 w 14753"/>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661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69"/>
                    <a:gd name="connsiteX1" fmla="*/ 2697 w 16991"/>
                    <a:gd name="connsiteY1" fmla="*/ 3276 h 14169"/>
                    <a:gd name="connsiteX2" fmla="*/ 1039 w 16991"/>
                    <a:gd name="connsiteY2" fmla="*/ 6661 h 14169"/>
                    <a:gd name="connsiteX3" fmla="*/ 2831 w 16991"/>
                    <a:gd name="connsiteY3" fmla="*/ 11547 h 14169"/>
                    <a:gd name="connsiteX4" fmla="*/ 6179 w 16991"/>
                    <a:gd name="connsiteY4" fmla="*/ 9547 h 14169"/>
                    <a:gd name="connsiteX5" fmla="*/ 9317 w 16991"/>
                    <a:gd name="connsiteY5" fmla="*/ 10759 h 14169"/>
                    <a:gd name="connsiteX6" fmla="*/ 12396 w 16991"/>
                    <a:gd name="connsiteY6" fmla="*/ 8779 h 14169"/>
                    <a:gd name="connsiteX7" fmla="*/ 12615 w 16991"/>
                    <a:gd name="connsiteY7" fmla="*/ 3927 h 14169"/>
                    <a:gd name="connsiteX8" fmla="*/ 10159 w 16991"/>
                    <a:gd name="connsiteY8" fmla="*/ 835 h 14169"/>
                    <a:gd name="connsiteX9" fmla="*/ 5570 w 16991"/>
                    <a:gd name="connsiteY9" fmla="*/ 1423 h 14169"/>
                    <a:gd name="connsiteX0" fmla="*/ 5570 w 16991"/>
                    <a:gd name="connsiteY0" fmla="*/ 1423 h 14319"/>
                    <a:gd name="connsiteX1" fmla="*/ 2697 w 16991"/>
                    <a:gd name="connsiteY1" fmla="*/ 3276 h 14319"/>
                    <a:gd name="connsiteX2" fmla="*/ 1039 w 16991"/>
                    <a:gd name="connsiteY2" fmla="*/ 6661 h 14319"/>
                    <a:gd name="connsiteX3" fmla="*/ 2831 w 16991"/>
                    <a:gd name="connsiteY3" fmla="*/ 11547 h 14319"/>
                    <a:gd name="connsiteX4" fmla="*/ 6241 w 16991"/>
                    <a:gd name="connsiteY4" fmla="*/ 10204 h 14319"/>
                    <a:gd name="connsiteX5" fmla="*/ 9317 w 16991"/>
                    <a:gd name="connsiteY5" fmla="*/ 10759 h 14319"/>
                    <a:gd name="connsiteX6" fmla="*/ 12396 w 16991"/>
                    <a:gd name="connsiteY6" fmla="*/ 8779 h 14319"/>
                    <a:gd name="connsiteX7" fmla="*/ 12615 w 16991"/>
                    <a:gd name="connsiteY7" fmla="*/ 3927 h 14319"/>
                    <a:gd name="connsiteX8" fmla="*/ 10159 w 16991"/>
                    <a:gd name="connsiteY8" fmla="*/ 835 h 14319"/>
                    <a:gd name="connsiteX9" fmla="*/ 5570 w 16991"/>
                    <a:gd name="connsiteY9" fmla="*/ 1423 h 14319"/>
                    <a:gd name="connsiteX0" fmla="*/ 5570 w 16991"/>
                    <a:gd name="connsiteY0" fmla="*/ 1423 h 14440"/>
                    <a:gd name="connsiteX1" fmla="*/ 2697 w 16991"/>
                    <a:gd name="connsiteY1" fmla="*/ 3276 h 14440"/>
                    <a:gd name="connsiteX2" fmla="*/ 1039 w 16991"/>
                    <a:gd name="connsiteY2" fmla="*/ 6661 h 14440"/>
                    <a:gd name="connsiteX3" fmla="*/ 2831 w 16991"/>
                    <a:gd name="connsiteY3" fmla="*/ 11547 h 14440"/>
                    <a:gd name="connsiteX4" fmla="*/ 6241 w 16991"/>
                    <a:gd name="connsiteY4" fmla="*/ 10204 h 14440"/>
                    <a:gd name="connsiteX5" fmla="*/ 9317 w 16991"/>
                    <a:gd name="connsiteY5" fmla="*/ 10759 h 14440"/>
                    <a:gd name="connsiteX6" fmla="*/ 12396 w 16991"/>
                    <a:gd name="connsiteY6" fmla="*/ 8779 h 14440"/>
                    <a:gd name="connsiteX7" fmla="*/ 12615 w 16991"/>
                    <a:gd name="connsiteY7" fmla="*/ 3927 h 14440"/>
                    <a:gd name="connsiteX8" fmla="*/ 10159 w 16991"/>
                    <a:gd name="connsiteY8" fmla="*/ 835 h 14440"/>
                    <a:gd name="connsiteX9" fmla="*/ 5570 w 16991"/>
                    <a:gd name="connsiteY9" fmla="*/ 1423 h 14440"/>
                    <a:gd name="connsiteX0" fmla="*/ 5570 w 16991"/>
                    <a:gd name="connsiteY0" fmla="*/ 1423 h 14549"/>
                    <a:gd name="connsiteX1" fmla="*/ 2697 w 16991"/>
                    <a:gd name="connsiteY1" fmla="*/ 3276 h 14549"/>
                    <a:gd name="connsiteX2" fmla="*/ 1039 w 16991"/>
                    <a:gd name="connsiteY2" fmla="*/ 6661 h 14549"/>
                    <a:gd name="connsiteX3" fmla="*/ 2831 w 16991"/>
                    <a:gd name="connsiteY3" fmla="*/ 11547 h 14549"/>
                    <a:gd name="connsiteX4" fmla="*/ 6241 w 16991"/>
                    <a:gd name="connsiteY4" fmla="*/ 10204 h 14549"/>
                    <a:gd name="connsiteX5" fmla="*/ 9317 w 16991"/>
                    <a:gd name="connsiteY5" fmla="*/ 10759 h 14549"/>
                    <a:gd name="connsiteX6" fmla="*/ 12396 w 16991"/>
                    <a:gd name="connsiteY6" fmla="*/ 8779 h 14549"/>
                    <a:gd name="connsiteX7" fmla="*/ 12615 w 16991"/>
                    <a:gd name="connsiteY7" fmla="*/ 3927 h 14549"/>
                    <a:gd name="connsiteX8" fmla="*/ 10159 w 16991"/>
                    <a:gd name="connsiteY8" fmla="*/ 835 h 14549"/>
                    <a:gd name="connsiteX9" fmla="*/ 5570 w 16991"/>
                    <a:gd name="connsiteY9" fmla="*/ 1423 h 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991" h="14549">
                      <a:moveTo>
                        <a:pt x="5570" y="1423"/>
                      </a:moveTo>
                      <a:cubicBezTo>
                        <a:pt x="5570" y="1423"/>
                        <a:pt x="3130" y="3084"/>
                        <a:pt x="2697" y="3276"/>
                      </a:cubicBezTo>
                      <a:cubicBezTo>
                        <a:pt x="2116" y="3276"/>
                        <a:pt x="-1842" y="6053"/>
                        <a:pt x="1039" y="6661"/>
                      </a:cubicBezTo>
                      <a:cubicBezTo>
                        <a:pt x="7088" y="4584"/>
                        <a:pt x="1964" y="10957"/>
                        <a:pt x="2831" y="11547"/>
                      </a:cubicBezTo>
                      <a:cubicBezTo>
                        <a:pt x="3698" y="12137"/>
                        <a:pt x="5378" y="9267"/>
                        <a:pt x="6241" y="10204"/>
                      </a:cubicBezTo>
                      <a:cubicBezTo>
                        <a:pt x="7104" y="11141"/>
                        <a:pt x="8518" y="19143"/>
                        <a:pt x="9317" y="10759"/>
                      </a:cubicBezTo>
                      <a:cubicBezTo>
                        <a:pt x="9836" y="7618"/>
                        <a:pt x="10455" y="8698"/>
                        <a:pt x="12396" y="8779"/>
                      </a:cubicBezTo>
                      <a:cubicBezTo>
                        <a:pt x="22146" y="14045"/>
                        <a:pt x="13484" y="5276"/>
                        <a:pt x="12615" y="3927"/>
                      </a:cubicBezTo>
                      <a:cubicBezTo>
                        <a:pt x="11601" y="2772"/>
                        <a:pt x="11853" y="1347"/>
                        <a:pt x="10159" y="835"/>
                      </a:cubicBezTo>
                      <a:cubicBezTo>
                        <a:pt x="8883" y="-1003"/>
                        <a:pt x="5715" y="652"/>
                        <a:pt x="5570" y="1423"/>
                      </a:cubicBezTo>
                      <a:close/>
                    </a:path>
                  </a:pathLst>
                </a:custGeom>
                <a:solidFill>
                  <a:srgbClr val="FFC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46" name="Oval 284">
                  <a:extLst>
                    <a:ext uri="{FF2B5EF4-FFF2-40B4-BE49-F238E27FC236}">
                      <a16:creationId xmlns:a16="http://schemas.microsoft.com/office/drawing/2014/main" id="{58B207C5-4B30-4672-9928-C7CFAD3756AA}"/>
                    </a:ext>
                  </a:extLst>
                </p:cNvPr>
                <p:cNvSpPr>
                  <a:spLocks noChangeArrowheads="1"/>
                </p:cNvSpPr>
                <p:nvPr/>
              </p:nvSpPr>
              <p:spPr bwMode="auto">
                <a:xfrm rot="15772157">
                  <a:off x="8188752" y="2258212"/>
                  <a:ext cx="63039" cy="160334"/>
                </a:xfrm>
                <a:prstGeom prst="ellipse">
                  <a:avLst/>
                </a:prstGeom>
                <a:solidFill>
                  <a:srgbClr val="E2A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7" name="Group 16">
                <a:extLst>
                  <a:ext uri="{FF2B5EF4-FFF2-40B4-BE49-F238E27FC236}">
                    <a16:creationId xmlns:a16="http://schemas.microsoft.com/office/drawing/2014/main" id="{4611660B-980B-4361-994F-74CDC61392EB}"/>
                  </a:ext>
                </a:extLst>
              </p:cNvPr>
              <p:cNvGrpSpPr/>
              <p:nvPr/>
            </p:nvGrpSpPr>
            <p:grpSpPr>
              <a:xfrm rot="14261828">
                <a:off x="6803664" y="3016711"/>
                <a:ext cx="614395" cy="302314"/>
                <a:chOff x="7815272" y="2280892"/>
                <a:chExt cx="817760" cy="302314"/>
              </a:xfrm>
            </p:grpSpPr>
            <p:sp>
              <p:nvSpPr>
                <p:cNvPr id="243" name="Freeform 283">
                  <a:extLst>
                    <a:ext uri="{FF2B5EF4-FFF2-40B4-BE49-F238E27FC236}">
                      <a16:creationId xmlns:a16="http://schemas.microsoft.com/office/drawing/2014/main" id="{A66C606A-B6B7-43D8-9CF5-316EC4820D19}"/>
                    </a:ext>
                  </a:extLst>
                </p:cNvPr>
                <p:cNvSpPr>
                  <a:spLocks/>
                </p:cNvSpPr>
                <p:nvPr/>
              </p:nvSpPr>
              <p:spPr bwMode="auto">
                <a:xfrm rot="21172157">
                  <a:off x="7815272" y="2280892"/>
                  <a:ext cx="817760" cy="302314"/>
                </a:xfrm>
                <a:custGeom>
                  <a:avLst/>
                  <a:gdLst>
                    <a:gd name="T0" fmla="*/ 26 w 52"/>
                    <a:gd name="T1" fmla="*/ 4 h 51"/>
                    <a:gd name="T2" fmla="*/ 18 w 52"/>
                    <a:gd name="T3" fmla="*/ 10 h 51"/>
                    <a:gd name="T4" fmla="*/ 10 w 52"/>
                    <a:gd name="T5" fmla="*/ 12 h 51"/>
                    <a:gd name="T6" fmla="*/ 3 w 52"/>
                    <a:gd name="T7" fmla="*/ 25 h 51"/>
                    <a:gd name="T8" fmla="*/ 16 w 52"/>
                    <a:gd name="T9" fmla="*/ 37 h 51"/>
                    <a:gd name="T10" fmla="*/ 34 w 52"/>
                    <a:gd name="T11" fmla="*/ 45 h 51"/>
                    <a:gd name="T12" fmla="*/ 46 w 52"/>
                    <a:gd name="T13" fmla="*/ 36 h 51"/>
                    <a:gd name="T14" fmla="*/ 46 w 52"/>
                    <a:gd name="T15" fmla="*/ 17 h 51"/>
                    <a:gd name="T16" fmla="*/ 34 w 52"/>
                    <a:gd name="T17" fmla="*/ 5 h 51"/>
                    <a:gd name="T18" fmla="*/ 26 w 52"/>
                    <a:gd name="T19" fmla="*/ 4 h 51"/>
                    <a:gd name="connsiteX0" fmla="*/ 4531 w 11136"/>
                    <a:gd name="connsiteY0" fmla="*/ 500 h 9017"/>
                    <a:gd name="connsiteX1" fmla="*/ 2993 w 11136"/>
                    <a:gd name="connsiteY1" fmla="*/ 1677 h 9017"/>
                    <a:gd name="connsiteX2" fmla="*/ 1454 w 11136"/>
                    <a:gd name="connsiteY2" fmla="*/ 2069 h 9017"/>
                    <a:gd name="connsiteX3" fmla="*/ 108 w 11136"/>
                    <a:gd name="connsiteY3" fmla="*/ 4618 h 9017"/>
                    <a:gd name="connsiteX4" fmla="*/ 2608 w 11136"/>
                    <a:gd name="connsiteY4" fmla="*/ 6971 h 9017"/>
                    <a:gd name="connsiteX5" fmla="*/ 6069 w 11136"/>
                    <a:gd name="connsiteY5" fmla="*/ 8540 h 9017"/>
                    <a:gd name="connsiteX6" fmla="*/ 8377 w 11136"/>
                    <a:gd name="connsiteY6" fmla="*/ 6775 h 9017"/>
                    <a:gd name="connsiteX7" fmla="*/ 10903 w 11136"/>
                    <a:gd name="connsiteY7" fmla="*/ 2255 h 9017"/>
                    <a:gd name="connsiteX8" fmla="*/ 6069 w 11136"/>
                    <a:gd name="connsiteY8" fmla="*/ 696 h 9017"/>
                    <a:gd name="connsiteX9" fmla="*/ 4531 w 11136"/>
                    <a:gd name="connsiteY9" fmla="*/ 500 h 9017"/>
                    <a:gd name="connsiteX0" fmla="*/ 4069 w 10292"/>
                    <a:gd name="connsiteY0" fmla="*/ 555 h 10000"/>
                    <a:gd name="connsiteX1" fmla="*/ 2688 w 10292"/>
                    <a:gd name="connsiteY1" fmla="*/ 1860 h 10000"/>
                    <a:gd name="connsiteX2" fmla="*/ 1306 w 10292"/>
                    <a:gd name="connsiteY2" fmla="*/ 2295 h 10000"/>
                    <a:gd name="connsiteX3" fmla="*/ 97 w 10292"/>
                    <a:gd name="connsiteY3" fmla="*/ 5121 h 10000"/>
                    <a:gd name="connsiteX4" fmla="*/ 2342 w 10292"/>
                    <a:gd name="connsiteY4" fmla="*/ 7731 h 10000"/>
                    <a:gd name="connsiteX5" fmla="*/ 5450 w 10292"/>
                    <a:gd name="connsiteY5" fmla="*/ 9471 h 10000"/>
                    <a:gd name="connsiteX6" fmla="*/ 9790 w 10292"/>
                    <a:gd name="connsiteY6" fmla="*/ 7375 h 10000"/>
                    <a:gd name="connsiteX7" fmla="*/ 9791 w 10292"/>
                    <a:gd name="connsiteY7" fmla="*/ 2501 h 10000"/>
                    <a:gd name="connsiteX8" fmla="*/ 5450 w 10292"/>
                    <a:gd name="connsiteY8" fmla="*/ 772 h 10000"/>
                    <a:gd name="connsiteX9" fmla="*/ 4069 w 10292"/>
                    <a:gd name="connsiteY9" fmla="*/ 555 h 10000"/>
                    <a:gd name="connsiteX0" fmla="*/ 4069 w 10292"/>
                    <a:gd name="connsiteY0" fmla="*/ 555 h 9288"/>
                    <a:gd name="connsiteX1" fmla="*/ 2688 w 10292"/>
                    <a:gd name="connsiteY1" fmla="*/ 1860 h 9288"/>
                    <a:gd name="connsiteX2" fmla="*/ 1306 w 10292"/>
                    <a:gd name="connsiteY2" fmla="*/ 2295 h 9288"/>
                    <a:gd name="connsiteX3" fmla="*/ 97 w 10292"/>
                    <a:gd name="connsiteY3" fmla="*/ 5121 h 9288"/>
                    <a:gd name="connsiteX4" fmla="*/ 2342 w 10292"/>
                    <a:gd name="connsiteY4" fmla="*/ 7731 h 9288"/>
                    <a:gd name="connsiteX5" fmla="*/ 7309 w 10292"/>
                    <a:gd name="connsiteY5" fmla="*/ 8822 h 9288"/>
                    <a:gd name="connsiteX6" fmla="*/ 9790 w 10292"/>
                    <a:gd name="connsiteY6" fmla="*/ 7375 h 9288"/>
                    <a:gd name="connsiteX7" fmla="*/ 9791 w 10292"/>
                    <a:gd name="connsiteY7" fmla="*/ 2501 h 9288"/>
                    <a:gd name="connsiteX8" fmla="*/ 5450 w 10292"/>
                    <a:gd name="connsiteY8" fmla="*/ 772 h 9288"/>
                    <a:gd name="connsiteX9" fmla="*/ 4069 w 10292"/>
                    <a:gd name="connsiteY9" fmla="*/ 555 h 9288"/>
                    <a:gd name="connsiteX0" fmla="*/ 3974 w 10019"/>
                    <a:gd name="connsiteY0" fmla="*/ 598 h 9866"/>
                    <a:gd name="connsiteX1" fmla="*/ 2632 w 10019"/>
                    <a:gd name="connsiteY1" fmla="*/ 2003 h 9866"/>
                    <a:gd name="connsiteX2" fmla="*/ 1289 w 10019"/>
                    <a:gd name="connsiteY2" fmla="*/ 2471 h 9866"/>
                    <a:gd name="connsiteX3" fmla="*/ 114 w 10019"/>
                    <a:gd name="connsiteY3" fmla="*/ 5514 h 9866"/>
                    <a:gd name="connsiteX4" fmla="*/ 4716 w 10019"/>
                    <a:gd name="connsiteY4" fmla="*/ 7226 h 9866"/>
                    <a:gd name="connsiteX5" fmla="*/ 7122 w 10019"/>
                    <a:gd name="connsiteY5" fmla="*/ 9498 h 9866"/>
                    <a:gd name="connsiteX6" fmla="*/ 9532 w 10019"/>
                    <a:gd name="connsiteY6" fmla="*/ 7940 h 9866"/>
                    <a:gd name="connsiteX7" fmla="*/ 9533 w 10019"/>
                    <a:gd name="connsiteY7" fmla="*/ 2693 h 9866"/>
                    <a:gd name="connsiteX8" fmla="*/ 5315 w 10019"/>
                    <a:gd name="connsiteY8" fmla="*/ 831 h 9866"/>
                    <a:gd name="connsiteX9" fmla="*/ 3974 w 10019"/>
                    <a:gd name="connsiteY9" fmla="*/ 598 h 9866"/>
                    <a:gd name="connsiteX0" fmla="*/ 3432 w 9467"/>
                    <a:gd name="connsiteY0" fmla="*/ 606 h 12399"/>
                    <a:gd name="connsiteX1" fmla="*/ 2093 w 9467"/>
                    <a:gd name="connsiteY1" fmla="*/ 2030 h 12399"/>
                    <a:gd name="connsiteX2" fmla="*/ 753 w 9467"/>
                    <a:gd name="connsiteY2" fmla="*/ 2505 h 12399"/>
                    <a:gd name="connsiteX3" fmla="*/ 157 w 9467"/>
                    <a:gd name="connsiteY3" fmla="*/ 12318 h 12399"/>
                    <a:gd name="connsiteX4" fmla="*/ 4173 w 9467"/>
                    <a:gd name="connsiteY4" fmla="*/ 7324 h 12399"/>
                    <a:gd name="connsiteX5" fmla="*/ 6574 w 9467"/>
                    <a:gd name="connsiteY5" fmla="*/ 9627 h 12399"/>
                    <a:gd name="connsiteX6" fmla="*/ 8980 w 9467"/>
                    <a:gd name="connsiteY6" fmla="*/ 8048 h 12399"/>
                    <a:gd name="connsiteX7" fmla="*/ 8981 w 9467"/>
                    <a:gd name="connsiteY7" fmla="*/ 2730 h 12399"/>
                    <a:gd name="connsiteX8" fmla="*/ 4771 w 9467"/>
                    <a:gd name="connsiteY8" fmla="*/ 842 h 12399"/>
                    <a:gd name="connsiteX9" fmla="*/ 3432 w 9467"/>
                    <a:gd name="connsiteY9" fmla="*/ 606 h 12399"/>
                    <a:gd name="connsiteX0" fmla="*/ 5344 w 11719"/>
                    <a:gd name="connsiteY0" fmla="*/ 488 h 9962"/>
                    <a:gd name="connsiteX1" fmla="*/ 3930 w 11719"/>
                    <a:gd name="connsiteY1" fmla="*/ 1636 h 9962"/>
                    <a:gd name="connsiteX2" fmla="*/ 0 w 11719"/>
                    <a:gd name="connsiteY2" fmla="*/ 3447 h 9962"/>
                    <a:gd name="connsiteX3" fmla="*/ 1885 w 11719"/>
                    <a:gd name="connsiteY3" fmla="*/ 9934 h 9962"/>
                    <a:gd name="connsiteX4" fmla="*/ 6127 w 11719"/>
                    <a:gd name="connsiteY4" fmla="*/ 5906 h 9962"/>
                    <a:gd name="connsiteX5" fmla="*/ 8663 w 11719"/>
                    <a:gd name="connsiteY5" fmla="*/ 7763 h 9962"/>
                    <a:gd name="connsiteX6" fmla="*/ 11205 w 11719"/>
                    <a:gd name="connsiteY6" fmla="*/ 6490 h 9962"/>
                    <a:gd name="connsiteX7" fmla="*/ 11206 w 11719"/>
                    <a:gd name="connsiteY7" fmla="*/ 2201 h 9962"/>
                    <a:gd name="connsiteX8" fmla="*/ 6759 w 11719"/>
                    <a:gd name="connsiteY8" fmla="*/ 678 h 9962"/>
                    <a:gd name="connsiteX9" fmla="*/ 5344 w 11719"/>
                    <a:gd name="connsiteY9" fmla="*/ 488 h 9962"/>
                    <a:gd name="connsiteX0" fmla="*/ 4560 w 10000"/>
                    <a:gd name="connsiteY0" fmla="*/ 490 h 10000"/>
                    <a:gd name="connsiteX1" fmla="*/ 3354 w 10000"/>
                    <a:gd name="connsiteY1" fmla="*/ 1642 h 10000"/>
                    <a:gd name="connsiteX2" fmla="*/ 0 w 10000"/>
                    <a:gd name="connsiteY2" fmla="*/ 3460 h 10000"/>
                    <a:gd name="connsiteX3" fmla="*/ 1608 w 10000"/>
                    <a:gd name="connsiteY3" fmla="*/ 9972 h 10000"/>
                    <a:gd name="connsiteX4" fmla="*/ 5228 w 10000"/>
                    <a:gd name="connsiteY4" fmla="*/ 5929 h 10000"/>
                    <a:gd name="connsiteX5" fmla="*/ 7392 w 10000"/>
                    <a:gd name="connsiteY5" fmla="*/ 7793 h 10000"/>
                    <a:gd name="connsiteX6" fmla="*/ 9561 w 10000"/>
                    <a:gd name="connsiteY6" fmla="*/ 6515 h 10000"/>
                    <a:gd name="connsiteX7" fmla="*/ 9562 w 10000"/>
                    <a:gd name="connsiteY7" fmla="*/ 2209 h 10000"/>
                    <a:gd name="connsiteX8" fmla="*/ 5768 w 10000"/>
                    <a:gd name="connsiteY8" fmla="*/ 681 h 10000"/>
                    <a:gd name="connsiteX9" fmla="*/ 4560 w 10000"/>
                    <a:gd name="connsiteY9" fmla="*/ 490 h 10000"/>
                    <a:gd name="connsiteX0" fmla="*/ 4982 w 10422"/>
                    <a:gd name="connsiteY0" fmla="*/ 490 h 9973"/>
                    <a:gd name="connsiteX1" fmla="*/ 3776 w 10422"/>
                    <a:gd name="connsiteY1" fmla="*/ 1642 h 9973"/>
                    <a:gd name="connsiteX2" fmla="*/ 0 w 10422"/>
                    <a:gd name="connsiteY2" fmla="*/ 5385 h 9973"/>
                    <a:gd name="connsiteX3" fmla="*/ 2030 w 10422"/>
                    <a:gd name="connsiteY3" fmla="*/ 9972 h 9973"/>
                    <a:gd name="connsiteX4" fmla="*/ 5650 w 10422"/>
                    <a:gd name="connsiteY4" fmla="*/ 5929 h 9973"/>
                    <a:gd name="connsiteX5" fmla="*/ 7814 w 10422"/>
                    <a:gd name="connsiteY5" fmla="*/ 7793 h 9973"/>
                    <a:gd name="connsiteX6" fmla="*/ 9983 w 10422"/>
                    <a:gd name="connsiteY6" fmla="*/ 6515 h 9973"/>
                    <a:gd name="connsiteX7" fmla="*/ 9984 w 10422"/>
                    <a:gd name="connsiteY7" fmla="*/ 2209 h 9973"/>
                    <a:gd name="connsiteX8" fmla="*/ 6190 w 10422"/>
                    <a:gd name="connsiteY8" fmla="*/ 681 h 9973"/>
                    <a:gd name="connsiteX9" fmla="*/ 4982 w 10422"/>
                    <a:gd name="connsiteY9" fmla="*/ 490 h 9973"/>
                    <a:gd name="connsiteX0" fmla="*/ 4780 w 10000"/>
                    <a:gd name="connsiteY0" fmla="*/ 491 h 10000"/>
                    <a:gd name="connsiteX1" fmla="*/ 1159 w 10000"/>
                    <a:gd name="connsiteY1" fmla="*/ 1276 h 10000"/>
                    <a:gd name="connsiteX2" fmla="*/ 0 w 10000"/>
                    <a:gd name="connsiteY2" fmla="*/ 5400 h 10000"/>
                    <a:gd name="connsiteX3" fmla="*/ 1948 w 10000"/>
                    <a:gd name="connsiteY3" fmla="*/ 9999 h 10000"/>
                    <a:gd name="connsiteX4" fmla="*/ 5421 w 10000"/>
                    <a:gd name="connsiteY4" fmla="*/ 5945 h 10000"/>
                    <a:gd name="connsiteX5" fmla="*/ 7498 w 10000"/>
                    <a:gd name="connsiteY5" fmla="*/ 7814 h 10000"/>
                    <a:gd name="connsiteX6" fmla="*/ 9579 w 10000"/>
                    <a:gd name="connsiteY6" fmla="*/ 6533 h 10000"/>
                    <a:gd name="connsiteX7" fmla="*/ 9580 w 10000"/>
                    <a:gd name="connsiteY7" fmla="*/ 2215 h 10000"/>
                    <a:gd name="connsiteX8" fmla="*/ 5939 w 10000"/>
                    <a:gd name="connsiteY8" fmla="*/ 683 h 10000"/>
                    <a:gd name="connsiteX9" fmla="*/ 4780 w 10000"/>
                    <a:gd name="connsiteY9" fmla="*/ 491 h 10000"/>
                    <a:gd name="connsiteX0" fmla="*/ 4032 w 10000"/>
                    <a:gd name="connsiteY0" fmla="*/ 240 h 10817"/>
                    <a:gd name="connsiteX1" fmla="*/ 1159 w 10000"/>
                    <a:gd name="connsiteY1" fmla="*/ 2093 h 10817"/>
                    <a:gd name="connsiteX2" fmla="*/ 0 w 10000"/>
                    <a:gd name="connsiteY2" fmla="*/ 6217 h 10817"/>
                    <a:gd name="connsiteX3" fmla="*/ 1948 w 10000"/>
                    <a:gd name="connsiteY3" fmla="*/ 10816 h 10817"/>
                    <a:gd name="connsiteX4" fmla="*/ 5421 w 10000"/>
                    <a:gd name="connsiteY4" fmla="*/ 6762 h 10817"/>
                    <a:gd name="connsiteX5" fmla="*/ 7498 w 10000"/>
                    <a:gd name="connsiteY5" fmla="*/ 8631 h 10817"/>
                    <a:gd name="connsiteX6" fmla="*/ 9579 w 10000"/>
                    <a:gd name="connsiteY6" fmla="*/ 7350 h 10817"/>
                    <a:gd name="connsiteX7" fmla="*/ 9580 w 10000"/>
                    <a:gd name="connsiteY7" fmla="*/ 3032 h 10817"/>
                    <a:gd name="connsiteX8" fmla="*/ 5939 w 10000"/>
                    <a:gd name="connsiteY8" fmla="*/ 1500 h 10817"/>
                    <a:gd name="connsiteX9" fmla="*/ 4032 w 10000"/>
                    <a:gd name="connsiteY9" fmla="*/ 240 h 10817"/>
                    <a:gd name="connsiteX0" fmla="*/ 4032 w 10000"/>
                    <a:gd name="connsiteY0" fmla="*/ 507 h 11084"/>
                    <a:gd name="connsiteX1" fmla="*/ 1159 w 10000"/>
                    <a:gd name="connsiteY1" fmla="*/ 2360 h 11084"/>
                    <a:gd name="connsiteX2" fmla="*/ 0 w 10000"/>
                    <a:gd name="connsiteY2" fmla="*/ 6484 h 11084"/>
                    <a:gd name="connsiteX3" fmla="*/ 1948 w 10000"/>
                    <a:gd name="connsiteY3" fmla="*/ 11083 h 11084"/>
                    <a:gd name="connsiteX4" fmla="*/ 5421 w 10000"/>
                    <a:gd name="connsiteY4" fmla="*/ 7029 h 11084"/>
                    <a:gd name="connsiteX5" fmla="*/ 7498 w 10000"/>
                    <a:gd name="connsiteY5" fmla="*/ 8898 h 11084"/>
                    <a:gd name="connsiteX6" fmla="*/ 9579 w 10000"/>
                    <a:gd name="connsiteY6" fmla="*/ 7617 h 11084"/>
                    <a:gd name="connsiteX7" fmla="*/ 9580 w 10000"/>
                    <a:gd name="connsiteY7" fmla="*/ 3299 h 11084"/>
                    <a:gd name="connsiteX8" fmla="*/ 8340 w 10000"/>
                    <a:gd name="connsiteY8" fmla="*/ 658 h 11084"/>
                    <a:gd name="connsiteX9" fmla="*/ 4032 w 10000"/>
                    <a:gd name="connsiteY9" fmla="*/ 507 h 11084"/>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67"/>
                    <a:gd name="connsiteX1" fmla="*/ 1159 w 10000"/>
                    <a:gd name="connsiteY1" fmla="*/ 2309 h 11067"/>
                    <a:gd name="connsiteX2" fmla="*/ 0 w 10000"/>
                    <a:gd name="connsiteY2" fmla="*/ 6433 h 11067"/>
                    <a:gd name="connsiteX3" fmla="*/ 1948 w 10000"/>
                    <a:gd name="connsiteY3" fmla="*/ 11032 h 11067"/>
                    <a:gd name="connsiteX4" fmla="*/ 4641 w 10000"/>
                    <a:gd name="connsiteY4" fmla="*/ 8580 h 11067"/>
                    <a:gd name="connsiteX5" fmla="*/ 7498 w 10000"/>
                    <a:gd name="connsiteY5" fmla="*/ 8847 h 11067"/>
                    <a:gd name="connsiteX6" fmla="*/ 9579 w 10000"/>
                    <a:gd name="connsiteY6" fmla="*/ 7566 h 11067"/>
                    <a:gd name="connsiteX7" fmla="*/ 9580 w 10000"/>
                    <a:gd name="connsiteY7" fmla="*/ 3248 h 11067"/>
                    <a:gd name="connsiteX8" fmla="*/ 8340 w 10000"/>
                    <a:gd name="connsiteY8" fmla="*/ 607 h 11067"/>
                    <a:gd name="connsiteX9" fmla="*/ 4032 w 10000"/>
                    <a:gd name="connsiteY9" fmla="*/ 456 h 11067"/>
                    <a:gd name="connsiteX0" fmla="*/ 4032 w 10000"/>
                    <a:gd name="connsiteY0" fmla="*/ 456 h 11053"/>
                    <a:gd name="connsiteX1" fmla="*/ 1159 w 10000"/>
                    <a:gd name="connsiteY1" fmla="*/ 2309 h 11053"/>
                    <a:gd name="connsiteX2" fmla="*/ 0 w 10000"/>
                    <a:gd name="connsiteY2" fmla="*/ 6433 h 11053"/>
                    <a:gd name="connsiteX3" fmla="*/ 1948 w 10000"/>
                    <a:gd name="connsiteY3" fmla="*/ 11032 h 11053"/>
                    <a:gd name="connsiteX4" fmla="*/ 4641 w 10000"/>
                    <a:gd name="connsiteY4" fmla="*/ 8580 h 11053"/>
                    <a:gd name="connsiteX5" fmla="*/ 7498 w 10000"/>
                    <a:gd name="connsiteY5" fmla="*/ 8847 h 11053"/>
                    <a:gd name="connsiteX6" fmla="*/ 9579 w 10000"/>
                    <a:gd name="connsiteY6" fmla="*/ 7566 h 11053"/>
                    <a:gd name="connsiteX7" fmla="*/ 9580 w 10000"/>
                    <a:gd name="connsiteY7" fmla="*/ 3248 h 11053"/>
                    <a:gd name="connsiteX8" fmla="*/ 8340 w 10000"/>
                    <a:gd name="connsiteY8" fmla="*/ 607 h 11053"/>
                    <a:gd name="connsiteX9" fmla="*/ 4032 w 10000"/>
                    <a:gd name="connsiteY9" fmla="*/ 456 h 11053"/>
                    <a:gd name="connsiteX0" fmla="*/ 4032 w 10000"/>
                    <a:gd name="connsiteY0" fmla="*/ 456 h 11130"/>
                    <a:gd name="connsiteX1" fmla="*/ 1159 w 10000"/>
                    <a:gd name="connsiteY1" fmla="*/ 2309 h 11130"/>
                    <a:gd name="connsiteX2" fmla="*/ 0 w 10000"/>
                    <a:gd name="connsiteY2" fmla="*/ 6433 h 11130"/>
                    <a:gd name="connsiteX3" fmla="*/ 1948 w 10000"/>
                    <a:gd name="connsiteY3" fmla="*/ 11032 h 11130"/>
                    <a:gd name="connsiteX4" fmla="*/ 4641 w 10000"/>
                    <a:gd name="connsiteY4" fmla="*/ 8580 h 11130"/>
                    <a:gd name="connsiteX5" fmla="*/ 7498 w 10000"/>
                    <a:gd name="connsiteY5" fmla="*/ 8847 h 11130"/>
                    <a:gd name="connsiteX6" fmla="*/ 9579 w 10000"/>
                    <a:gd name="connsiteY6" fmla="*/ 7566 h 11130"/>
                    <a:gd name="connsiteX7" fmla="*/ 9580 w 10000"/>
                    <a:gd name="connsiteY7" fmla="*/ 3248 h 11130"/>
                    <a:gd name="connsiteX8" fmla="*/ 8340 w 10000"/>
                    <a:gd name="connsiteY8" fmla="*/ 607 h 11130"/>
                    <a:gd name="connsiteX9" fmla="*/ 4032 w 10000"/>
                    <a:gd name="connsiteY9" fmla="*/ 456 h 11130"/>
                    <a:gd name="connsiteX0" fmla="*/ 4662 w 10630"/>
                    <a:gd name="connsiteY0" fmla="*/ 456 h 11130"/>
                    <a:gd name="connsiteX1" fmla="*/ 1789 w 10630"/>
                    <a:gd name="connsiteY1" fmla="*/ 2309 h 11130"/>
                    <a:gd name="connsiteX2" fmla="*/ 630 w 10630"/>
                    <a:gd name="connsiteY2" fmla="*/ 6433 h 11130"/>
                    <a:gd name="connsiteX3" fmla="*/ 2578 w 10630"/>
                    <a:gd name="connsiteY3" fmla="*/ 11032 h 11130"/>
                    <a:gd name="connsiteX4" fmla="*/ 5271 w 10630"/>
                    <a:gd name="connsiteY4" fmla="*/ 8580 h 11130"/>
                    <a:gd name="connsiteX5" fmla="*/ 8128 w 10630"/>
                    <a:gd name="connsiteY5" fmla="*/ 8847 h 11130"/>
                    <a:gd name="connsiteX6" fmla="*/ 10209 w 10630"/>
                    <a:gd name="connsiteY6" fmla="*/ 7566 h 11130"/>
                    <a:gd name="connsiteX7" fmla="*/ 10210 w 10630"/>
                    <a:gd name="connsiteY7" fmla="*/ 3248 h 11130"/>
                    <a:gd name="connsiteX8" fmla="*/ 8970 w 10630"/>
                    <a:gd name="connsiteY8" fmla="*/ 607 h 11130"/>
                    <a:gd name="connsiteX9" fmla="*/ 4662 w 10630"/>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2836"/>
                    <a:gd name="connsiteX1" fmla="*/ 2266 w 11107"/>
                    <a:gd name="connsiteY1" fmla="*/ 2309 h 12836"/>
                    <a:gd name="connsiteX2" fmla="*/ 546 w 11107"/>
                    <a:gd name="connsiteY2" fmla="*/ 6228 h 12836"/>
                    <a:gd name="connsiteX3" fmla="*/ 3055 w 11107"/>
                    <a:gd name="connsiteY3" fmla="*/ 11032 h 12836"/>
                    <a:gd name="connsiteX4" fmla="*/ 5748 w 11107"/>
                    <a:gd name="connsiteY4" fmla="*/ 8580 h 12836"/>
                    <a:gd name="connsiteX5" fmla="*/ 8605 w 11107"/>
                    <a:gd name="connsiteY5" fmla="*/ 8847 h 12836"/>
                    <a:gd name="connsiteX6" fmla="*/ 10686 w 11107"/>
                    <a:gd name="connsiteY6" fmla="*/ 7566 h 12836"/>
                    <a:gd name="connsiteX7" fmla="*/ 10687 w 11107"/>
                    <a:gd name="connsiteY7" fmla="*/ 3248 h 12836"/>
                    <a:gd name="connsiteX8" fmla="*/ 9447 w 11107"/>
                    <a:gd name="connsiteY8" fmla="*/ 607 h 12836"/>
                    <a:gd name="connsiteX9" fmla="*/ 5139 w 11107"/>
                    <a:gd name="connsiteY9" fmla="*/ 456 h 12836"/>
                    <a:gd name="connsiteX0" fmla="*/ 5139 w 11107"/>
                    <a:gd name="connsiteY0" fmla="*/ 456 h 13188"/>
                    <a:gd name="connsiteX1" fmla="*/ 2266 w 11107"/>
                    <a:gd name="connsiteY1" fmla="*/ 2309 h 13188"/>
                    <a:gd name="connsiteX2" fmla="*/ 546 w 11107"/>
                    <a:gd name="connsiteY2" fmla="*/ 6228 h 13188"/>
                    <a:gd name="connsiteX3" fmla="*/ 3055 w 11107"/>
                    <a:gd name="connsiteY3" fmla="*/ 11032 h 13188"/>
                    <a:gd name="connsiteX4" fmla="*/ 5748 w 11107"/>
                    <a:gd name="connsiteY4" fmla="*/ 8580 h 13188"/>
                    <a:gd name="connsiteX5" fmla="*/ 8886 w 11107"/>
                    <a:gd name="connsiteY5" fmla="*/ 9792 h 13188"/>
                    <a:gd name="connsiteX6" fmla="*/ 10686 w 11107"/>
                    <a:gd name="connsiteY6" fmla="*/ 7566 h 13188"/>
                    <a:gd name="connsiteX7" fmla="*/ 10687 w 11107"/>
                    <a:gd name="connsiteY7" fmla="*/ 3248 h 13188"/>
                    <a:gd name="connsiteX8" fmla="*/ 9447 w 11107"/>
                    <a:gd name="connsiteY8" fmla="*/ 607 h 13188"/>
                    <a:gd name="connsiteX9" fmla="*/ 5139 w 11107"/>
                    <a:gd name="connsiteY9" fmla="*/ 456 h 13188"/>
                    <a:gd name="connsiteX0" fmla="*/ 5139 w 11107"/>
                    <a:gd name="connsiteY0" fmla="*/ 922 h 13654"/>
                    <a:gd name="connsiteX1" fmla="*/ 2266 w 11107"/>
                    <a:gd name="connsiteY1" fmla="*/ 2775 h 13654"/>
                    <a:gd name="connsiteX2" fmla="*/ 546 w 11107"/>
                    <a:gd name="connsiteY2" fmla="*/ 6694 h 13654"/>
                    <a:gd name="connsiteX3" fmla="*/ 3055 w 11107"/>
                    <a:gd name="connsiteY3" fmla="*/ 11498 h 13654"/>
                    <a:gd name="connsiteX4" fmla="*/ 5748 w 11107"/>
                    <a:gd name="connsiteY4" fmla="*/ 9046 h 13654"/>
                    <a:gd name="connsiteX5" fmla="*/ 8886 w 11107"/>
                    <a:gd name="connsiteY5" fmla="*/ 10258 h 13654"/>
                    <a:gd name="connsiteX6" fmla="*/ 10686 w 11107"/>
                    <a:gd name="connsiteY6" fmla="*/ 8032 h 13654"/>
                    <a:gd name="connsiteX7" fmla="*/ 10687 w 11107"/>
                    <a:gd name="connsiteY7" fmla="*/ 3714 h 13654"/>
                    <a:gd name="connsiteX8" fmla="*/ 9447 w 11107"/>
                    <a:gd name="connsiteY8" fmla="*/ 1073 h 13654"/>
                    <a:gd name="connsiteX9" fmla="*/ 5139 w 11107"/>
                    <a:gd name="connsiteY9" fmla="*/ 922 h 13654"/>
                    <a:gd name="connsiteX0" fmla="*/ 5139 w 11107"/>
                    <a:gd name="connsiteY0" fmla="*/ 1423 h 14155"/>
                    <a:gd name="connsiteX1" fmla="*/ 2266 w 11107"/>
                    <a:gd name="connsiteY1" fmla="*/ 3276 h 14155"/>
                    <a:gd name="connsiteX2" fmla="*/ 546 w 11107"/>
                    <a:gd name="connsiteY2" fmla="*/ 7195 h 14155"/>
                    <a:gd name="connsiteX3" fmla="*/ 3055 w 11107"/>
                    <a:gd name="connsiteY3" fmla="*/ 11999 h 14155"/>
                    <a:gd name="connsiteX4" fmla="*/ 5748 w 11107"/>
                    <a:gd name="connsiteY4" fmla="*/ 9547 h 14155"/>
                    <a:gd name="connsiteX5" fmla="*/ 8886 w 11107"/>
                    <a:gd name="connsiteY5" fmla="*/ 10759 h 14155"/>
                    <a:gd name="connsiteX6" fmla="*/ 10686 w 11107"/>
                    <a:gd name="connsiteY6" fmla="*/ 8533 h 14155"/>
                    <a:gd name="connsiteX7" fmla="*/ 10687 w 11107"/>
                    <a:gd name="connsiteY7" fmla="*/ 4215 h 14155"/>
                    <a:gd name="connsiteX8" fmla="*/ 9728 w 11107"/>
                    <a:gd name="connsiteY8" fmla="*/ 835 h 14155"/>
                    <a:gd name="connsiteX9" fmla="*/ 5139 w 11107"/>
                    <a:gd name="connsiteY9" fmla="*/ 1423 h 14155"/>
                    <a:gd name="connsiteX0" fmla="*/ 5139 w 12384"/>
                    <a:gd name="connsiteY0" fmla="*/ 1423 h 14155"/>
                    <a:gd name="connsiteX1" fmla="*/ 2266 w 12384"/>
                    <a:gd name="connsiteY1" fmla="*/ 3276 h 14155"/>
                    <a:gd name="connsiteX2" fmla="*/ 546 w 12384"/>
                    <a:gd name="connsiteY2" fmla="*/ 7195 h 14155"/>
                    <a:gd name="connsiteX3" fmla="*/ 3055 w 12384"/>
                    <a:gd name="connsiteY3" fmla="*/ 11999 h 14155"/>
                    <a:gd name="connsiteX4" fmla="*/ 5748 w 12384"/>
                    <a:gd name="connsiteY4" fmla="*/ 9547 h 14155"/>
                    <a:gd name="connsiteX5" fmla="*/ 8886 w 12384"/>
                    <a:gd name="connsiteY5" fmla="*/ 10759 h 14155"/>
                    <a:gd name="connsiteX6" fmla="*/ 10686 w 12384"/>
                    <a:gd name="connsiteY6" fmla="*/ 8533 h 14155"/>
                    <a:gd name="connsiteX7" fmla="*/ 12184 w 12384"/>
                    <a:gd name="connsiteY7" fmla="*/ 3927 h 14155"/>
                    <a:gd name="connsiteX8" fmla="*/ 9728 w 12384"/>
                    <a:gd name="connsiteY8" fmla="*/ 835 h 14155"/>
                    <a:gd name="connsiteX9" fmla="*/ 5139 w 12384"/>
                    <a:gd name="connsiteY9" fmla="*/ 1423 h 14155"/>
                    <a:gd name="connsiteX0" fmla="*/ 5139 w 12562"/>
                    <a:gd name="connsiteY0" fmla="*/ 1423 h 14155"/>
                    <a:gd name="connsiteX1" fmla="*/ 2266 w 12562"/>
                    <a:gd name="connsiteY1" fmla="*/ 3276 h 14155"/>
                    <a:gd name="connsiteX2" fmla="*/ 546 w 12562"/>
                    <a:gd name="connsiteY2" fmla="*/ 7195 h 14155"/>
                    <a:gd name="connsiteX3" fmla="*/ 3055 w 12562"/>
                    <a:gd name="connsiteY3" fmla="*/ 11999 h 14155"/>
                    <a:gd name="connsiteX4" fmla="*/ 5748 w 12562"/>
                    <a:gd name="connsiteY4" fmla="*/ 9547 h 14155"/>
                    <a:gd name="connsiteX5" fmla="*/ 8886 w 12562"/>
                    <a:gd name="connsiteY5" fmla="*/ 10759 h 14155"/>
                    <a:gd name="connsiteX6" fmla="*/ 12027 w 12562"/>
                    <a:gd name="connsiteY6" fmla="*/ 8163 h 14155"/>
                    <a:gd name="connsiteX7" fmla="*/ 12184 w 12562"/>
                    <a:gd name="connsiteY7" fmla="*/ 3927 h 14155"/>
                    <a:gd name="connsiteX8" fmla="*/ 9728 w 12562"/>
                    <a:gd name="connsiteY8" fmla="*/ 835 h 14155"/>
                    <a:gd name="connsiteX9" fmla="*/ 5139 w 12562"/>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53"/>
                    <a:gd name="connsiteY0" fmla="*/ 1423 h 14155"/>
                    <a:gd name="connsiteX1" fmla="*/ 2266 w 14753"/>
                    <a:gd name="connsiteY1" fmla="*/ 3276 h 14155"/>
                    <a:gd name="connsiteX2" fmla="*/ 546 w 14753"/>
                    <a:gd name="connsiteY2" fmla="*/ 7195 h 14155"/>
                    <a:gd name="connsiteX3" fmla="*/ 3055 w 14753"/>
                    <a:gd name="connsiteY3" fmla="*/ 11999 h 14155"/>
                    <a:gd name="connsiteX4" fmla="*/ 5748 w 14753"/>
                    <a:gd name="connsiteY4" fmla="*/ 9547 h 14155"/>
                    <a:gd name="connsiteX5" fmla="*/ 8886 w 14753"/>
                    <a:gd name="connsiteY5" fmla="*/ 10759 h 14155"/>
                    <a:gd name="connsiteX6" fmla="*/ 11965 w 14753"/>
                    <a:gd name="connsiteY6" fmla="*/ 8779 h 14155"/>
                    <a:gd name="connsiteX7" fmla="*/ 12184 w 14753"/>
                    <a:gd name="connsiteY7" fmla="*/ 3927 h 14155"/>
                    <a:gd name="connsiteX8" fmla="*/ 9728 w 14753"/>
                    <a:gd name="connsiteY8" fmla="*/ 835 h 14155"/>
                    <a:gd name="connsiteX9" fmla="*/ 5139 w 14753"/>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661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69"/>
                    <a:gd name="connsiteX1" fmla="*/ 2697 w 16991"/>
                    <a:gd name="connsiteY1" fmla="*/ 3276 h 14169"/>
                    <a:gd name="connsiteX2" fmla="*/ 1039 w 16991"/>
                    <a:gd name="connsiteY2" fmla="*/ 6661 h 14169"/>
                    <a:gd name="connsiteX3" fmla="*/ 2831 w 16991"/>
                    <a:gd name="connsiteY3" fmla="*/ 11547 h 14169"/>
                    <a:gd name="connsiteX4" fmla="*/ 6179 w 16991"/>
                    <a:gd name="connsiteY4" fmla="*/ 9547 h 14169"/>
                    <a:gd name="connsiteX5" fmla="*/ 9317 w 16991"/>
                    <a:gd name="connsiteY5" fmla="*/ 10759 h 14169"/>
                    <a:gd name="connsiteX6" fmla="*/ 12396 w 16991"/>
                    <a:gd name="connsiteY6" fmla="*/ 8779 h 14169"/>
                    <a:gd name="connsiteX7" fmla="*/ 12615 w 16991"/>
                    <a:gd name="connsiteY7" fmla="*/ 3927 h 14169"/>
                    <a:gd name="connsiteX8" fmla="*/ 10159 w 16991"/>
                    <a:gd name="connsiteY8" fmla="*/ 835 h 14169"/>
                    <a:gd name="connsiteX9" fmla="*/ 5570 w 16991"/>
                    <a:gd name="connsiteY9" fmla="*/ 1423 h 14169"/>
                    <a:gd name="connsiteX0" fmla="*/ 5570 w 16991"/>
                    <a:gd name="connsiteY0" fmla="*/ 1423 h 14319"/>
                    <a:gd name="connsiteX1" fmla="*/ 2697 w 16991"/>
                    <a:gd name="connsiteY1" fmla="*/ 3276 h 14319"/>
                    <a:gd name="connsiteX2" fmla="*/ 1039 w 16991"/>
                    <a:gd name="connsiteY2" fmla="*/ 6661 h 14319"/>
                    <a:gd name="connsiteX3" fmla="*/ 2831 w 16991"/>
                    <a:gd name="connsiteY3" fmla="*/ 11547 h 14319"/>
                    <a:gd name="connsiteX4" fmla="*/ 6241 w 16991"/>
                    <a:gd name="connsiteY4" fmla="*/ 10204 h 14319"/>
                    <a:gd name="connsiteX5" fmla="*/ 9317 w 16991"/>
                    <a:gd name="connsiteY5" fmla="*/ 10759 h 14319"/>
                    <a:gd name="connsiteX6" fmla="*/ 12396 w 16991"/>
                    <a:gd name="connsiteY6" fmla="*/ 8779 h 14319"/>
                    <a:gd name="connsiteX7" fmla="*/ 12615 w 16991"/>
                    <a:gd name="connsiteY7" fmla="*/ 3927 h 14319"/>
                    <a:gd name="connsiteX8" fmla="*/ 10159 w 16991"/>
                    <a:gd name="connsiteY8" fmla="*/ 835 h 14319"/>
                    <a:gd name="connsiteX9" fmla="*/ 5570 w 16991"/>
                    <a:gd name="connsiteY9" fmla="*/ 1423 h 14319"/>
                    <a:gd name="connsiteX0" fmla="*/ 5570 w 16991"/>
                    <a:gd name="connsiteY0" fmla="*/ 1423 h 14440"/>
                    <a:gd name="connsiteX1" fmla="*/ 2697 w 16991"/>
                    <a:gd name="connsiteY1" fmla="*/ 3276 h 14440"/>
                    <a:gd name="connsiteX2" fmla="*/ 1039 w 16991"/>
                    <a:gd name="connsiteY2" fmla="*/ 6661 h 14440"/>
                    <a:gd name="connsiteX3" fmla="*/ 2831 w 16991"/>
                    <a:gd name="connsiteY3" fmla="*/ 11547 h 14440"/>
                    <a:gd name="connsiteX4" fmla="*/ 6241 w 16991"/>
                    <a:gd name="connsiteY4" fmla="*/ 10204 h 14440"/>
                    <a:gd name="connsiteX5" fmla="*/ 9317 w 16991"/>
                    <a:gd name="connsiteY5" fmla="*/ 10759 h 14440"/>
                    <a:gd name="connsiteX6" fmla="*/ 12396 w 16991"/>
                    <a:gd name="connsiteY6" fmla="*/ 8779 h 14440"/>
                    <a:gd name="connsiteX7" fmla="*/ 12615 w 16991"/>
                    <a:gd name="connsiteY7" fmla="*/ 3927 h 14440"/>
                    <a:gd name="connsiteX8" fmla="*/ 10159 w 16991"/>
                    <a:gd name="connsiteY8" fmla="*/ 835 h 14440"/>
                    <a:gd name="connsiteX9" fmla="*/ 5570 w 16991"/>
                    <a:gd name="connsiteY9" fmla="*/ 1423 h 14440"/>
                    <a:gd name="connsiteX0" fmla="*/ 5570 w 16991"/>
                    <a:gd name="connsiteY0" fmla="*/ 1423 h 14549"/>
                    <a:gd name="connsiteX1" fmla="*/ 2697 w 16991"/>
                    <a:gd name="connsiteY1" fmla="*/ 3276 h 14549"/>
                    <a:gd name="connsiteX2" fmla="*/ 1039 w 16991"/>
                    <a:gd name="connsiteY2" fmla="*/ 6661 h 14549"/>
                    <a:gd name="connsiteX3" fmla="*/ 2831 w 16991"/>
                    <a:gd name="connsiteY3" fmla="*/ 11547 h 14549"/>
                    <a:gd name="connsiteX4" fmla="*/ 6241 w 16991"/>
                    <a:gd name="connsiteY4" fmla="*/ 10204 h 14549"/>
                    <a:gd name="connsiteX5" fmla="*/ 9317 w 16991"/>
                    <a:gd name="connsiteY5" fmla="*/ 10759 h 14549"/>
                    <a:gd name="connsiteX6" fmla="*/ 12396 w 16991"/>
                    <a:gd name="connsiteY6" fmla="*/ 8779 h 14549"/>
                    <a:gd name="connsiteX7" fmla="*/ 12615 w 16991"/>
                    <a:gd name="connsiteY7" fmla="*/ 3927 h 14549"/>
                    <a:gd name="connsiteX8" fmla="*/ 10159 w 16991"/>
                    <a:gd name="connsiteY8" fmla="*/ 835 h 14549"/>
                    <a:gd name="connsiteX9" fmla="*/ 5570 w 16991"/>
                    <a:gd name="connsiteY9" fmla="*/ 1423 h 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991" h="14549">
                      <a:moveTo>
                        <a:pt x="5570" y="1423"/>
                      </a:moveTo>
                      <a:cubicBezTo>
                        <a:pt x="5570" y="1423"/>
                        <a:pt x="3130" y="3084"/>
                        <a:pt x="2697" y="3276"/>
                      </a:cubicBezTo>
                      <a:cubicBezTo>
                        <a:pt x="2116" y="3276"/>
                        <a:pt x="-1842" y="6053"/>
                        <a:pt x="1039" y="6661"/>
                      </a:cubicBezTo>
                      <a:cubicBezTo>
                        <a:pt x="7088" y="4584"/>
                        <a:pt x="1964" y="10957"/>
                        <a:pt x="2831" y="11547"/>
                      </a:cubicBezTo>
                      <a:cubicBezTo>
                        <a:pt x="3698" y="12137"/>
                        <a:pt x="5378" y="9267"/>
                        <a:pt x="6241" y="10204"/>
                      </a:cubicBezTo>
                      <a:cubicBezTo>
                        <a:pt x="7104" y="11141"/>
                        <a:pt x="8518" y="19143"/>
                        <a:pt x="9317" y="10759"/>
                      </a:cubicBezTo>
                      <a:cubicBezTo>
                        <a:pt x="9836" y="7618"/>
                        <a:pt x="10455" y="8698"/>
                        <a:pt x="12396" y="8779"/>
                      </a:cubicBezTo>
                      <a:cubicBezTo>
                        <a:pt x="22146" y="14045"/>
                        <a:pt x="13484" y="5276"/>
                        <a:pt x="12615" y="3927"/>
                      </a:cubicBezTo>
                      <a:cubicBezTo>
                        <a:pt x="11601" y="2772"/>
                        <a:pt x="11853" y="1347"/>
                        <a:pt x="10159" y="835"/>
                      </a:cubicBezTo>
                      <a:cubicBezTo>
                        <a:pt x="8883" y="-1003"/>
                        <a:pt x="5715" y="652"/>
                        <a:pt x="5570" y="1423"/>
                      </a:cubicBezTo>
                      <a:close/>
                    </a:path>
                  </a:pathLst>
                </a:custGeom>
                <a:solidFill>
                  <a:srgbClr val="FFC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44" name="Oval 284">
                  <a:extLst>
                    <a:ext uri="{FF2B5EF4-FFF2-40B4-BE49-F238E27FC236}">
                      <a16:creationId xmlns:a16="http://schemas.microsoft.com/office/drawing/2014/main" id="{14CAEA3B-A699-4D24-9EF8-E9E27D0B8790}"/>
                    </a:ext>
                  </a:extLst>
                </p:cNvPr>
                <p:cNvSpPr>
                  <a:spLocks noChangeArrowheads="1"/>
                </p:cNvSpPr>
                <p:nvPr/>
              </p:nvSpPr>
              <p:spPr bwMode="auto">
                <a:xfrm rot="15772157">
                  <a:off x="8188752" y="2258212"/>
                  <a:ext cx="63039" cy="160334"/>
                </a:xfrm>
                <a:prstGeom prst="ellipse">
                  <a:avLst/>
                </a:prstGeom>
                <a:solidFill>
                  <a:srgbClr val="E2A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8" name="Group 17">
                <a:extLst>
                  <a:ext uri="{FF2B5EF4-FFF2-40B4-BE49-F238E27FC236}">
                    <a16:creationId xmlns:a16="http://schemas.microsoft.com/office/drawing/2014/main" id="{2C4B6BA8-B905-4EFB-BB84-E598C87431E8}"/>
                  </a:ext>
                </a:extLst>
              </p:cNvPr>
              <p:cNvGrpSpPr/>
              <p:nvPr/>
            </p:nvGrpSpPr>
            <p:grpSpPr>
              <a:xfrm rot="14788524">
                <a:off x="7001062" y="3970293"/>
                <a:ext cx="614395" cy="302314"/>
                <a:chOff x="7815272" y="2280892"/>
                <a:chExt cx="817760" cy="302314"/>
              </a:xfrm>
            </p:grpSpPr>
            <p:sp>
              <p:nvSpPr>
                <p:cNvPr id="241" name="Freeform 283">
                  <a:extLst>
                    <a:ext uri="{FF2B5EF4-FFF2-40B4-BE49-F238E27FC236}">
                      <a16:creationId xmlns:a16="http://schemas.microsoft.com/office/drawing/2014/main" id="{867DA4E3-A9C9-4508-9210-D914ACE285B7}"/>
                    </a:ext>
                  </a:extLst>
                </p:cNvPr>
                <p:cNvSpPr>
                  <a:spLocks/>
                </p:cNvSpPr>
                <p:nvPr/>
              </p:nvSpPr>
              <p:spPr bwMode="auto">
                <a:xfrm rot="21172157">
                  <a:off x="7815272" y="2280892"/>
                  <a:ext cx="817760" cy="302314"/>
                </a:xfrm>
                <a:custGeom>
                  <a:avLst/>
                  <a:gdLst>
                    <a:gd name="T0" fmla="*/ 26 w 52"/>
                    <a:gd name="T1" fmla="*/ 4 h 51"/>
                    <a:gd name="T2" fmla="*/ 18 w 52"/>
                    <a:gd name="T3" fmla="*/ 10 h 51"/>
                    <a:gd name="T4" fmla="*/ 10 w 52"/>
                    <a:gd name="T5" fmla="*/ 12 h 51"/>
                    <a:gd name="T6" fmla="*/ 3 w 52"/>
                    <a:gd name="T7" fmla="*/ 25 h 51"/>
                    <a:gd name="T8" fmla="*/ 16 w 52"/>
                    <a:gd name="T9" fmla="*/ 37 h 51"/>
                    <a:gd name="T10" fmla="*/ 34 w 52"/>
                    <a:gd name="T11" fmla="*/ 45 h 51"/>
                    <a:gd name="T12" fmla="*/ 46 w 52"/>
                    <a:gd name="T13" fmla="*/ 36 h 51"/>
                    <a:gd name="T14" fmla="*/ 46 w 52"/>
                    <a:gd name="T15" fmla="*/ 17 h 51"/>
                    <a:gd name="T16" fmla="*/ 34 w 52"/>
                    <a:gd name="T17" fmla="*/ 5 h 51"/>
                    <a:gd name="T18" fmla="*/ 26 w 52"/>
                    <a:gd name="T19" fmla="*/ 4 h 51"/>
                    <a:gd name="connsiteX0" fmla="*/ 4531 w 11136"/>
                    <a:gd name="connsiteY0" fmla="*/ 500 h 9017"/>
                    <a:gd name="connsiteX1" fmla="*/ 2993 w 11136"/>
                    <a:gd name="connsiteY1" fmla="*/ 1677 h 9017"/>
                    <a:gd name="connsiteX2" fmla="*/ 1454 w 11136"/>
                    <a:gd name="connsiteY2" fmla="*/ 2069 h 9017"/>
                    <a:gd name="connsiteX3" fmla="*/ 108 w 11136"/>
                    <a:gd name="connsiteY3" fmla="*/ 4618 h 9017"/>
                    <a:gd name="connsiteX4" fmla="*/ 2608 w 11136"/>
                    <a:gd name="connsiteY4" fmla="*/ 6971 h 9017"/>
                    <a:gd name="connsiteX5" fmla="*/ 6069 w 11136"/>
                    <a:gd name="connsiteY5" fmla="*/ 8540 h 9017"/>
                    <a:gd name="connsiteX6" fmla="*/ 8377 w 11136"/>
                    <a:gd name="connsiteY6" fmla="*/ 6775 h 9017"/>
                    <a:gd name="connsiteX7" fmla="*/ 10903 w 11136"/>
                    <a:gd name="connsiteY7" fmla="*/ 2255 h 9017"/>
                    <a:gd name="connsiteX8" fmla="*/ 6069 w 11136"/>
                    <a:gd name="connsiteY8" fmla="*/ 696 h 9017"/>
                    <a:gd name="connsiteX9" fmla="*/ 4531 w 11136"/>
                    <a:gd name="connsiteY9" fmla="*/ 500 h 9017"/>
                    <a:gd name="connsiteX0" fmla="*/ 4069 w 10292"/>
                    <a:gd name="connsiteY0" fmla="*/ 555 h 10000"/>
                    <a:gd name="connsiteX1" fmla="*/ 2688 w 10292"/>
                    <a:gd name="connsiteY1" fmla="*/ 1860 h 10000"/>
                    <a:gd name="connsiteX2" fmla="*/ 1306 w 10292"/>
                    <a:gd name="connsiteY2" fmla="*/ 2295 h 10000"/>
                    <a:gd name="connsiteX3" fmla="*/ 97 w 10292"/>
                    <a:gd name="connsiteY3" fmla="*/ 5121 h 10000"/>
                    <a:gd name="connsiteX4" fmla="*/ 2342 w 10292"/>
                    <a:gd name="connsiteY4" fmla="*/ 7731 h 10000"/>
                    <a:gd name="connsiteX5" fmla="*/ 5450 w 10292"/>
                    <a:gd name="connsiteY5" fmla="*/ 9471 h 10000"/>
                    <a:gd name="connsiteX6" fmla="*/ 9790 w 10292"/>
                    <a:gd name="connsiteY6" fmla="*/ 7375 h 10000"/>
                    <a:gd name="connsiteX7" fmla="*/ 9791 w 10292"/>
                    <a:gd name="connsiteY7" fmla="*/ 2501 h 10000"/>
                    <a:gd name="connsiteX8" fmla="*/ 5450 w 10292"/>
                    <a:gd name="connsiteY8" fmla="*/ 772 h 10000"/>
                    <a:gd name="connsiteX9" fmla="*/ 4069 w 10292"/>
                    <a:gd name="connsiteY9" fmla="*/ 555 h 10000"/>
                    <a:gd name="connsiteX0" fmla="*/ 4069 w 10292"/>
                    <a:gd name="connsiteY0" fmla="*/ 555 h 9288"/>
                    <a:gd name="connsiteX1" fmla="*/ 2688 w 10292"/>
                    <a:gd name="connsiteY1" fmla="*/ 1860 h 9288"/>
                    <a:gd name="connsiteX2" fmla="*/ 1306 w 10292"/>
                    <a:gd name="connsiteY2" fmla="*/ 2295 h 9288"/>
                    <a:gd name="connsiteX3" fmla="*/ 97 w 10292"/>
                    <a:gd name="connsiteY3" fmla="*/ 5121 h 9288"/>
                    <a:gd name="connsiteX4" fmla="*/ 2342 w 10292"/>
                    <a:gd name="connsiteY4" fmla="*/ 7731 h 9288"/>
                    <a:gd name="connsiteX5" fmla="*/ 7309 w 10292"/>
                    <a:gd name="connsiteY5" fmla="*/ 8822 h 9288"/>
                    <a:gd name="connsiteX6" fmla="*/ 9790 w 10292"/>
                    <a:gd name="connsiteY6" fmla="*/ 7375 h 9288"/>
                    <a:gd name="connsiteX7" fmla="*/ 9791 w 10292"/>
                    <a:gd name="connsiteY7" fmla="*/ 2501 h 9288"/>
                    <a:gd name="connsiteX8" fmla="*/ 5450 w 10292"/>
                    <a:gd name="connsiteY8" fmla="*/ 772 h 9288"/>
                    <a:gd name="connsiteX9" fmla="*/ 4069 w 10292"/>
                    <a:gd name="connsiteY9" fmla="*/ 555 h 9288"/>
                    <a:gd name="connsiteX0" fmla="*/ 3974 w 10019"/>
                    <a:gd name="connsiteY0" fmla="*/ 598 h 9866"/>
                    <a:gd name="connsiteX1" fmla="*/ 2632 w 10019"/>
                    <a:gd name="connsiteY1" fmla="*/ 2003 h 9866"/>
                    <a:gd name="connsiteX2" fmla="*/ 1289 w 10019"/>
                    <a:gd name="connsiteY2" fmla="*/ 2471 h 9866"/>
                    <a:gd name="connsiteX3" fmla="*/ 114 w 10019"/>
                    <a:gd name="connsiteY3" fmla="*/ 5514 h 9866"/>
                    <a:gd name="connsiteX4" fmla="*/ 4716 w 10019"/>
                    <a:gd name="connsiteY4" fmla="*/ 7226 h 9866"/>
                    <a:gd name="connsiteX5" fmla="*/ 7122 w 10019"/>
                    <a:gd name="connsiteY5" fmla="*/ 9498 h 9866"/>
                    <a:gd name="connsiteX6" fmla="*/ 9532 w 10019"/>
                    <a:gd name="connsiteY6" fmla="*/ 7940 h 9866"/>
                    <a:gd name="connsiteX7" fmla="*/ 9533 w 10019"/>
                    <a:gd name="connsiteY7" fmla="*/ 2693 h 9866"/>
                    <a:gd name="connsiteX8" fmla="*/ 5315 w 10019"/>
                    <a:gd name="connsiteY8" fmla="*/ 831 h 9866"/>
                    <a:gd name="connsiteX9" fmla="*/ 3974 w 10019"/>
                    <a:gd name="connsiteY9" fmla="*/ 598 h 9866"/>
                    <a:gd name="connsiteX0" fmla="*/ 3432 w 9467"/>
                    <a:gd name="connsiteY0" fmla="*/ 606 h 12399"/>
                    <a:gd name="connsiteX1" fmla="*/ 2093 w 9467"/>
                    <a:gd name="connsiteY1" fmla="*/ 2030 h 12399"/>
                    <a:gd name="connsiteX2" fmla="*/ 753 w 9467"/>
                    <a:gd name="connsiteY2" fmla="*/ 2505 h 12399"/>
                    <a:gd name="connsiteX3" fmla="*/ 157 w 9467"/>
                    <a:gd name="connsiteY3" fmla="*/ 12318 h 12399"/>
                    <a:gd name="connsiteX4" fmla="*/ 4173 w 9467"/>
                    <a:gd name="connsiteY4" fmla="*/ 7324 h 12399"/>
                    <a:gd name="connsiteX5" fmla="*/ 6574 w 9467"/>
                    <a:gd name="connsiteY5" fmla="*/ 9627 h 12399"/>
                    <a:gd name="connsiteX6" fmla="*/ 8980 w 9467"/>
                    <a:gd name="connsiteY6" fmla="*/ 8048 h 12399"/>
                    <a:gd name="connsiteX7" fmla="*/ 8981 w 9467"/>
                    <a:gd name="connsiteY7" fmla="*/ 2730 h 12399"/>
                    <a:gd name="connsiteX8" fmla="*/ 4771 w 9467"/>
                    <a:gd name="connsiteY8" fmla="*/ 842 h 12399"/>
                    <a:gd name="connsiteX9" fmla="*/ 3432 w 9467"/>
                    <a:gd name="connsiteY9" fmla="*/ 606 h 12399"/>
                    <a:gd name="connsiteX0" fmla="*/ 5344 w 11719"/>
                    <a:gd name="connsiteY0" fmla="*/ 488 h 9962"/>
                    <a:gd name="connsiteX1" fmla="*/ 3930 w 11719"/>
                    <a:gd name="connsiteY1" fmla="*/ 1636 h 9962"/>
                    <a:gd name="connsiteX2" fmla="*/ 0 w 11719"/>
                    <a:gd name="connsiteY2" fmla="*/ 3447 h 9962"/>
                    <a:gd name="connsiteX3" fmla="*/ 1885 w 11719"/>
                    <a:gd name="connsiteY3" fmla="*/ 9934 h 9962"/>
                    <a:gd name="connsiteX4" fmla="*/ 6127 w 11719"/>
                    <a:gd name="connsiteY4" fmla="*/ 5906 h 9962"/>
                    <a:gd name="connsiteX5" fmla="*/ 8663 w 11719"/>
                    <a:gd name="connsiteY5" fmla="*/ 7763 h 9962"/>
                    <a:gd name="connsiteX6" fmla="*/ 11205 w 11719"/>
                    <a:gd name="connsiteY6" fmla="*/ 6490 h 9962"/>
                    <a:gd name="connsiteX7" fmla="*/ 11206 w 11719"/>
                    <a:gd name="connsiteY7" fmla="*/ 2201 h 9962"/>
                    <a:gd name="connsiteX8" fmla="*/ 6759 w 11719"/>
                    <a:gd name="connsiteY8" fmla="*/ 678 h 9962"/>
                    <a:gd name="connsiteX9" fmla="*/ 5344 w 11719"/>
                    <a:gd name="connsiteY9" fmla="*/ 488 h 9962"/>
                    <a:gd name="connsiteX0" fmla="*/ 4560 w 10000"/>
                    <a:gd name="connsiteY0" fmla="*/ 490 h 10000"/>
                    <a:gd name="connsiteX1" fmla="*/ 3354 w 10000"/>
                    <a:gd name="connsiteY1" fmla="*/ 1642 h 10000"/>
                    <a:gd name="connsiteX2" fmla="*/ 0 w 10000"/>
                    <a:gd name="connsiteY2" fmla="*/ 3460 h 10000"/>
                    <a:gd name="connsiteX3" fmla="*/ 1608 w 10000"/>
                    <a:gd name="connsiteY3" fmla="*/ 9972 h 10000"/>
                    <a:gd name="connsiteX4" fmla="*/ 5228 w 10000"/>
                    <a:gd name="connsiteY4" fmla="*/ 5929 h 10000"/>
                    <a:gd name="connsiteX5" fmla="*/ 7392 w 10000"/>
                    <a:gd name="connsiteY5" fmla="*/ 7793 h 10000"/>
                    <a:gd name="connsiteX6" fmla="*/ 9561 w 10000"/>
                    <a:gd name="connsiteY6" fmla="*/ 6515 h 10000"/>
                    <a:gd name="connsiteX7" fmla="*/ 9562 w 10000"/>
                    <a:gd name="connsiteY7" fmla="*/ 2209 h 10000"/>
                    <a:gd name="connsiteX8" fmla="*/ 5768 w 10000"/>
                    <a:gd name="connsiteY8" fmla="*/ 681 h 10000"/>
                    <a:gd name="connsiteX9" fmla="*/ 4560 w 10000"/>
                    <a:gd name="connsiteY9" fmla="*/ 490 h 10000"/>
                    <a:gd name="connsiteX0" fmla="*/ 4982 w 10422"/>
                    <a:gd name="connsiteY0" fmla="*/ 490 h 9973"/>
                    <a:gd name="connsiteX1" fmla="*/ 3776 w 10422"/>
                    <a:gd name="connsiteY1" fmla="*/ 1642 h 9973"/>
                    <a:gd name="connsiteX2" fmla="*/ 0 w 10422"/>
                    <a:gd name="connsiteY2" fmla="*/ 5385 h 9973"/>
                    <a:gd name="connsiteX3" fmla="*/ 2030 w 10422"/>
                    <a:gd name="connsiteY3" fmla="*/ 9972 h 9973"/>
                    <a:gd name="connsiteX4" fmla="*/ 5650 w 10422"/>
                    <a:gd name="connsiteY4" fmla="*/ 5929 h 9973"/>
                    <a:gd name="connsiteX5" fmla="*/ 7814 w 10422"/>
                    <a:gd name="connsiteY5" fmla="*/ 7793 h 9973"/>
                    <a:gd name="connsiteX6" fmla="*/ 9983 w 10422"/>
                    <a:gd name="connsiteY6" fmla="*/ 6515 h 9973"/>
                    <a:gd name="connsiteX7" fmla="*/ 9984 w 10422"/>
                    <a:gd name="connsiteY7" fmla="*/ 2209 h 9973"/>
                    <a:gd name="connsiteX8" fmla="*/ 6190 w 10422"/>
                    <a:gd name="connsiteY8" fmla="*/ 681 h 9973"/>
                    <a:gd name="connsiteX9" fmla="*/ 4982 w 10422"/>
                    <a:gd name="connsiteY9" fmla="*/ 490 h 9973"/>
                    <a:gd name="connsiteX0" fmla="*/ 4780 w 10000"/>
                    <a:gd name="connsiteY0" fmla="*/ 491 h 10000"/>
                    <a:gd name="connsiteX1" fmla="*/ 1159 w 10000"/>
                    <a:gd name="connsiteY1" fmla="*/ 1276 h 10000"/>
                    <a:gd name="connsiteX2" fmla="*/ 0 w 10000"/>
                    <a:gd name="connsiteY2" fmla="*/ 5400 h 10000"/>
                    <a:gd name="connsiteX3" fmla="*/ 1948 w 10000"/>
                    <a:gd name="connsiteY3" fmla="*/ 9999 h 10000"/>
                    <a:gd name="connsiteX4" fmla="*/ 5421 w 10000"/>
                    <a:gd name="connsiteY4" fmla="*/ 5945 h 10000"/>
                    <a:gd name="connsiteX5" fmla="*/ 7498 w 10000"/>
                    <a:gd name="connsiteY5" fmla="*/ 7814 h 10000"/>
                    <a:gd name="connsiteX6" fmla="*/ 9579 w 10000"/>
                    <a:gd name="connsiteY6" fmla="*/ 6533 h 10000"/>
                    <a:gd name="connsiteX7" fmla="*/ 9580 w 10000"/>
                    <a:gd name="connsiteY7" fmla="*/ 2215 h 10000"/>
                    <a:gd name="connsiteX8" fmla="*/ 5939 w 10000"/>
                    <a:gd name="connsiteY8" fmla="*/ 683 h 10000"/>
                    <a:gd name="connsiteX9" fmla="*/ 4780 w 10000"/>
                    <a:gd name="connsiteY9" fmla="*/ 491 h 10000"/>
                    <a:gd name="connsiteX0" fmla="*/ 4032 w 10000"/>
                    <a:gd name="connsiteY0" fmla="*/ 240 h 10817"/>
                    <a:gd name="connsiteX1" fmla="*/ 1159 w 10000"/>
                    <a:gd name="connsiteY1" fmla="*/ 2093 h 10817"/>
                    <a:gd name="connsiteX2" fmla="*/ 0 w 10000"/>
                    <a:gd name="connsiteY2" fmla="*/ 6217 h 10817"/>
                    <a:gd name="connsiteX3" fmla="*/ 1948 w 10000"/>
                    <a:gd name="connsiteY3" fmla="*/ 10816 h 10817"/>
                    <a:gd name="connsiteX4" fmla="*/ 5421 w 10000"/>
                    <a:gd name="connsiteY4" fmla="*/ 6762 h 10817"/>
                    <a:gd name="connsiteX5" fmla="*/ 7498 w 10000"/>
                    <a:gd name="connsiteY5" fmla="*/ 8631 h 10817"/>
                    <a:gd name="connsiteX6" fmla="*/ 9579 w 10000"/>
                    <a:gd name="connsiteY6" fmla="*/ 7350 h 10817"/>
                    <a:gd name="connsiteX7" fmla="*/ 9580 w 10000"/>
                    <a:gd name="connsiteY7" fmla="*/ 3032 h 10817"/>
                    <a:gd name="connsiteX8" fmla="*/ 5939 w 10000"/>
                    <a:gd name="connsiteY8" fmla="*/ 1500 h 10817"/>
                    <a:gd name="connsiteX9" fmla="*/ 4032 w 10000"/>
                    <a:gd name="connsiteY9" fmla="*/ 240 h 10817"/>
                    <a:gd name="connsiteX0" fmla="*/ 4032 w 10000"/>
                    <a:gd name="connsiteY0" fmla="*/ 507 h 11084"/>
                    <a:gd name="connsiteX1" fmla="*/ 1159 w 10000"/>
                    <a:gd name="connsiteY1" fmla="*/ 2360 h 11084"/>
                    <a:gd name="connsiteX2" fmla="*/ 0 w 10000"/>
                    <a:gd name="connsiteY2" fmla="*/ 6484 h 11084"/>
                    <a:gd name="connsiteX3" fmla="*/ 1948 w 10000"/>
                    <a:gd name="connsiteY3" fmla="*/ 11083 h 11084"/>
                    <a:gd name="connsiteX4" fmla="*/ 5421 w 10000"/>
                    <a:gd name="connsiteY4" fmla="*/ 7029 h 11084"/>
                    <a:gd name="connsiteX5" fmla="*/ 7498 w 10000"/>
                    <a:gd name="connsiteY5" fmla="*/ 8898 h 11084"/>
                    <a:gd name="connsiteX6" fmla="*/ 9579 w 10000"/>
                    <a:gd name="connsiteY6" fmla="*/ 7617 h 11084"/>
                    <a:gd name="connsiteX7" fmla="*/ 9580 w 10000"/>
                    <a:gd name="connsiteY7" fmla="*/ 3299 h 11084"/>
                    <a:gd name="connsiteX8" fmla="*/ 8340 w 10000"/>
                    <a:gd name="connsiteY8" fmla="*/ 658 h 11084"/>
                    <a:gd name="connsiteX9" fmla="*/ 4032 w 10000"/>
                    <a:gd name="connsiteY9" fmla="*/ 507 h 11084"/>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67"/>
                    <a:gd name="connsiteX1" fmla="*/ 1159 w 10000"/>
                    <a:gd name="connsiteY1" fmla="*/ 2309 h 11067"/>
                    <a:gd name="connsiteX2" fmla="*/ 0 w 10000"/>
                    <a:gd name="connsiteY2" fmla="*/ 6433 h 11067"/>
                    <a:gd name="connsiteX3" fmla="*/ 1948 w 10000"/>
                    <a:gd name="connsiteY3" fmla="*/ 11032 h 11067"/>
                    <a:gd name="connsiteX4" fmla="*/ 4641 w 10000"/>
                    <a:gd name="connsiteY4" fmla="*/ 8580 h 11067"/>
                    <a:gd name="connsiteX5" fmla="*/ 7498 w 10000"/>
                    <a:gd name="connsiteY5" fmla="*/ 8847 h 11067"/>
                    <a:gd name="connsiteX6" fmla="*/ 9579 w 10000"/>
                    <a:gd name="connsiteY6" fmla="*/ 7566 h 11067"/>
                    <a:gd name="connsiteX7" fmla="*/ 9580 w 10000"/>
                    <a:gd name="connsiteY7" fmla="*/ 3248 h 11067"/>
                    <a:gd name="connsiteX8" fmla="*/ 8340 w 10000"/>
                    <a:gd name="connsiteY8" fmla="*/ 607 h 11067"/>
                    <a:gd name="connsiteX9" fmla="*/ 4032 w 10000"/>
                    <a:gd name="connsiteY9" fmla="*/ 456 h 11067"/>
                    <a:gd name="connsiteX0" fmla="*/ 4032 w 10000"/>
                    <a:gd name="connsiteY0" fmla="*/ 456 h 11053"/>
                    <a:gd name="connsiteX1" fmla="*/ 1159 w 10000"/>
                    <a:gd name="connsiteY1" fmla="*/ 2309 h 11053"/>
                    <a:gd name="connsiteX2" fmla="*/ 0 w 10000"/>
                    <a:gd name="connsiteY2" fmla="*/ 6433 h 11053"/>
                    <a:gd name="connsiteX3" fmla="*/ 1948 w 10000"/>
                    <a:gd name="connsiteY3" fmla="*/ 11032 h 11053"/>
                    <a:gd name="connsiteX4" fmla="*/ 4641 w 10000"/>
                    <a:gd name="connsiteY4" fmla="*/ 8580 h 11053"/>
                    <a:gd name="connsiteX5" fmla="*/ 7498 w 10000"/>
                    <a:gd name="connsiteY5" fmla="*/ 8847 h 11053"/>
                    <a:gd name="connsiteX6" fmla="*/ 9579 w 10000"/>
                    <a:gd name="connsiteY6" fmla="*/ 7566 h 11053"/>
                    <a:gd name="connsiteX7" fmla="*/ 9580 w 10000"/>
                    <a:gd name="connsiteY7" fmla="*/ 3248 h 11053"/>
                    <a:gd name="connsiteX8" fmla="*/ 8340 w 10000"/>
                    <a:gd name="connsiteY8" fmla="*/ 607 h 11053"/>
                    <a:gd name="connsiteX9" fmla="*/ 4032 w 10000"/>
                    <a:gd name="connsiteY9" fmla="*/ 456 h 11053"/>
                    <a:gd name="connsiteX0" fmla="*/ 4032 w 10000"/>
                    <a:gd name="connsiteY0" fmla="*/ 456 h 11130"/>
                    <a:gd name="connsiteX1" fmla="*/ 1159 w 10000"/>
                    <a:gd name="connsiteY1" fmla="*/ 2309 h 11130"/>
                    <a:gd name="connsiteX2" fmla="*/ 0 w 10000"/>
                    <a:gd name="connsiteY2" fmla="*/ 6433 h 11130"/>
                    <a:gd name="connsiteX3" fmla="*/ 1948 w 10000"/>
                    <a:gd name="connsiteY3" fmla="*/ 11032 h 11130"/>
                    <a:gd name="connsiteX4" fmla="*/ 4641 w 10000"/>
                    <a:gd name="connsiteY4" fmla="*/ 8580 h 11130"/>
                    <a:gd name="connsiteX5" fmla="*/ 7498 w 10000"/>
                    <a:gd name="connsiteY5" fmla="*/ 8847 h 11130"/>
                    <a:gd name="connsiteX6" fmla="*/ 9579 w 10000"/>
                    <a:gd name="connsiteY6" fmla="*/ 7566 h 11130"/>
                    <a:gd name="connsiteX7" fmla="*/ 9580 w 10000"/>
                    <a:gd name="connsiteY7" fmla="*/ 3248 h 11130"/>
                    <a:gd name="connsiteX8" fmla="*/ 8340 w 10000"/>
                    <a:gd name="connsiteY8" fmla="*/ 607 h 11130"/>
                    <a:gd name="connsiteX9" fmla="*/ 4032 w 10000"/>
                    <a:gd name="connsiteY9" fmla="*/ 456 h 11130"/>
                    <a:gd name="connsiteX0" fmla="*/ 4662 w 10630"/>
                    <a:gd name="connsiteY0" fmla="*/ 456 h 11130"/>
                    <a:gd name="connsiteX1" fmla="*/ 1789 w 10630"/>
                    <a:gd name="connsiteY1" fmla="*/ 2309 h 11130"/>
                    <a:gd name="connsiteX2" fmla="*/ 630 w 10630"/>
                    <a:gd name="connsiteY2" fmla="*/ 6433 h 11130"/>
                    <a:gd name="connsiteX3" fmla="*/ 2578 w 10630"/>
                    <a:gd name="connsiteY3" fmla="*/ 11032 h 11130"/>
                    <a:gd name="connsiteX4" fmla="*/ 5271 w 10630"/>
                    <a:gd name="connsiteY4" fmla="*/ 8580 h 11130"/>
                    <a:gd name="connsiteX5" fmla="*/ 8128 w 10630"/>
                    <a:gd name="connsiteY5" fmla="*/ 8847 h 11130"/>
                    <a:gd name="connsiteX6" fmla="*/ 10209 w 10630"/>
                    <a:gd name="connsiteY6" fmla="*/ 7566 h 11130"/>
                    <a:gd name="connsiteX7" fmla="*/ 10210 w 10630"/>
                    <a:gd name="connsiteY7" fmla="*/ 3248 h 11130"/>
                    <a:gd name="connsiteX8" fmla="*/ 8970 w 10630"/>
                    <a:gd name="connsiteY8" fmla="*/ 607 h 11130"/>
                    <a:gd name="connsiteX9" fmla="*/ 4662 w 10630"/>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2836"/>
                    <a:gd name="connsiteX1" fmla="*/ 2266 w 11107"/>
                    <a:gd name="connsiteY1" fmla="*/ 2309 h 12836"/>
                    <a:gd name="connsiteX2" fmla="*/ 546 w 11107"/>
                    <a:gd name="connsiteY2" fmla="*/ 6228 h 12836"/>
                    <a:gd name="connsiteX3" fmla="*/ 3055 w 11107"/>
                    <a:gd name="connsiteY3" fmla="*/ 11032 h 12836"/>
                    <a:gd name="connsiteX4" fmla="*/ 5748 w 11107"/>
                    <a:gd name="connsiteY4" fmla="*/ 8580 h 12836"/>
                    <a:gd name="connsiteX5" fmla="*/ 8605 w 11107"/>
                    <a:gd name="connsiteY5" fmla="*/ 8847 h 12836"/>
                    <a:gd name="connsiteX6" fmla="*/ 10686 w 11107"/>
                    <a:gd name="connsiteY6" fmla="*/ 7566 h 12836"/>
                    <a:gd name="connsiteX7" fmla="*/ 10687 w 11107"/>
                    <a:gd name="connsiteY7" fmla="*/ 3248 h 12836"/>
                    <a:gd name="connsiteX8" fmla="*/ 9447 w 11107"/>
                    <a:gd name="connsiteY8" fmla="*/ 607 h 12836"/>
                    <a:gd name="connsiteX9" fmla="*/ 5139 w 11107"/>
                    <a:gd name="connsiteY9" fmla="*/ 456 h 12836"/>
                    <a:gd name="connsiteX0" fmla="*/ 5139 w 11107"/>
                    <a:gd name="connsiteY0" fmla="*/ 456 h 13188"/>
                    <a:gd name="connsiteX1" fmla="*/ 2266 w 11107"/>
                    <a:gd name="connsiteY1" fmla="*/ 2309 h 13188"/>
                    <a:gd name="connsiteX2" fmla="*/ 546 w 11107"/>
                    <a:gd name="connsiteY2" fmla="*/ 6228 h 13188"/>
                    <a:gd name="connsiteX3" fmla="*/ 3055 w 11107"/>
                    <a:gd name="connsiteY3" fmla="*/ 11032 h 13188"/>
                    <a:gd name="connsiteX4" fmla="*/ 5748 w 11107"/>
                    <a:gd name="connsiteY4" fmla="*/ 8580 h 13188"/>
                    <a:gd name="connsiteX5" fmla="*/ 8886 w 11107"/>
                    <a:gd name="connsiteY5" fmla="*/ 9792 h 13188"/>
                    <a:gd name="connsiteX6" fmla="*/ 10686 w 11107"/>
                    <a:gd name="connsiteY6" fmla="*/ 7566 h 13188"/>
                    <a:gd name="connsiteX7" fmla="*/ 10687 w 11107"/>
                    <a:gd name="connsiteY7" fmla="*/ 3248 h 13188"/>
                    <a:gd name="connsiteX8" fmla="*/ 9447 w 11107"/>
                    <a:gd name="connsiteY8" fmla="*/ 607 h 13188"/>
                    <a:gd name="connsiteX9" fmla="*/ 5139 w 11107"/>
                    <a:gd name="connsiteY9" fmla="*/ 456 h 13188"/>
                    <a:gd name="connsiteX0" fmla="*/ 5139 w 11107"/>
                    <a:gd name="connsiteY0" fmla="*/ 922 h 13654"/>
                    <a:gd name="connsiteX1" fmla="*/ 2266 w 11107"/>
                    <a:gd name="connsiteY1" fmla="*/ 2775 h 13654"/>
                    <a:gd name="connsiteX2" fmla="*/ 546 w 11107"/>
                    <a:gd name="connsiteY2" fmla="*/ 6694 h 13654"/>
                    <a:gd name="connsiteX3" fmla="*/ 3055 w 11107"/>
                    <a:gd name="connsiteY3" fmla="*/ 11498 h 13654"/>
                    <a:gd name="connsiteX4" fmla="*/ 5748 w 11107"/>
                    <a:gd name="connsiteY4" fmla="*/ 9046 h 13654"/>
                    <a:gd name="connsiteX5" fmla="*/ 8886 w 11107"/>
                    <a:gd name="connsiteY5" fmla="*/ 10258 h 13654"/>
                    <a:gd name="connsiteX6" fmla="*/ 10686 w 11107"/>
                    <a:gd name="connsiteY6" fmla="*/ 8032 h 13654"/>
                    <a:gd name="connsiteX7" fmla="*/ 10687 w 11107"/>
                    <a:gd name="connsiteY7" fmla="*/ 3714 h 13654"/>
                    <a:gd name="connsiteX8" fmla="*/ 9447 w 11107"/>
                    <a:gd name="connsiteY8" fmla="*/ 1073 h 13654"/>
                    <a:gd name="connsiteX9" fmla="*/ 5139 w 11107"/>
                    <a:gd name="connsiteY9" fmla="*/ 922 h 13654"/>
                    <a:gd name="connsiteX0" fmla="*/ 5139 w 11107"/>
                    <a:gd name="connsiteY0" fmla="*/ 1423 h 14155"/>
                    <a:gd name="connsiteX1" fmla="*/ 2266 w 11107"/>
                    <a:gd name="connsiteY1" fmla="*/ 3276 h 14155"/>
                    <a:gd name="connsiteX2" fmla="*/ 546 w 11107"/>
                    <a:gd name="connsiteY2" fmla="*/ 7195 h 14155"/>
                    <a:gd name="connsiteX3" fmla="*/ 3055 w 11107"/>
                    <a:gd name="connsiteY3" fmla="*/ 11999 h 14155"/>
                    <a:gd name="connsiteX4" fmla="*/ 5748 w 11107"/>
                    <a:gd name="connsiteY4" fmla="*/ 9547 h 14155"/>
                    <a:gd name="connsiteX5" fmla="*/ 8886 w 11107"/>
                    <a:gd name="connsiteY5" fmla="*/ 10759 h 14155"/>
                    <a:gd name="connsiteX6" fmla="*/ 10686 w 11107"/>
                    <a:gd name="connsiteY6" fmla="*/ 8533 h 14155"/>
                    <a:gd name="connsiteX7" fmla="*/ 10687 w 11107"/>
                    <a:gd name="connsiteY7" fmla="*/ 4215 h 14155"/>
                    <a:gd name="connsiteX8" fmla="*/ 9728 w 11107"/>
                    <a:gd name="connsiteY8" fmla="*/ 835 h 14155"/>
                    <a:gd name="connsiteX9" fmla="*/ 5139 w 11107"/>
                    <a:gd name="connsiteY9" fmla="*/ 1423 h 14155"/>
                    <a:gd name="connsiteX0" fmla="*/ 5139 w 12384"/>
                    <a:gd name="connsiteY0" fmla="*/ 1423 h 14155"/>
                    <a:gd name="connsiteX1" fmla="*/ 2266 w 12384"/>
                    <a:gd name="connsiteY1" fmla="*/ 3276 h 14155"/>
                    <a:gd name="connsiteX2" fmla="*/ 546 w 12384"/>
                    <a:gd name="connsiteY2" fmla="*/ 7195 h 14155"/>
                    <a:gd name="connsiteX3" fmla="*/ 3055 w 12384"/>
                    <a:gd name="connsiteY3" fmla="*/ 11999 h 14155"/>
                    <a:gd name="connsiteX4" fmla="*/ 5748 w 12384"/>
                    <a:gd name="connsiteY4" fmla="*/ 9547 h 14155"/>
                    <a:gd name="connsiteX5" fmla="*/ 8886 w 12384"/>
                    <a:gd name="connsiteY5" fmla="*/ 10759 h 14155"/>
                    <a:gd name="connsiteX6" fmla="*/ 10686 w 12384"/>
                    <a:gd name="connsiteY6" fmla="*/ 8533 h 14155"/>
                    <a:gd name="connsiteX7" fmla="*/ 12184 w 12384"/>
                    <a:gd name="connsiteY7" fmla="*/ 3927 h 14155"/>
                    <a:gd name="connsiteX8" fmla="*/ 9728 w 12384"/>
                    <a:gd name="connsiteY8" fmla="*/ 835 h 14155"/>
                    <a:gd name="connsiteX9" fmla="*/ 5139 w 12384"/>
                    <a:gd name="connsiteY9" fmla="*/ 1423 h 14155"/>
                    <a:gd name="connsiteX0" fmla="*/ 5139 w 12562"/>
                    <a:gd name="connsiteY0" fmla="*/ 1423 h 14155"/>
                    <a:gd name="connsiteX1" fmla="*/ 2266 w 12562"/>
                    <a:gd name="connsiteY1" fmla="*/ 3276 h 14155"/>
                    <a:gd name="connsiteX2" fmla="*/ 546 w 12562"/>
                    <a:gd name="connsiteY2" fmla="*/ 7195 h 14155"/>
                    <a:gd name="connsiteX3" fmla="*/ 3055 w 12562"/>
                    <a:gd name="connsiteY3" fmla="*/ 11999 h 14155"/>
                    <a:gd name="connsiteX4" fmla="*/ 5748 w 12562"/>
                    <a:gd name="connsiteY4" fmla="*/ 9547 h 14155"/>
                    <a:gd name="connsiteX5" fmla="*/ 8886 w 12562"/>
                    <a:gd name="connsiteY5" fmla="*/ 10759 h 14155"/>
                    <a:gd name="connsiteX6" fmla="*/ 12027 w 12562"/>
                    <a:gd name="connsiteY6" fmla="*/ 8163 h 14155"/>
                    <a:gd name="connsiteX7" fmla="*/ 12184 w 12562"/>
                    <a:gd name="connsiteY7" fmla="*/ 3927 h 14155"/>
                    <a:gd name="connsiteX8" fmla="*/ 9728 w 12562"/>
                    <a:gd name="connsiteY8" fmla="*/ 835 h 14155"/>
                    <a:gd name="connsiteX9" fmla="*/ 5139 w 12562"/>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53"/>
                    <a:gd name="connsiteY0" fmla="*/ 1423 h 14155"/>
                    <a:gd name="connsiteX1" fmla="*/ 2266 w 14753"/>
                    <a:gd name="connsiteY1" fmla="*/ 3276 h 14155"/>
                    <a:gd name="connsiteX2" fmla="*/ 546 w 14753"/>
                    <a:gd name="connsiteY2" fmla="*/ 7195 h 14155"/>
                    <a:gd name="connsiteX3" fmla="*/ 3055 w 14753"/>
                    <a:gd name="connsiteY3" fmla="*/ 11999 h 14155"/>
                    <a:gd name="connsiteX4" fmla="*/ 5748 w 14753"/>
                    <a:gd name="connsiteY4" fmla="*/ 9547 h 14155"/>
                    <a:gd name="connsiteX5" fmla="*/ 8886 w 14753"/>
                    <a:gd name="connsiteY5" fmla="*/ 10759 h 14155"/>
                    <a:gd name="connsiteX6" fmla="*/ 11965 w 14753"/>
                    <a:gd name="connsiteY6" fmla="*/ 8779 h 14155"/>
                    <a:gd name="connsiteX7" fmla="*/ 12184 w 14753"/>
                    <a:gd name="connsiteY7" fmla="*/ 3927 h 14155"/>
                    <a:gd name="connsiteX8" fmla="*/ 9728 w 14753"/>
                    <a:gd name="connsiteY8" fmla="*/ 835 h 14155"/>
                    <a:gd name="connsiteX9" fmla="*/ 5139 w 14753"/>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661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69"/>
                    <a:gd name="connsiteX1" fmla="*/ 2697 w 16991"/>
                    <a:gd name="connsiteY1" fmla="*/ 3276 h 14169"/>
                    <a:gd name="connsiteX2" fmla="*/ 1039 w 16991"/>
                    <a:gd name="connsiteY2" fmla="*/ 6661 h 14169"/>
                    <a:gd name="connsiteX3" fmla="*/ 2831 w 16991"/>
                    <a:gd name="connsiteY3" fmla="*/ 11547 h 14169"/>
                    <a:gd name="connsiteX4" fmla="*/ 6179 w 16991"/>
                    <a:gd name="connsiteY4" fmla="*/ 9547 h 14169"/>
                    <a:gd name="connsiteX5" fmla="*/ 9317 w 16991"/>
                    <a:gd name="connsiteY5" fmla="*/ 10759 h 14169"/>
                    <a:gd name="connsiteX6" fmla="*/ 12396 w 16991"/>
                    <a:gd name="connsiteY6" fmla="*/ 8779 h 14169"/>
                    <a:gd name="connsiteX7" fmla="*/ 12615 w 16991"/>
                    <a:gd name="connsiteY7" fmla="*/ 3927 h 14169"/>
                    <a:gd name="connsiteX8" fmla="*/ 10159 w 16991"/>
                    <a:gd name="connsiteY8" fmla="*/ 835 h 14169"/>
                    <a:gd name="connsiteX9" fmla="*/ 5570 w 16991"/>
                    <a:gd name="connsiteY9" fmla="*/ 1423 h 14169"/>
                    <a:gd name="connsiteX0" fmla="*/ 5570 w 16991"/>
                    <a:gd name="connsiteY0" fmla="*/ 1423 h 14319"/>
                    <a:gd name="connsiteX1" fmla="*/ 2697 w 16991"/>
                    <a:gd name="connsiteY1" fmla="*/ 3276 h 14319"/>
                    <a:gd name="connsiteX2" fmla="*/ 1039 w 16991"/>
                    <a:gd name="connsiteY2" fmla="*/ 6661 h 14319"/>
                    <a:gd name="connsiteX3" fmla="*/ 2831 w 16991"/>
                    <a:gd name="connsiteY3" fmla="*/ 11547 h 14319"/>
                    <a:gd name="connsiteX4" fmla="*/ 6241 w 16991"/>
                    <a:gd name="connsiteY4" fmla="*/ 10204 h 14319"/>
                    <a:gd name="connsiteX5" fmla="*/ 9317 w 16991"/>
                    <a:gd name="connsiteY5" fmla="*/ 10759 h 14319"/>
                    <a:gd name="connsiteX6" fmla="*/ 12396 w 16991"/>
                    <a:gd name="connsiteY6" fmla="*/ 8779 h 14319"/>
                    <a:gd name="connsiteX7" fmla="*/ 12615 w 16991"/>
                    <a:gd name="connsiteY7" fmla="*/ 3927 h 14319"/>
                    <a:gd name="connsiteX8" fmla="*/ 10159 w 16991"/>
                    <a:gd name="connsiteY8" fmla="*/ 835 h 14319"/>
                    <a:gd name="connsiteX9" fmla="*/ 5570 w 16991"/>
                    <a:gd name="connsiteY9" fmla="*/ 1423 h 14319"/>
                    <a:gd name="connsiteX0" fmla="*/ 5570 w 16991"/>
                    <a:gd name="connsiteY0" fmla="*/ 1423 h 14440"/>
                    <a:gd name="connsiteX1" fmla="*/ 2697 w 16991"/>
                    <a:gd name="connsiteY1" fmla="*/ 3276 h 14440"/>
                    <a:gd name="connsiteX2" fmla="*/ 1039 w 16991"/>
                    <a:gd name="connsiteY2" fmla="*/ 6661 h 14440"/>
                    <a:gd name="connsiteX3" fmla="*/ 2831 w 16991"/>
                    <a:gd name="connsiteY3" fmla="*/ 11547 h 14440"/>
                    <a:gd name="connsiteX4" fmla="*/ 6241 w 16991"/>
                    <a:gd name="connsiteY4" fmla="*/ 10204 h 14440"/>
                    <a:gd name="connsiteX5" fmla="*/ 9317 w 16991"/>
                    <a:gd name="connsiteY5" fmla="*/ 10759 h 14440"/>
                    <a:gd name="connsiteX6" fmla="*/ 12396 w 16991"/>
                    <a:gd name="connsiteY6" fmla="*/ 8779 h 14440"/>
                    <a:gd name="connsiteX7" fmla="*/ 12615 w 16991"/>
                    <a:gd name="connsiteY7" fmla="*/ 3927 h 14440"/>
                    <a:gd name="connsiteX8" fmla="*/ 10159 w 16991"/>
                    <a:gd name="connsiteY8" fmla="*/ 835 h 14440"/>
                    <a:gd name="connsiteX9" fmla="*/ 5570 w 16991"/>
                    <a:gd name="connsiteY9" fmla="*/ 1423 h 14440"/>
                    <a:gd name="connsiteX0" fmla="*/ 5570 w 16991"/>
                    <a:gd name="connsiteY0" fmla="*/ 1423 h 14549"/>
                    <a:gd name="connsiteX1" fmla="*/ 2697 w 16991"/>
                    <a:gd name="connsiteY1" fmla="*/ 3276 h 14549"/>
                    <a:gd name="connsiteX2" fmla="*/ 1039 w 16991"/>
                    <a:gd name="connsiteY2" fmla="*/ 6661 h 14549"/>
                    <a:gd name="connsiteX3" fmla="*/ 2831 w 16991"/>
                    <a:gd name="connsiteY3" fmla="*/ 11547 h 14549"/>
                    <a:gd name="connsiteX4" fmla="*/ 6241 w 16991"/>
                    <a:gd name="connsiteY4" fmla="*/ 10204 h 14549"/>
                    <a:gd name="connsiteX5" fmla="*/ 9317 w 16991"/>
                    <a:gd name="connsiteY5" fmla="*/ 10759 h 14549"/>
                    <a:gd name="connsiteX6" fmla="*/ 12396 w 16991"/>
                    <a:gd name="connsiteY6" fmla="*/ 8779 h 14549"/>
                    <a:gd name="connsiteX7" fmla="*/ 12615 w 16991"/>
                    <a:gd name="connsiteY7" fmla="*/ 3927 h 14549"/>
                    <a:gd name="connsiteX8" fmla="*/ 10159 w 16991"/>
                    <a:gd name="connsiteY8" fmla="*/ 835 h 14549"/>
                    <a:gd name="connsiteX9" fmla="*/ 5570 w 16991"/>
                    <a:gd name="connsiteY9" fmla="*/ 1423 h 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991" h="14549">
                      <a:moveTo>
                        <a:pt x="5570" y="1423"/>
                      </a:moveTo>
                      <a:cubicBezTo>
                        <a:pt x="5570" y="1423"/>
                        <a:pt x="3130" y="3084"/>
                        <a:pt x="2697" y="3276"/>
                      </a:cubicBezTo>
                      <a:cubicBezTo>
                        <a:pt x="2116" y="3276"/>
                        <a:pt x="-1842" y="6053"/>
                        <a:pt x="1039" y="6661"/>
                      </a:cubicBezTo>
                      <a:cubicBezTo>
                        <a:pt x="7088" y="4584"/>
                        <a:pt x="1964" y="10957"/>
                        <a:pt x="2831" y="11547"/>
                      </a:cubicBezTo>
                      <a:cubicBezTo>
                        <a:pt x="3698" y="12137"/>
                        <a:pt x="5378" y="9267"/>
                        <a:pt x="6241" y="10204"/>
                      </a:cubicBezTo>
                      <a:cubicBezTo>
                        <a:pt x="7104" y="11141"/>
                        <a:pt x="8518" y="19143"/>
                        <a:pt x="9317" y="10759"/>
                      </a:cubicBezTo>
                      <a:cubicBezTo>
                        <a:pt x="9836" y="7618"/>
                        <a:pt x="10455" y="8698"/>
                        <a:pt x="12396" y="8779"/>
                      </a:cubicBezTo>
                      <a:cubicBezTo>
                        <a:pt x="22146" y="14045"/>
                        <a:pt x="13484" y="5276"/>
                        <a:pt x="12615" y="3927"/>
                      </a:cubicBezTo>
                      <a:cubicBezTo>
                        <a:pt x="11601" y="2772"/>
                        <a:pt x="11853" y="1347"/>
                        <a:pt x="10159" y="835"/>
                      </a:cubicBezTo>
                      <a:cubicBezTo>
                        <a:pt x="8883" y="-1003"/>
                        <a:pt x="5715" y="652"/>
                        <a:pt x="5570" y="1423"/>
                      </a:cubicBezTo>
                      <a:close/>
                    </a:path>
                  </a:pathLst>
                </a:custGeom>
                <a:solidFill>
                  <a:srgbClr val="FFC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42" name="Oval 284">
                  <a:extLst>
                    <a:ext uri="{FF2B5EF4-FFF2-40B4-BE49-F238E27FC236}">
                      <a16:creationId xmlns:a16="http://schemas.microsoft.com/office/drawing/2014/main" id="{6927EBD3-103E-488D-ABEC-E314870FACB5}"/>
                    </a:ext>
                  </a:extLst>
                </p:cNvPr>
                <p:cNvSpPr>
                  <a:spLocks noChangeArrowheads="1"/>
                </p:cNvSpPr>
                <p:nvPr/>
              </p:nvSpPr>
              <p:spPr bwMode="auto">
                <a:xfrm rot="15772157">
                  <a:off x="8188752" y="2258212"/>
                  <a:ext cx="63039" cy="160334"/>
                </a:xfrm>
                <a:prstGeom prst="ellipse">
                  <a:avLst/>
                </a:prstGeom>
                <a:solidFill>
                  <a:srgbClr val="E2A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9" name="Group 18">
                <a:extLst>
                  <a:ext uri="{FF2B5EF4-FFF2-40B4-BE49-F238E27FC236}">
                    <a16:creationId xmlns:a16="http://schemas.microsoft.com/office/drawing/2014/main" id="{CFD77286-66E1-4C53-A288-2287344B0029}"/>
                  </a:ext>
                </a:extLst>
              </p:cNvPr>
              <p:cNvGrpSpPr/>
              <p:nvPr/>
            </p:nvGrpSpPr>
            <p:grpSpPr>
              <a:xfrm rot="19825330">
                <a:off x="6072645" y="4999228"/>
                <a:ext cx="614395" cy="302314"/>
                <a:chOff x="7815272" y="2280892"/>
                <a:chExt cx="817760" cy="302314"/>
              </a:xfrm>
            </p:grpSpPr>
            <p:sp>
              <p:nvSpPr>
                <p:cNvPr id="239" name="Freeform 283">
                  <a:extLst>
                    <a:ext uri="{FF2B5EF4-FFF2-40B4-BE49-F238E27FC236}">
                      <a16:creationId xmlns:a16="http://schemas.microsoft.com/office/drawing/2014/main" id="{5FE42FE4-C415-4F8C-80CB-9E40EA7C51C4}"/>
                    </a:ext>
                  </a:extLst>
                </p:cNvPr>
                <p:cNvSpPr>
                  <a:spLocks/>
                </p:cNvSpPr>
                <p:nvPr/>
              </p:nvSpPr>
              <p:spPr bwMode="auto">
                <a:xfrm rot="21172157">
                  <a:off x="7815272" y="2280892"/>
                  <a:ext cx="817760" cy="302314"/>
                </a:xfrm>
                <a:custGeom>
                  <a:avLst/>
                  <a:gdLst>
                    <a:gd name="T0" fmla="*/ 26 w 52"/>
                    <a:gd name="T1" fmla="*/ 4 h 51"/>
                    <a:gd name="T2" fmla="*/ 18 w 52"/>
                    <a:gd name="T3" fmla="*/ 10 h 51"/>
                    <a:gd name="T4" fmla="*/ 10 w 52"/>
                    <a:gd name="T5" fmla="*/ 12 h 51"/>
                    <a:gd name="T6" fmla="*/ 3 w 52"/>
                    <a:gd name="T7" fmla="*/ 25 h 51"/>
                    <a:gd name="T8" fmla="*/ 16 w 52"/>
                    <a:gd name="T9" fmla="*/ 37 h 51"/>
                    <a:gd name="T10" fmla="*/ 34 w 52"/>
                    <a:gd name="T11" fmla="*/ 45 h 51"/>
                    <a:gd name="T12" fmla="*/ 46 w 52"/>
                    <a:gd name="T13" fmla="*/ 36 h 51"/>
                    <a:gd name="T14" fmla="*/ 46 w 52"/>
                    <a:gd name="T15" fmla="*/ 17 h 51"/>
                    <a:gd name="T16" fmla="*/ 34 w 52"/>
                    <a:gd name="T17" fmla="*/ 5 h 51"/>
                    <a:gd name="T18" fmla="*/ 26 w 52"/>
                    <a:gd name="T19" fmla="*/ 4 h 51"/>
                    <a:gd name="connsiteX0" fmla="*/ 4531 w 11136"/>
                    <a:gd name="connsiteY0" fmla="*/ 500 h 9017"/>
                    <a:gd name="connsiteX1" fmla="*/ 2993 w 11136"/>
                    <a:gd name="connsiteY1" fmla="*/ 1677 h 9017"/>
                    <a:gd name="connsiteX2" fmla="*/ 1454 w 11136"/>
                    <a:gd name="connsiteY2" fmla="*/ 2069 h 9017"/>
                    <a:gd name="connsiteX3" fmla="*/ 108 w 11136"/>
                    <a:gd name="connsiteY3" fmla="*/ 4618 h 9017"/>
                    <a:gd name="connsiteX4" fmla="*/ 2608 w 11136"/>
                    <a:gd name="connsiteY4" fmla="*/ 6971 h 9017"/>
                    <a:gd name="connsiteX5" fmla="*/ 6069 w 11136"/>
                    <a:gd name="connsiteY5" fmla="*/ 8540 h 9017"/>
                    <a:gd name="connsiteX6" fmla="*/ 8377 w 11136"/>
                    <a:gd name="connsiteY6" fmla="*/ 6775 h 9017"/>
                    <a:gd name="connsiteX7" fmla="*/ 10903 w 11136"/>
                    <a:gd name="connsiteY7" fmla="*/ 2255 h 9017"/>
                    <a:gd name="connsiteX8" fmla="*/ 6069 w 11136"/>
                    <a:gd name="connsiteY8" fmla="*/ 696 h 9017"/>
                    <a:gd name="connsiteX9" fmla="*/ 4531 w 11136"/>
                    <a:gd name="connsiteY9" fmla="*/ 500 h 9017"/>
                    <a:gd name="connsiteX0" fmla="*/ 4069 w 10292"/>
                    <a:gd name="connsiteY0" fmla="*/ 555 h 10000"/>
                    <a:gd name="connsiteX1" fmla="*/ 2688 w 10292"/>
                    <a:gd name="connsiteY1" fmla="*/ 1860 h 10000"/>
                    <a:gd name="connsiteX2" fmla="*/ 1306 w 10292"/>
                    <a:gd name="connsiteY2" fmla="*/ 2295 h 10000"/>
                    <a:gd name="connsiteX3" fmla="*/ 97 w 10292"/>
                    <a:gd name="connsiteY3" fmla="*/ 5121 h 10000"/>
                    <a:gd name="connsiteX4" fmla="*/ 2342 w 10292"/>
                    <a:gd name="connsiteY4" fmla="*/ 7731 h 10000"/>
                    <a:gd name="connsiteX5" fmla="*/ 5450 w 10292"/>
                    <a:gd name="connsiteY5" fmla="*/ 9471 h 10000"/>
                    <a:gd name="connsiteX6" fmla="*/ 9790 w 10292"/>
                    <a:gd name="connsiteY6" fmla="*/ 7375 h 10000"/>
                    <a:gd name="connsiteX7" fmla="*/ 9791 w 10292"/>
                    <a:gd name="connsiteY7" fmla="*/ 2501 h 10000"/>
                    <a:gd name="connsiteX8" fmla="*/ 5450 w 10292"/>
                    <a:gd name="connsiteY8" fmla="*/ 772 h 10000"/>
                    <a:gd name="connsiteX9" fmla="*/ 4069 w 10292"/>
                    <a:gd name="connsiteY9" fmla="*/ 555 h 10000"/>
                    <a:gd name="connsiteX0" fmla="*/ 4069 w 10292"/>
                    <a:gd name="connsiteY0" fmla="*/ 555 h 9288"/>
                    <a:gd name="connsiteX1" fmla="*/ 2688 w 10292"/>
                    <a:gd name="connsiteY1" fmla="*/ 1860 h 9288"/>
                    <a:gd name="connsiteX2" fmla="*/ 1306 w 10292"/>
                    <a:gd name="connsiteY2" fmla="*/ 2295 h 9288"/>
                    <a:gd name="connsiteX3" fmla="*/ 97 w 10292"/>
                    <a:gd name="connsiteY3" fmla="*/ 5121 h 9288"/>
                    <a:gd name="connsiteX4" fmla="*/ 2342 w 10292"/>
                    <a:gd name="connsiteY4" fmla="*/ 7731 h 9288"/>
                    <a:gd name="connsiteX5" fmla="*/ 7309 w 10292"/>
                    <a:gd name="connsiteY5" fmla="*/ 8822 h 9288"/>
                    <a:gd name="connsiteX6" fmla="*/ 9790 w 10292"/>
                    <a:gd name="connsiteY6" fmla="*/ 7375 h 9288"/>
                    <a:gd name="connsiteX7" fmla="*/ 9791 w 10292"/>
                    <a:gd name="connsiteY7" fmla="*/ 2501 h 9288"/>
                    <a:gd name="connsiteX8" fmla="*/ 5450 w 10292"/>
                    <a:gd name="connsiteY8" fmla="*/ 772 h 9288"/>
                    <a:gd name="connsiteX9" fmla="*/ 4069 w 10292"/>
                    <a:gd name="connsiteY9" fmla="*/ 555 h 9288"/>
                    <a:gd name="connsiteX0" fmla="*/ 3974 w 10019"/>
                    <a:gd name="connsiteY0" fmla="*/ 598 h 9866"/>
                    <a:gd name="connsiteX1" fmla="*/ 2632 w 10019"/>
                    <a:gd name="connsiteY1" fmla="*/ 2003 h 9866"/>
                    <a:gd name="connsiteX2" fmla="*/ 1289 w 10019"/>
                    <a:gd name="connsiteY2" fmla="*/ 2471 h 9866"/>
                    <a:gd name="connsiteX3" fmla="*/ 114 w 10019"/>
                    <a:gd name="connsiteY3" fmla="*/ 5514 h 9866"/>
                    <a:gd name="connsiteX4" fmla="*/ 4716 w 10019"/>
                    <a:gd name="connsiteY4" fmla="*/ 7226 h 9866"/>
                    <a:gd name="connsiteX5" fmla="*/ 7122 w 10019"/>
                    <a:gd name="connsiteY5" fmla="*/ 9498 h 9866"/>
                    <a:gd name="connsiteX6" fmla="*/ 9532 w 10019"/>
                    <a:gd name="connsiteY6" fmla="*/ 7940 h 9866"/>
                    <a:gd name="connsiteX7" fmla="*/ 9533 w 10019"/>
                    <a:gd name="connsiteY7" fmla="*/ 2693 h 9866"/>
                    <a:gd name="connsiteX8" fmla="*/ 5315 w 10019"/>
                    <a:gd name="connsiteY8" fmla="*/ 831 h 9866"/>
                    <a:gd name="connsiteX9" fmla="*/ 3974 w 10019"/>
                    <a:gd name="connsiteY9" fmla="*/ 598 h 9866"/>
                    <a:gd name="connsiteX0" fmla="*/ 3432 w 9467"/>
                    <a:gd name="connsiteY0" fmla="*/ 606 h 12399"/>
                    <a:gd name="connsiteX1" fmla="*/ 2093 w 9467"/>
                    <a:gd name="connsiteY1" fmla="*/ 2030 h 12399"/>
                    <a:gd name="connsiteX2" fmla="*/ 753 w 9467"/>
                    <a:gd name="connsiteY2" fmla="*/ 2505 h 12399"/>
                    <a:gd name="connsiteX3" fmla="*/ 157 w 9467"/>
                    <a:gd name="connsiteY3" fmla="*/ 12318 h 12399"/>
                    <a:gd name="connsiteX4" fmla="*/ 4173 w 9467"/>
                    <a:gd name="connsiteY4" fmla="*/ 7324 h 12399"/>
                    <a:gd name="connsiteX5" fmla="*/ 6574 w 9467"/>
                    <a:gd name="connsiteY5" fmla="*/ 9627 h 12399"/>
                    <a:gd name="connsiteX6" fmla="*/ 8980 w 9467"/>
                    <a:gd name="connsiteY6" fmla="*/ 8048 h 12399"/>
                    <a:gd name="connsiteX7" fmla="*/ 8981 w 9467"/>
                    <a:gd name="connsiteY7" fmla="*/ 2730 h 12399"/>
                    <a:gd name="connsiteX8" fmla="*/ 4771 w 9467"/>
                    <a:gd name="connsiteY8" fmla="*/ 842 h 12399"/>
                    <a:gd name="connsiteX9" fmla="*/ 3432 w 9467"/>
                    <a:gd name="connsiteY9" fmla="*/ 606 h 12399"/>
                    <a:gd name="connsiteX0" fmla="*/ 5344 w 11719"/>
                    <a:gd name="connsiteY0" fmla="*/ 488 h 9962"/>
                    <a:gd name="connsiteX1" fmla="*/ 3930 w 11719"/>
                    <a:gd name="connsiteY1" fmla="*/ 1636 h 9962"/>
                    <a:gd name="connsiteX2" fmla="*/ 0 w 11719"/>
                    <a:gd name="connsiteY2" fmla="*/ 3447 h 9962"/>
                    <a:gd name="connsiteX3" fmla="*/ 1885 w 11719"/>
                    <a:gd name="connsiteY3" fmla="*/ 9934 h 9962"/>
                    <a:gd name="connsiteX4" fmla="*/ 6127 w 11719"/>
                    <a:gd name="connsiteY4" fmla="*/ 5906 h 9962"/>
                    <a:gd name="connsiteX5" fmla="*/ 8663 w 11719"/>
                    <a:gd name="connsiteY5" fmla="*/ 7763 h 9962"/>
                    <a:gd name="connsiteX6" fmla="*/ 11205 w 11719"/>
                    <a:gd name="connsiteY6" fmla="*/ 6490 h 9962"/>
                    <a:gd name="connsiteX7" fmla="*/ 11206 w 11719"/>
                    <a:gd name="connsiteY7" fmla="*/ 2201 h 9962"/>
                    <a:gd name="connsiteX8" fmla="*/ 6759 w 11719"/>
                    <a:gd name="connsiteY8" fmla="*/ 678 h 9962"/>
                    <a:gd name="connsiteX9" fmla="*/ 5344 w 11719"/>
                    <a:gd name="connsiteY9" fmla="*/ 488 h 9962"/>
                    <a:gd name="connsiteX0" fmla="*/ 4560 w 10000"/>
                    <a:gd name="connsiteY0" fmla="*/ 490 h 10000"/>
                    <a:gd name="connsiteX1" fmla="*/ 3354 w 10000"/>
                    <a:gd name="connsiteY1" fmla="*/ 1642 h 10000"/>
                    <a:gd name="connsiteX2" fmla="*/ 0 w 10000"/>
                    <a:gd name="connsiteY2" fmla="*/ 3460 h 10000"/>
                    <a:gd name="connsiteX3" fmla="*/ 1608 w 10000"/>
                    <a:gd name="connsiteY3" fmla="*/ 9972 h 10000"/>
                    <a:gd name="connsiteX4" fmla="*/ 5228 w 10000"/>
                    <a:gd name="connsiteY4" fmla="*/ 5929 h 10000"/>
                    <a:gd name="connsiteX5" fmla="*/ 7392 w 10000"/>
                    <a:gd name="connsiteY5" fmla="*/ 7793 h 10000"/>
                    <a:gd name="connsiteX6" fmla="*/ 9561 w 10000"/>
                    <a:gd name="connsiteY6" fmla="*/ 6515 h 10000"/>
                    <a:gd name="connsiteX7" fmla="*/ 9562 w 10000"/>
                    <a:gd name="connsiteY7" fmla="*/ 2209 h 10000"/>
                    <a:gd name="connsiteX8" fmla="*/ 5768 w 10000"/>
                    <a:gd name="connsiteY8" fmla="*/ 681 h 10000"/>
                    <a:gd name="connsiteX9" fmla="*/ 4560 w 10000"/>
                    <a:gd name="connsiteY9" fmla="*/ 490 h 10000"/>
                    <a:gd name="connsiteX0" fmla="*/ 4982 w 10422"/>
                    <a:gd name="connsiteY0" fmla="*/ 490 h 9973"/>
                    <a:gd name="connsiteX1" fmla="*/ 3776 w 10422"/>
                    <a:gd name="connsiteY1" fmla="*/ 1642 h 9973"/>
                    <a:gd name="connsiteX2" fmla="*/ 0 w 10422"/>
                    <a:gd name="connsiteY2" fmla="*/ 5385 h 9973"/>
                    <a:gd name="connsiteX3" fmla="*/ 2030 w 10422"/>
                    <a:gd name="connsiteY3" fmla="*/ 9972 h 9973"/>
                    <a:gd name="connsiteX4" fmla="*/ 5650 w 10422"/>
                    <a:gd name="connsiteY4" fmla="*/ 5929 h 9973"/>
                    <a:gd name="connsiteX5" fmla="*/ 7814 w 10422"/>
                    <a:gd name="connsiteY5" fmla="*/ 7793 h 9973"/>
                    <a:gd name="connsiteX6" fmla="*/ 9983 w 10422"/>
                    <a:gd name="connsiteY6" fmla="*/ 6515 h 9973"/>
                    <a:gd name="connsiteX7" fmla="*/ 9984 w 10422"/>
                    <a:gd name="connsiteY7" fmla="*/ 2209 h 9973"/>
                    <a:gd name="connsiteX8" fmla="*/ 6190 w 10422"/>
                    <a:gd name="connsiteY8" fmla="*/ 681 h 9973"/>
                    <a:gd name="connsiteX9" fmla="*/ 4982 w 10422"/>
                    <a:gd name="connsiteY9" fmla="*/ 490 h 9973"/>
                    <a:gd name="connsiteX0" fmla="*/ 4780 w 10000"/>
                    <a:gd name="connsiteY0" fmla="*/ 491 h 10000"/>
                    <a:gd name="connsiteX1" fmla="*/ 1159 w 10000"/>
                    <a:gd name="connsiteY1" fmla="*/ 1276 h 10000"/>
                    <a:gd name="connsiteX2" fmla="*/ 0 w 10000"/>
                    <a:gd name="connsiteY2" fmla="*/ 5400 h 10000"/>
                    <a:gd name="connsiteX3" fmla="*/ 1948 w 10000"/>
                    <a:gd name="connsiteY3" fmla="*/ 9999 h 10000"/>
                    <a:gd name="connsiteX4" fmla="*/ 5421 w 10000"/>
                    <a:gd name="connsiteY4" fmla="*/ 5945 h 10000"/>
                    <a:gd name="connsiteX5" fmla="*/ 7498 w 10000"/>
                    <a:gd name="connsiteY5" fmla="*/ 7814 h 10000"/>
                    <a:gd name="connsiteX6" fmla="*/ 9579 w 10000"/>
                    <a:gd name="connsiteY6" fmla="*/ 6533 h 10000"/>
                    <a:gd name="connsiteX7" fmla="*/ 9580 w 10000"/>
                    <a:gd name="connsiteY7" fmla="*/ 2215 h 10000"/>
                    <a:gd name="connsiteX8" fmla="*/ 5939 w 10000"/>
                    <a:gd name="connsiteY8" fmla="*/ 683 h 10000"/>
                    <a:gd name="connsiteX9" fmla="*/ 4780 w 10000"/>
                    <a:gd name="connsiteY9" fmla="*/ 491 h 10000"/>
                    <a:gd name="connsiteX0" fmla="*/ 4032 w 10000"/>
                    <a:gd name="connsiteY0" fmla="*/ 240 h 10817"/>
                    <a:gd name="connsiteX1" fmla="*/ 1159 w 10000"/>
                    <a:gd name="connsiteY1" fmla="*/ 2093 h 10817"/>
                    <a:gd name="connsiteX2" fmla="*/ 0 w 10000"/>
                    <a:gd name="connsiteY2" fmla="*/ 6217 h 10817"/>
                    <a:gd name="connsiteX3" fmla="*/ 1948 w 10000"/>
                    <a:gd name="connsiteY3" fmla="*/ 10816 h 10817"/>
                    <a:gd name="connsiteX4" fmla="*/ 5421 w 10000"/>
                    <a:gd name="connsiteY4" fmla="*/ 6762 h 10817"/>
                    <a:gd name="connsiteX5" fmla="*/ 7498 w 10000"/>
                    <a:gd name="connsiteY5" fmla="*/ 8631 h 10817"/>
                    <a:gd name="connsiteX6" fmla="*/ 9579 w 10000"/>
                    <a:gd name="connsiteY6" fmla="*/ 7350 h 10817"/>
                    <a:gd name="connsiteX7" fmla="*/ 9580 w 10000"/>
                    <a:gd name="connsiteY7" fmla="*/ 3032 h 10817"/>
                    <a:gd name="connsiteX8" fmla="*/ 5939 w 10000"/>
                    <a:gd name="connsiteY8" fmla="*/ 1500 h 10817"/>
                    <a:gd name="connsiteX9" fmla="*/ 4032 w 10000"/>
                    <a:gd name="connsiteY9" fmla="*/ 240 h 10817"/>
                    <a:gd name="connsiteX0" fmla="*/ 4032 w 10000"/>
                    <a:gd name="connsiteY0" fmla="*/ 507 h 11084"/>
                    <a:gd name="connsiteX1" fmla="*/ 1159 w 10000"/>
                    <a:gd name="connsiteY1" fmla="*/ 2360 h 11084"/>
                    <a:gd name="connsiteX2" fmla="*/ 0 w 10000"/>
                    <a:gd name="connsiteY2" fmla="*/ 6484 h 11084"/>
                    <a:gd name="connsiteX3" fmla="*/ 1948 w 10000"/>
                    <a:gd name="connsiteY3" fmla="*/ 11083 h 11084"/>
                    <a:gd name="connsiteX4" fmla="*/ 5421 w 10000"/>
                    <a:gd name="connsiteY4" fmla="*/ 7029 h 11084"/>
                    <a:gd name="connsiteX5" fmla="*/ 7498 w 10000"/>
                    <a:gd name="connsiteY5" fmla="*/ 8898 h 11084"/>
                    <a:gd name="connsiteX6" fmla="*/ 9579 w 10000"/>
                    <a:gd name="connsiteY6" fmla="*/ 7617 h 11084"/>
                    <a:gd name="connsiteX7" fmla="*/ 9580 w 10000"/>
                    <a:gd name="connsiteY7" fmla="*/ 3299 h 11084"/>
                    <a:gd name="connsiteX8" fmla="*/ 8340 w 10000"/>
                    <a:gd name="connsiteY8" fmla="*/ 658 h 11084"/>
                    <a:gd name="connsiteX9" fmla="*/ 4032 w 10000"/>
                    <a:gd name="connsiteY9" fmla="*/ 507 h 11084"/>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67"/>
                    <a:gd name="connsiteX1" fmla="*/ 1159 w 10000"/>
                    <a:gd name="connsiteY1" fmla="*/ 2309 h 11067"/>
                    <a:gd name="connsiteX2" fmla="*/ 0 w 10000"/>
                    <a:gd name="connsiteY2" fmla="*/ 6433 h 11067"/>
                    <a:gd name="connsiteX3" fmla="*/ 1948 w 10000"/>
                    <a:gd name="connsiteY3" fmla="*/ 11032 h 11067"/>
                    <a:gd name="connsiteX4" fmla="*/ 4641 w 10000"/>
                    <a:gd name="connsiteY4" fmla="*/ 8580 h 11067"/>
                    <a:gd name="connsiteX5" fmla="*/ 7498 w 10000"/>
                    <a:gd name="connsiteY5" fmla="*/ 8847 h 11067"/>
                    <a:gd name="connsiteX6" fmla="*/ 9579 w 10000"/>
                    <a:gd name="connsiteY6" fmla="*/ 7566 h 11067"/>
                    <a:gd name="connsiteX7" fmla="*/ 9580 w 10000"/>
                    <a:gd name="connsiteY7" fmla="*/ 3248 h 11067"/>
                    <a:gd name="connsiteX8" fmla="*/ 8340 w 10000"/>
                    <a:gd name="connsiteY8" fmla="*/ 607 h 11067"/>
                    <a:gd name="connsiteX9" fmla="*/ 4032 w 10000"/>
                    <a:gd name="connsiteY9" fmla="*/ 456 h 11067"/>
                    <a:gd name="connsiteX0" fmla="*/ 4032 w 10000"/>
                    <a:gd name="connsiteY0" fmla="*/ 456 h 11053"/>
                    <a:gd name="connsiteX1" fmla="*/ 1159 w 10000"/>
                    <a:gd name="connsiteY1" fmla="*/ 2309 h 11053"/>
                    <a:gd name="connsiteX2" fmla="*/ 0 w 10000"/>
                    <a:gd name="connsiteY2" fmla="*/ 6433 h 11053"/>
                    <a:gd name="connsiteX3" fmla="*/ 1948 w 10000"/>
                    <a:gd name="connsiteY3" fmla="*/ 11032 h 11053"/>
                    <a:gd name="connsiteX4" fmla="*/ 4641 w 10000"/>
                    <a:gd name="connsiteY4" fmla="*/ 8580 h 11053"/>
                    <a:gd name="connsiteX5" fmla="*/ 7498 w 10000"/>
                    <a:gd name="connsiteY5" fmla="*/ 8847 h 11053"/>
                    <a:gd name="connsiteX6" fmla="*/ 9579 w 10000"/>
                    <a:gd name="connsiteY6" fmla="*/ 7566 h 11053"/>
                    <a:gd name="connsiteX7" fmla="*/ 9580 w 10000"/>
                    <a:gd name="connsiteY7" fmla="*/ 3248 h 11053"/>
                    <a:gd name="connsiteX8" fmla="*/ 8340 w 10000"/>
                    <a:gd name="connsiteY8" fmla="*/ 607 h 11053"/>
                    <a:gd name="connsiteX9" fmla="*/ 4032 w 10000"/>
                    <a:gd name="connsiteY9" fmla="*/ 456 h 11053"/>
                    <a:gd name="connsiteX0" fmla="*/ 4032 w 10000"/>
                    <a:gd name="connsiteY0" fmla="*/ 456 h 11130"/>
                    <a:gd name="connsiteX1" fmla="*/ 1159 w 10000"/>
                    <a:gd name="connsiteY1" fmla="*/ 2309 h 11130"/>
                    <a:gd name="connsiteX2" fmla="*/ 0 w 10000"/>
                    <a:gd name="connsiteY2" fmla="*/ 6433 h 11130"/>
                    <a:gd name="connsiteX3" fmla="*/ 1948 w 10000"/>
                    <a:gd name="connsiteY3" fmla="*/ 11032 h 11130"/>
                    <a:gd name="connsiteX4" fmla="*/ 4641 w 10000"/>
                    <a:gd name="connsiteY4" fmla="*/ 8580 h 11130"/>
                    <a:gd name="connsiteX5" fmla="*/ 7498 w 10000"/>
                    <a:gd name="connsiteY5" fmla="*/ 8847 h 11130"/>
                    <a:gd name="connsiteX6" fmla="*/ 9579 w 10000"/>
                    <a:gd name="connsiteY6" fmla="*/ 7566 h 11130"/>
                    <a:gd name="connsiteX7" fmla="*/ 9580 w 10000"/>
                    <a:gd name="connsiteY7" fmla="*/ 3248 h 11130"/>
                    <a:gd name="connsiteX8" fmla="*/ 8340 w 10000"/>
                    <a:gd name="connsiteY8" fmla="*/ 607 h 11130"/>
                    <a:gd name="connsiteX9" fmla="*/ 4032 w 10000"/>
                    <a:gd name="connsiteY9" fmla="*/ 456 h 11130"/>
                    <a:gd name="connsiteX0" fmla="*/ 4662 w 10630"/>
                    <a:gd name="connsiteY0" fmla="*/ 456 h 11130"/>
                    <a:gd name="connsiteX1" fmla="*/ 1789 w 10630"/>
                    <a:gd name="connsiteY1" fmla="*/ 2309 h 11130"/>
                    <a:gd name="connsiteX2" fmla="*/ 630 w 10630"/>
                    <a:gd name="connsiteY2" fmla="*/ 6433 h 11130"/>
                    <a:gd name="connsiteX3" fmla="*/ 2578 w 10630"/>
                    <a:gd name="connsiteY3" fmla="*/ 11032 h 11130"/>
                    <a:gd name="connsiteX4" fmla="*/ 5271 w 10630"/>
                    <a:gd name="connsiteY4" fmla="*/ 8580 h 11130"/>
                    <a:gd name="connsiteX5" fmla="*/ 8128 w 10630"/>
                    <a:gd name="connsiteY5" fmla="*/ 8847 h 11130"/>
                    <a:gd name="connsiteX6" fmla="*/ 10209 w 10630"/>
                    <a:gd name="connsiteY6" fmla="*/ 7566 h 11130"/>
                    <a:gd name="connsiteX7" fmla="*/ 10210 w 10630"/>
                    <a:gd name="connsiteY7" fmla="*/ 3248 h 11130"/>
                    <a:gd name="connsiteX8" fmla="*/ 8970 w 10630"/>
                    <a:gd name="connsiteY8" fmla="*/ 607 h 11130"/>
                    <a:gd name="connsiteX9" fmla="*/ 4662 w 10630"/>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2836"/>
                    <a:gd name="connsiteX1" fmla="*/ 2266 w 11107"/>
                    <a:gd name="connsiteY1" fmla="*/ 2309 h 12836"/>
                    <a:gd name="connsiteX2" fmla="*/ 546 w 11107"/>
                    <a:gd name="connsiteY2" fmla="*/ 6228 h 12836"/>
                    <a:gd name="connsiteX3" fmla="*/ 3055 w 11107"/>
                    <a:gd name="connsiteY3" fmla="*/ 11032 h 12836"/>
                    <a:gd name="connsiteX4" fmla="*/ 5748 w 11107"/>
                    <a:gd name="connsiteY4" fmla="*/ 8580 h 12836"/>
                    <a:gd name="connsiteX5" fmla="*/ 8605 w 11107"/>
                    <a:gd name="connsiteY5" fmla="*/ 8847 h 12836"/>
                    <a:gd name="connsiteX6" fmla="*/ 10686 w 11107"/>
                    <a:gd name="connsiteY6" fmla="*/ 7566 h 12836"/>
                    <a:gd name="connsiteX7" fmla="*/ 10687 w 11107"/>
                    <a:gd name="connsiteY7" fmla="*/ 3248 h 12836"/>
                    <a:gd name="connsiteX8" fmla="*/ 9447 w 11107"/>
                    <a:gd name="connsiteY8" fmla="*/ 607 h 12836"/>
                    <a:gd name="connsiteX9" fmla="*/ 5139 w 11107"/>
                    <a:gd name="connsiteY9" fmla="*/ 456 h 12836"/>
                    <a:gd name="connsiteX0" fmla="*/ 5139 w 11107"/>
                    <a:gd name="connsiteY0" fmla="*/ 456 h 13188"/>
                    <a:gd name="connsiteX1" fmla="*/ 2266 w 11107"/>
                    <a:gd name="connsiteY1" fmla="*/ 2309 h 13188"/>
                    <a:gd name="connsiteX2" fmla="*/ 546 w 11107"/>
                    <a:gd name="connsiteY2" fmla="*/ 6228 h 13188"/>
                    <a:gd name="connsiteX3" fmla="*/ 3055 w 11107"/>
                    <a:gd name="connsiteY3" fmla="*/ 11032 h 13188"/>
                    <a:gd name="connsiteX4" fmla="*/ 5748 w 11107"/>
                    <a:gd name="connsiteY4" fmla="*/ 8580 h 13188"/>
                    <a:gd name="connsiteX5" fmla="*/ 8886 w 11107"/>
                    <a:gd name="connsiteY5" fmla="*/ 9792 h 13188"/>
                    <a:gd name="connsiteX6" fmla="*/ 10686 w 11107"/>
                    <a:gd name="connsiteY6" fmla="*/ 7566 h 13188"/>
                    <a:gd name="connsiteX7" fmla="*/ 10687 w 11107"/>
                    <a:gd name="connsiteY7" fmla="*/ 3248 h 13188"/>
                    <a:gd name="connsiteX8" fmla="*/ 9447 w 11107"/>
                    <a:gd name="connsiteY8" fmla="*/ 607 h 13188"/>
                    <a:gd name="connsiteX9" fmla="*/ 5139 w 11107"/>
                    <a:gd name="connsiteY9" fmla="*/ 456 h 13188"/>
                    <a:gd name="connsiteX0" fmla="*/ 5139 w 11107"/>
                    <a:gd name="connsiteY0" fmla="*/ 922 h 13654"/>
                    <a:gd name="connsiteX1" fmla="*/ 2266 w 11107"/>
                    <a:gd name="connsiteY1" fmla="*/ 2775 h 13654"/>
                    <a:gd name="connsiteX2" fmla="*/ 546 w 11107"/>
                    <a:gd name="connsiteY2" fmla="*/ 6694 h 13654"/>
                    <a:gd name="connsiteX3" fmla="*/ 3055 w 11107"/>
                    <a:gd name="connsiteY3" fmla="*/ 11498 h 13654"/>
                    <a:gd name="connsiteX4" fmla="*/ 5748 w 11107"/>
                    <a:gd name="connsiteY4" fmla="*/ 9046 h 13654"/>
                    <a:gd name="connsiteX5" fmla="*/ 8886 w 11107"/>
                    <a:gd name="connsiteY5" fmla="*/ 10258 h 13654"/>
                    <a:gd name="connsiteX6" fmla="*/ 10686 w 11107"/>
                    <a:gd name="connsiteY6" fmla="*/ 8032 h 13654"/>
                    <a:gd name="connsiteX7" fmla="*/ 10687 w 11107"/>
                    <a:gd name="connsiteY7" fmla="*/ 3714 h 13654"/>
                    <a:gd name="connsiteX8" fmla="*/ 9447 w 11107"/>
                    <a:gd name="connsiteY8" fmla="*/ 1073 h 13654"/>
                    <a:gd name="connsiteX9" fmla="*/ 5139 w 11107"/>
                    <a:gd name="connsiteY9" fmla="*/ 922 h 13654"/>
                    <a:gd name="connsiteX0" fmla="*/ 5139 w 11107"/>
                    <a:gd name="connsiteY0" fmla="*/ 1423 h 14155"/>
                    <a:gd name="connsiteX1" fmla="*/ 2266 w 11107"/>
                    <a:gd name="connsiteY1" fmla="*/ 3276 h 14155"/>
                    <a:gd name="connsiteX2" fmla="*/ 546 w 11107"/>
                    <a:gd name="connsiteY2" fmla="*/ 7195 h 14155"/>
                    <a:gd name="connsiteX3" fmla="*/ 3055 w 11107"/>
                    <a:gd name="connsiteY3" fmla="*/ 11999 h 14155"/>
                    <a:gd name="connsiteX4" fmla="*/ 5748 w 11107"/>
                    <a:gd name="connsiteY4" fmla="*/ 9547 h 14155"/>
                    <a:gd name="connsiteX5" fmla="*/ 8886 w 11107"/>
                    <a:gd name="connsiteY5" fmla="*/ 10759 h 14155"/>
                    <a:gd name="connsiteX6" fmla="*/ 10686 w 11107"/>
                    <a:gd name="connsiteY6" fmla="*/ 8533 h 14155"/>
                    <a:gd name="connsiteX7" fmla="*/ 10687 w 11107"/>
                    <a:gd name="connsiteY7" fmla="*/ 4215 h 14155"/>
                    <a:gd name="connsiteX8" fmla="*/ 9728 w 11107"/>
                    <a:gd name="connsiteY8" fmla="*/ 835 h 14155"/>
                    <a:gd name="connsiteX9" fmla="*/ 5139 w 11107"/>
                    <a:gd name="connsiteY9" fmla="*/ 1423 h 14155"/>
                    <a:gd name="connsiteX0" fmla="*/ 5139 w 12384"/>
                    <a:gd name="connsiteY0" fmla="*/ 1423 h 14155"/>
                    <a:gd name="connsiteX1" fmla="*/ 2266 w 12384"/>
                    <a:gd name="connsiteY1" fmla="*/ 3276 h 14155"/>
                    <a:gd name="connsiteX2" fmla="*/ 546 w 12384"/>
                    <a:gd name="connsiteY2" fmla="*/ 7195 h 14155"/>
                    <a:gd name="connsiteX3" fmla="*/ 3055 w 12384"/>
                    <a:gd name="connsiteY3" fmla="*/ 11999 h 14155"/>
                    <a:gd name="connsiteX4" fmla="*/ 5748 w 12384"/>
                    <a:gd name="connsiteY4" fmla="*/ 9547 h 14155"/>
                    <a:gd name="connsiteX5" fmla="*/ 8886 w 12384"/>
                    <a:gd name="connsiteY5" fmla="*/ 10759 h 14155"/>
                    <a:gd name="connsiteX6" fmla="*/ 10686 w 12384"/>
                    <a:gd name="connsiteY6" fmla="*/ 8533 h 14155"/>
                    <a:gd name="connsiteX7" fmla="*/ 12184 w 12384"/>
                    <a:gd name="connsiteY7" fmla="*/ 3927 h 14155"/>
                    <a:gd name="connsiteX8" fmla="*/ 9728 w 12384"/>
                    <a:gd name="connsiteY8" fmla="*/ 835 h 14155"/>
                    <a:gd name="connsiteX9" fmla="*/ 5139 w 12384"/>
                    <a:gd name="connsiteY9" fmla="*/ 1423 h 14155"/>
                    <a:gd name="connsiteX0" fmla="*/ 5139 w 12562"/>
                    <a:gd name="connsiteY0" fmla="*/ 1423 h 14155"/>
                    <a:gd name="connsiteX1" fmla="*/ 2266 w 12562"/>
                    <a:gd name="connsiteY1" fmla="*/ 3276 h 14155"/>
                    <a:gd name="connsiteX2" fmla="*/ 546 w 12562"/>
                    <a:gd name="connsiteY2" fmla="*/ 7195 h 14155"/>
                    <a:gd name="connsiteX3" fmla="*/ 3055 w 12562"/>
                    <a:gd name="connsiteY3" fmla="*/ 11999 h 14155"/>
                    <a:gd name="connsiteX4" fmla="*/ 5748 w 12562"/>
                    <a:gd name="connsiteY4" fmla="*/ 9547 h 14155"/>
                    <a:gd name="connsiteX5" fmla="*/ 8886 w 12562"/>
                    <a:gd name="connsiteY5" fmla="*/ 10759 h 14155"/>
                    <a:gd name="connsiteX6" fmla="*/ 12027 w 12562"/>
                    <a:gd name="connsiteY6" fmla="*/ 8163 h 14155"/>
                    <a:gd name="connsiteX7" fmla="*/ 12184 w 12562"/>
                    <a:gd name="connsiteY7" fmla="*/ 3927 h 14155"/>
                    <a:gd name="connsiteX8" fmla="*/ 9728 w 12562"/>
                    <a:gd name="connsiteY8" fmla="*/ 835 h 14155"/>
                    <a:gd name="connsiteX9" fmla="*/ 5139 w 12562"/>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53"/>
                    <a:gd name="connsiteY0" fmla="*/ 1423 h 14155"/>
                    <a:gd name="connsiteX1" fmla="*/ 2266 w 14753"/>
                    <a:gd name="connsiteY1" fmla="*/ 3276 h 14155"/>
                    <a:gd name="connsiteX2" fmla="*/ 546 w 14753"/>
                    <a:gd name="connsiteY2" fmla="*/ 7195 h 14155"/>
                    <a:gd name="connsiteX3" fmla="*/ 3055 w 14753"/>
                    <a:gd name="connsiteY3" fmla="*/ 11999 h 14155"/>
                    <a:gd name="connsiteX4" fmla="*/ 5748 w 14753"/>
                    <a:gd name="connsiteY4" fmla="*/ 9547 h 14155"/>
                    <a:gd name="connsiteX5" fmla="*/ 8886 w 14753"/>
                    <a:gd name="connsiteY5" fmla="*/ 10759 h 14155"/>
                    <a:gd name="connsiteX6" fmla="*/ 11965 w 14753"/>
                    <a:gd name="connsiteY6" fmla="*/ 8779 h 14155"/>
                    <a:gd name="connsiteX7" fmla="*/ 12184 w 14753"/>
                    <a:gd name="connsiteY7" fmla="*/ 3927 h 14155"/>
                    <a:gd name="connsiteX8" fmla="*/ 9728 w 14753"/>
                    <a:gd name="connsiteY8" fmla="*/ 835 h 14155"/>
                    <a:gd name="connsiteX9" fmla="*/ 5139 w 14753"/>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661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69"/>
                    <a:gd name="connsiteX1" fmla="*/ 2697 w 16991"/>
                    <a:gd name="connsiteY1" fmla="*/ 3276 h 14169"/>
                    <a:gd name="connsiteX2" fmla="*/ 1039 w 16991"/>
                    <a:gd name="connsiteY2" fmla="*/ 6661 h 14169"/>
                    <a:gd name="connsiteX3" fmla="*/ 2831 w 16991"/>
                    <a:gd name="connsiteY3" fmla="*/ 11547 h 14169"/>
                    <a:gd name="connsiteX4" fmla="*/ 6179 w 16991"/>
                    <a:gd name="connsiteY4" fmla="*/ 9547 h 14169"/>
                    <a:gd name="connsiteX5" fmla="*/ 9317 w 16991"/>
                    <a:gd name="connsiteY5" fmla="*/ 10759 h 14169"/>
                    <a:gd name="connsiteX6" fmla="*/ 12396 w 16991"/>
                    <a:gd name="connsiteY6" fmla="*/ 8779 h 14169"/>
                    <a:gd name="connsiteX7" fmla="*/ 12615 w 16991"/>
                    <a:gd name="connsiteY7" fmla="*/ 3927 h 14169"/>
                    <a:gd name="connsiteX8" fmla="*/ 10159 w 16991"/>
                    <a:gd name="connsiteY8" fmla="*/ 835 h 14169"/>
                    <a:gd name="connsiteX9" fmla="*/ 5570 w 16991"/>
                    <a:gd name="connsiteY9" fmla="*/ 1423 h 14169"/>
                    <a:gd name="connsiteX0" fmla="*/ 5570 w 16991"/>
                    <a:gd name="connsiteY0" fmla="*/ 1423 h 14319"/>
                    <a:gd name="connsiteX1" fmla="*/ 2697 w 16991"/>
                    <a:gd name="connsiteY1" fmla="*/ 3276 h 14319"/>
                    <a:gd name="connsiteX2" fmla="*/ 1039 w 16991"/>
                    <a:gd name="connsiteY2" fmla="*/ 6661 h 14319"/>
                    <a:gd name="connsiteX3" fmla="*/ 2831 w 16991"/>
                    <a:gd name="connsiteY3" fmla="*/ 11547 h 14319"/>
                    <a:gd name="connsiteX4" fmla="*/ 6241 w 16991"/>
                    <a:gd name="connsiteY4" fmla="*/ 10204 h 14319"/>
                    <a:gd name="connsiteX5" fmla="*/ 9317 w 16991"/>
                    <a:gd name="connsiteY5" fmla="*/ 10759 h 14319"/>
                    <a:gd name="connsiteX6" fmla="*/ 12396 w 16991"/>
                    <a:gd name="connsiteY6" fmla="*/ 8779 h 14319"/>
                    <a:gd name="connsiteX7" fmla="*/ 12615 w 16991"/>
                    <a:gd name="connsiteY7" fmla="*/ 3927 h 14319"/>
                    <a:gd name="connsiteX8" fmla="*/ 10159 w 16991"/>
                    <a:gd name="connsiteY8" fmla="*/ 835 h 14319"/>
                    <a:gd name="connsiteX9" fmla="*/ 5570 w 16991"/>
                    <a:gd name="connsiteY9" fmla="*/ 1423 h 14319"/>
                    <a:gd name="connsiteX0" fmla="*/ 5570 w 16991"/>
                    <a:gd name="connsiteY0" fmla="*/ 1423 h 14440"/>
                    <a:gd name="connsiteX1" fmla="*/ 2697 w 16991"/>
                    <a:gd name="connsiteY1" fmla="*/ 3276 h 14440"/>
                    <a:gd name="connsiteX2" fmla="*/ 1039 w 16991"/>
                    <a:gd name="connsiteY2" fmla="*/ 6661 h 14440"/>
                    <a:gd name="connsiteX3" fmla="*/ 2831 w 16991"/>
                    <a:gd name="connsiteY3" fmla="*/ 11547 h 14440"/>
                    <a:gd name="connsiteX4" fmla="*/ 6241 w 16991"/>
                    <a:gd name="connsiteY4" fmla="*/ 10204 h 14440"/>
                    <a:gd name="connsiteX5" fmla="*/ 9317 w 16991"/>
                    <a:gd name="connsiteY5" fmla="*/ 10759 h 14440"/>
                    <a:gd name="connsiteX6" fmla="*/ 12396 w 16991"/>
                    <a:gd name="connsiteY6" fmla="*/ 8779 h 14440"/>
                    <a:gd name="connsiteX7" fmla="*/ 12615 w 16991"/>
                    <a:gd name="connsiteY7" fmla="*/ 3927 h 14440"/>
                    <a:gd name="connsiteX8" fmla="*/ 10159 w 16991"/>
                    <a:gd name="connsiteY8" fmla="*/ 835 h 14440"/>
                    <a:gd name="connsiteX9" fmla="*/ 5570 w 16991"/>
                    <a:gd name="connsiteY9" fmla="*/ 1423 h 14440"/>
                    <a:gd name="connsiteX0" fmla="*/ 5570 w 16991"/>
                    <a:gd name="connsiteY0" fmla="*/ 1423 h 14549"/>
                    <a:gd name="connsiteX1" fmla="*/ 2697 w 16991"/>
                    <a:gd name="connsiteY1" fmla="*/ 3276 h 14549"/>
                    <a:gd name="connsiteX2" fmla="*/ 1039 w 16991"/>
                    <a:gd name="connsiteY2" fmla="*/ 6661 h 14549"/>
                    <a:gd name="connsiteX3" fmla="*/ 2831 w 16991"/>
                    <a:gd name="connsiteY3" fmla="*/ 11547 h 14549"/>
                    <a:gd name="connsiteX4" fmla="*/ 6241 w 16991"/>
                    <a:gd name="connsiteY4" fmla="*/ 10204 h 14549"/>
                    <a:gd name="connsiteX5" fmla="*/ 9317 w 16991"/>
                    <a:gd name="connsiteY5" fmla="*/ 10759 h 14549"/>
                    <a:gd name="connsiteX6" fmla="*/ 12396 w 16991"/>
                    <a:gd name="connsiteY6" fmla="*/ 8779 h 14549"/>
                    <a:gd name="connsiteX7" fmla="*/ 12615 w 16991"/>
                    <a:gd name="connsiteY7" fmla="*/ 3927 h 14549"/>
                    <a:gd name="connsiteX8" fmla="*/ 10159 w 16991"/>
                    <a:gd name="connsiteY8" fmla="*/ 835 h 14549"/>
                    <a:gd name="connsiteX9" fmla="*/ 5570 w 16991"/>
                    <a:gd name="connsiteY9" fmla="*/ 1423 h 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991" h="14549">
                      <a:moveTo>
                        <a:pt x="5570" y="1423"/>
                      </a:moveTo>
                      <a:cubicBezTo>
                        <a:pt x="5570" y="1423"/>
                        <a:pt x="3130" y="3084"/>
                        <a:pt x="2697" y="3276"/>
                      </a:cubicBezTo>
                      <a:cubicBezTo>
                        <a:pt x="2116" y="3276"/>
                        <a:pt x="-1842" y="6053"/>
                        <a:pt x="1039" y="6661"/>
                      </a:cubicBezTo>
                      <a:cubicBezTo>
                        <a:pt x="7088" y="4584"/>
                        <a:pt x="1964" y="10957"/>
                        <a:pt x="2831" y="11547"/>
                      </a:cubicBezTo>
                      <a:cubicBezTo>
                        <a:pt x="3698" y="12137"/>
                        <a:pt x="5378" y="9267"/>
                        <a:pt x="6241" y="10204"/>
                      </a:cubicBezTo>
                      <a:cubicBezTo>
                        <a:pt x="7104" y="11141"/>
                        <a:pt x="8518" y="19143"/>
                        <a:pt x="9317" y="10759"/>
                      </a:cubicBezTo>
                      <a:cubicBezTo>
                        <a:pt x="9836" y="7618"/>
                        <a:pt x="10455" y="8698"/>
                        <a:pt x="12396" y="8779"/>
                      </a:cubicBezTo>
                      <a:cubicBezTo>
                        <a:pt x="22146" y="14045"/>
                        <a:pt x="13484" y="5276"/>
                        <a:pt x="12615" y="3927"/>
                      </a:cubicBezTo>
                      <a:cubicBezTo>
                        <a:pt x="11601" y="2772"/>
                        <a:pt x="11853" y="1347"/>
                        <a:pt x="10159" y="835"/>
                      </a:cubicBezTo>
                      <a:cubicBezTo>
                        <a:pt x="8883" y="-1003"/>
                        <a:pt x="5715" y="652"/>
                        <a:pt x="5570" y="1423"/>
                      </a:cubicBezTo>
                      <a:close/>
                    </a:path>
                  </a:pathLst>
                </a:custGeom>
                <a:solidFill>
                  <a:srgbClr val="FFC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40" name="Oval 284">
                  <a:extLst>
                    <a:ext uri="{FF2B5EF4-FFF2-40B4-BE49-F238E27FC236}">
                      <a16:creationId xmlns:a16="http://schemas.microsoft.com/office/drawing/2014/main" id="{1C3C310F-F7FC-4199-AFBB-20829CD8BA3C}"/>
                    </a:ext>
                  </a:extLst>
                </p:cNvPr>
                <p:cNvSpPr>
                  <a:spLocks noChangeArrowheads="1"/>
                </p:cNvSpPr>
                <p:nvPr/>
              </p:nvSpPr>
              <p:spPr bwMode="auto">
                <a:xfrm rot="15772157">
                  <a:off x="8188752" y="2258212"/>
                  <a:ext cx="63039" cy="160334"/>
                </a:xfrm>
                <a:prstGeom prst="ellipse">
                  <a:avLst/>
                </a:prstGeom>
                <a:solidFill>
                  <a:srgbClr val="E2A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20" name="Group 19">
                <a:extLst>
                  <a:ext uri="{FF2B5EF4-FFF2-40B4-BE49-F238E27FC236}">
                    <a16:creationId xmlns:a16="http://schemas.microsoft.com/office/drawing/2014/main" id="{96DBF4A4-FA5F-4B5F-B4D4-DC2D43222BB6}"/>
                  </a:ext>
                </a:extLst>
              </p:cNvPr>
              <p:cNvGrpSpPr/>
              <p:nvPr/>
            </p:nvGrpSpPr>
            <p:grpSpPr>
              <a:xfrm rot="11576623">
                <a:off x="5318260" y="5018127"/>
                <a:ext cx="614395" cy="302314"/>
                <a:chOff x="7815272" y="2280892"/>
                <a:chExt cx="817760" cy="302314"/>
              </a:xfrm>
            </p:grpSpPr>
            <p:sp>
              <p:nvSpPr>
                <p:cNvPr id="237" name="Freeform 283">
                  <a:extLst>
                    <a:ext uri="{FF2B5EF4-FFF2-40B4-BE49-F238E27FC236}">
                      <a16:creationId xmlns:a16="http://schemas.microsoft.com/office/drawing/2014/main" id="{EA0CFC6F-8BEF-48EB-96C7-37C3286DEC1F}"/>
                    </a:ext>
                  </a:extLst>
                </p:cNvPr>
                <p:cNvSpPr>
                  <a:spLocks/>
                </p:cNvSpPr>
                <p:nvPr/>
              </p:nvSpPr>
              <p:spPr bwMode="auto">
                <a:xfrm rot="21172157">
                  <a:off x="7815272" y="2280892"/>
                  <a:ext cx="817760" cy="302314"/>
                </a:xfrm>
                <a:custGeom>
                  <a:avLst/>
                  <a:gdLst>
                    <a:gd name="T0" fmla="*/ 26 w 52"/>
                    <a:gd name="T1" fmla="*/ 4 h 51"/>
                    <a:gd name="T2" fmla="*/ 18 w 52"/>
                    <a:gd name="T3" fmla="*/ 10 h 51"/>
                    <a:gd name="T4" fmla="*/ 10 w 52"/>
                    <a:gd name="T5" fmla="*/ 12 h 51"/>
                    <a:gd name="T6" fmla="*/ 3 w 52"/>
                    <a:gd name="T7" fmla="*/ 25 h 51"/>
                    <a:gd name="T8" fmla="*/ 16 w 52"/>
                    <a:gd name="T9" fmla="*/ 37 h 51"/>
                    <a:gd name="T10" fmla="*/ 34 w 52"/>
                    <a:gd name="T11" fmla="*/ 45 h 51"/>
                    <a:gd name="T12" fmla="*/ 46 w 52"/>
                    <a:gd name="T13" fmla="*/ 36 h 51"/>
                    <a:gd name="T14" fmla="*/ 46 w 52"/>
                    <a:gd name="T15" fmla="*/ 17 h 51"/>
                    <a:gd name="T16" fmla="*/ 34 w 52"/>
                    <a:gd name="T17" fmla="*/ 5 h 51"/>
                    <a:gd name="T18" fmla="*/ 26 w 52"/>
                    <a:gd name="T19" fmla="*/ 4 h 51"/>
                    <a:gd name="connsiteX0" fmla="*/ 4531 w 11136"/>
                    <a:gd name="connsiteY0" fmla="*/ 500 h 9017"/>
                    <a:gd name="connsiteX1" fmla="*/ 2993 w 11136"/>
                    <a:gd name="connsiteY1" fmla="*/ 1677 h 9017"/>
                    <a:gd name="connsiteX2" fmla="*/ 1454 w 11136"/>
                    <a:gd name="connsiteY2" fmla="*/ 2069 h 9017"/>
                    <a:gd name="connsiteX3" fmla="*/ 108 w 11136"/>
                    <a:gd name="connsiteY3" fmla="*/ 4618 h 9017"/>
                    <a:gd name="connsiteX4" fmla="*/ 2608 w 11136"/>
                    <a:gd name="connsiteY4" fmla="*/ 6971 h 9017"/>
                    <a:gd name="connsiteX5" fmla="*/ 6069 w 11136"/>
                    <a:gd name="connsiteY5" fmla="*/ 8540 h 9017"/>
                    <a:gd name="connsiteX6" fmla="*/ 8377 w 11136"/>
                    <a:gd name="connsiteY6" fmla="*/ 6775 h 9017"/>
                    <a:gd name="connsiteX7" fmla="*/ 10903 w 11136"/>
                    <a:gd name="connsiteY7" fmla="*/ 2255 h 9017"/>
                    <a:gd name="connsiteX8" fmla="*/ 6069 w 11136"/>
                    <a:gd name="connsiteY8" fmla="*/ 696 h 9017"/>
                    <a:gd name="connsiteX9" fmla="*/ 4531 w 11136"/>
                    <a:gd name="connsiteY9" fmla="*/ 500 h 9017"/>
                    <a:gd name="connsiteX0" fmla="*/ 4069 w 10292"/>
                    <a:gd name="connsiteY0" fmla="*/ 555 h 10000"/>
                    <a:gd name="connsiteX1" fmla="*/ 2688 w 10292"/>
                    <a:gd name="connsiteY1" fmla="*/ 1860 h 10000"/>
                    <a:gd name="connsiteX2" fmla="*/ 1306 w 10292"/>
                    <a:gd name="connsiteY2" fmla="*/ 2295 h 10000"/>
                    <a:gd name="connsiteX3" fmla="*/ 97 w 10292"/>
                    <a:gd name="connsiteY3" fmla="*/ 5121 h 10000"/>
                    <a:gd name="connsiteX4" fmla="*/ 2342 w 10292"/>
                    <a:gd name="connsiteY4" fmla="*/ 7731 h 10000"/>
                    <a:gd name="connsiteX5" fmla="*/ 5450 w 10292"/>
                    <a:gd name="connsiteY5" fmla="*/ 9471 h 10000"/>
                    <a:gd name="connsiteX6" fmla="*/ 9790 w 10292"/>
                    <a:gd name="connsiteY6" fmla="*/ 7375 h 10000"/>
                    <a:gd name="connsiteX7" fmla="*/ 9791 w 10292"/>
                    <a:gd name="connsiteY7" fmla="*/ 2501 h 10000"/>
                    <a:gd name="connsiteX8" fmla="*/ 5450 w 10292"/>
                    <a:gd name="connsiteY8" fmla="*/ 772 h 10000"/>
                    <a:gd name="connsiteX9" fmla="*/ 4069 w 10292"/>
                    <a:gd name="connsiteY9" fmla="*/ 555 h 10000"/>
                    <a:gd name="connsiteX0" fmla="*/ 4069 w 10292"/>
                    <a:gd name="connsiteY0" fmla="*/ 555 h 9288"/>
                    <a:gd name="connsiteX1" fmla="*/ 2688 w 10292"/>
                    <a:gd name="connsiteY1" fmla="*/ 1860 h 9288"/>
                    <a:gd name="connsiteX2" fmla="*/ 1306 w 10292"/>
                    <a:gd name="connsiteY2" fmla="*/ 2295 h 9288"/>
                    <a:gd name="connsiteX3" fmla="*/ 97 w 10292"/>
                    <a:gd name="connsiteY3" fmla="*/ 5121 h 9288"/>
                    <a:gd name="connsiteX4" fmla="*/ 2342 w 10292"/>
                    <a:gd name="connsiteY4" fmla="*/ 7731 h 9288"/>
                    <a:gd name="connsiteX5" fmla="*/ 7309 w 10292"/>
                    <a:gd name="connsiteY5" fmla="*/ 8822 h 9288"/>
                    <a:gd name="connsiteX6" fmla="*/ 9790 w 10292"/>
                    <a:gd name="connsiteY6" fmla="*/ 7375 h 9288"/>
                    <a:gd name="connsiteX7" fmla="*/ 9791 w 10292"/>
                    <a:gd name="connsiteY7" fmla="*/ 2501 h 9288"/>
                    <a:gd name="connsiteX8" fmla="*/ 5450 w 10292"/>
                    <a:gd name="connsiteY8" fmla="*/ 772 h 9288"/>
                    <a:gd name="connsiteX9" fmla="*/ 4069 w 10292"/>
                    <a:gd name="connsiteY9" fmla="*/ 555 h 9288"/>
                    <a:gd name="connsiteX0" fmla="*/ 3974 w 10019"/>
                    <a:gd name="connsiteY0" fmla="*/ 598 h 9866"/>
                    <a:gd name="connsiteX1" fmla="*/ 2632 w 10019"/>
                    <a:gd name="connsiteY1" fmla="*/ 2003 h 9866"/>
                    <a:gd name="connsiteX2" fmla="*/ 1289 w 10019"/>
                    <a:gd name="connsiteY2" fmla="*/ 2471 h 9866"/>
                    <a:gd name="connsiteX3" fmla="*/ 114 w 10019"/>
                    <a:gd name="connsiteY3" fmla="*/ 5514 h 9866"/>
                    <a:gd name="connsiteX4" fmla="*/ 4716 w 10019"/>
                    <a:gd name="connsiteY4" fmla="*/ 7226 h 9866"/>
                    <a:gd name="connsiteX5" fmla="*/ 7122 w 10019"/>
                    <a:gd name="connsiteY5" fmla="*/ 9498 h 9866"/>
                    <a:gd name="connsiteX6" fmla="*/ 9532 w 10019"/>
                    <a:gd name="connsiteY6" fmla="*/ 7940 h 9866"/>
                    <a:gd name="connsiteX7" fmla="*/ 9533 w 10019"/>
                    <a:gd name="connsiteY7" fmla="*/ 2693 h 9866"/>
                    <a:gd name="connsiteX8" fmla="*/ 5315 w 10019"/>
                    <a:gd name="connsiteY8" fmla="*/ 831 h 9866"/>
                    <a:gd name="connsiteX9" fmla="*/ 3974 w 10019"/>
                    <a:gd name="connsiteY9" fmla="*/ 598 h 9866"/>
                    <a:gd name="connsiteX0" fmla="*/ 3432 w 9467"/>
                    <a:gd name="connsiteY0" fmla="*/ 606 h 12399"/>
                    <a:gd name="connsiteX1" fmla="*/ 2093 w 9467"/>
                    <a:gd name="connsiteY1" fmla="*/ 2030 h 12399"/>
                    <a:gd name="connsiteX2" fmla="*/ 753 w 9467"/>
                    <a:gd name="connsiteY2" fmla="*/ 2505 h 12399"/>
                    <a:gd name="connsiteX3" fmla="*/ 157 w 9467"/>
                    <a:gd name="connsiteY3" fmla="*/ 12318 h 12399"/>
                    <a:gd name="connsiteX4" fmla="*/ 4173 w 9467"/>
                    <a:gd name="connsiteY4" fmla="*/ 7324 h 12399"/>
                    <a:gd name="connsiteX5" fmla="*/ 6574 w 9467"/>
                    <a:gd name="connsiteY5" fmla="*/ 9627 h 12399"/>
                    <a:gd name="connsiteX6" fmla="*/ 8980 w 9467"/>
                    <a:gd name="connsiteY6" fmla="*/ 8048 h 12399"/>
                    <a:gd name="connsiteX7" fmla="*/ 8981 w 9467"/>
                    <a:gd name="connsiteY7" fmla="*/ 2730 h 12399"/>
                    <a:gd name="connsiteX8" fmla="*/ 4771 w 9467"/>
                    <a:gd name="connsiteY8" fmla="*/ 842 h 12399"/>
                    <a:gd name="connsiteX9" fmla="*/ 3432 w 9467"/>
                    <a:gd name="connsiteY9" fmla="*/ 606 h 12399"/>
                    <a:gd name="connsiteX0" fmla="*/ 5344 w 11719"/>
                    <a:gd name="connsiteY0" fmla="*/ 488 h 9962"/>
                    <a:gd name="connsiteX1" fmla="*/ 3930 w 11719"/>
                    <a:gd name="connsiteY1" fmla="*/ 1636 h 9962"/>
                    <a:gd name="connsiteX2" fmla="*/ 0 w 11719"/>
                    <a:gd name="connsiteY2" fmla="*/ 3447 h 9962"/>
                    <a:gd name="connsiteX3" fmla="*/ 1885 w 11719"/>
                    <a:gd name="connsiteY3" fmla="*/ 9934 h 9962"/>
                    <a:gd name="connsiteX4" fmla="*/ 6127 w 11719"/>
                    <a:gd name="connsiteY4" fmla="*/ 5906 h 9962"/>
                    <a:gd name="connsiteX5" fmla="*/ 8663 w 11719"/>
                    <a:gd name="connsiteY5" fmla="*/ 7763 h 9962"/>
                    <a:gd name="connsiteX6" fmla="*/ 11205 w 11719"/>
                    <a:gd name="connsiteY6" fmla="*/ 6490 h 9962"/>
                    <a:gd name="connsiteX7" fmla="*/ 11206 w 11719"/>
                    <a:gd name="connsiteY7" fmla="*/ 2201 h 9962"/>
                    <a:gd name="connsiteX8" fmla="*/ 6759 w 11719"/>
                    <a:gd name="connsiteY8" fmla="*/ 678 h 9962"/>
                    <a:gd name="connsiteX9" fmla="*/ 5344 w 11719"/>
                    <a:gd name="connsiteY9" fmla="*/ 488 h 9962"/>
                    <a:gd name="connsiteX0" fmla="*/ 4560 w 10000"/>
                    <a:gd name="connsiteY0" fmla="*/ 490 h 10000"/>
                    <a:gd name="connsiteX1" fmla="*/ 3354 w 10000"/>
                    <a:gd name="connsiteY1" fmla="*/ 1642 h 10000"/>
                    <a:gd name="connsiteX2" fmla="*/ 0 w 10000"/>
                    <a:gd name="connsiteY2" fmla="*/ 3460 h 10000"/>
                    <a:gd name="connsiteX3" fmla="*/ 1608 w 10000"/>
                    <a:gd name="connsiteY3" fmla="*/ 9972 h 10000"/>
                    <a:gd name="connsiteX4" fmla="*/ 5228 w 10000"/>
                    <a:gd name="connsiteY4" fmla="*/ 5929 h 10000"/>
                    <a:gd name="connsiteX5" fmla="*/ 7392 w 10000"/>
                    <a:gd name="connsiteY5" fmla="*/ 7793 h 10000"/>
                    <a:gd name="connsiteX6" fmla="*/ 9561 w 10000"/>
                    <a:gd name="connsiteY6" fmla="*/ 6515 h 10000"/>
                    <a:gd name="connsiteX7" fmla="*/ 9562 w 10000"/>
                    <a:gd name="connsiteY7" fmla="*/ 2209 h 10000"/>
                    <a:gd name="connsiteX8" fmla="*/ 5768 w 10000"/>
                    <a:gd name="connsiteY8" fmla="*/ 681 h 10000"/>
                    <a:gd name="connsiteX9" fmla="*/ 4560 w 10000"/>
                    <a:gd name="connsiteY9" fmla="*/ 490 h 10000"/>
                    <a:gd name="connsiteX0" fmla="*/ 4982 w 10422"/>
                    <a:gd name="connsiteY0" fmla="*/ 490 h 9973"/>
                    <a:gd name="connsiteX1" fmla="*/ 3776 w 10422"/>
                    <a:gd name="connsiteY1" fmla="*/ 1642 h 9973"/>
                    <a:gd name="connsiteX2" fmla="*/ 0 w 10422"/>
                    <a:gd name="connsiteY2" fmla="*/ 5385 h 9973"/>
                    <a:gd name="connsiteX3" fmla="*/ 2030 w 10422"/>
                    <a:gd name="connsiteY3" fmla="*/ 9972 h 9973"/>
                    <a:gd name="connsiteX4" fmla="*/ 5650 w 10422"/>
                    <a:gd name="connsiteY4" fmla="*/ 5929 h 9973"/>
                    <a:gd name="connsiteX5" fmla="*/ 7814 w 10422"/>
                    <a:gd name="connsiteY5" fmla="*/ 7793 h 9973"/>
                    <a:gd name="connsiteX6" fmla="*/ 9983 w 10422"/>
                    <a:gd name="connsiteY6" fmla="*/ 6515 h 9973"/>
                    <a:gd name="connsiteX7" fmla="*/ 9984 w 10422"/>
                    <a:gd name="connsiteY7" fmla="*/ 2209 h 9973"/>
                    <a:gd name="connsiteX8" fmla="*/ 6190 w 10422"/>
                    <a:gd name="connsiteY8" fmla="*/ 681 h 9973"/>
                    <a:gd name="connsiteX9" fmla="*/ 4982 w 10422"/>
                    <a:gd name="connsiteY9" fmla="*/ 490 h 9973"/>
                    <a:gd name="connsiteX0" fmla="*/ 4780 w 10000"/>
                    <a:gd name="connsiteY0" fmla="*/ 491 h 10000"/>
                    <a:gd name="connsiteX1" fmla="*/ 1159 w 10000"/>
                    <a:gd name="connsiteY1" fmla="*/ 1276 h 10000"/>
                    <a:gd name="connsiteX2" fmla="*/ 0 w 10000"/>
                    <a:gd name="connsiteY2" fmla="*/ 5400 h 10000"/>
                    <a:gd name="connsiteX3" fmla="*/ 1948 w 10000"/>
                    <a:gd name="connsiteY3" fmla="*/ 9999 h 10000"/>
                    <a:gd name="connsiteX4" fmla="*/ 5421 w 10000"/>
                    <a:gd name="connsiteY4" fmla="*/ 5945 h 10000"/>
                    <a:gd name="connsiteX5" fmla="*/ 7498 w 10000"/>
                    <a:gd name="connsiteY5" fmla="*/ 7814 h 10000"/>
                    <a:gd name="connsiteX6" fmla="*/ 9579 w 10000"/>
                    <a:gd name="connsiteY6" fmla="*/ 6533 h 10000"/>
                    <a:gd name="connsiteX7" fmla="*/ 9580 w 10000"/>
                    <a:gd name="connsiteY7" fmla="*/ 2215 h 10000"/>
                    <a:gd name="connsiteX8" fmla="*/ 5939 w 10000"/>
                    <a:gd name="connsiteY8" fmla="*/ 683 h 10000"/>
                    <a:gd name="connsiteX9" fmla="*/ 4780 w 10000"/>
                    <a:gd name="connsiteY9" fmla="*/ 491 h 10000"/>
                    <a:gd name="connsiteX0" fmla="*/ 4032 w 10000"/>
                    <a:gd name="connsiteY0" fmla="*/ 240 h 10817"/>
                    <a:gd name="connsiteX1" fmla="*/ 1159 w 10000"/>
                    <a:gd name="connsiteY1" fmla="*/ 2093 h 10817"/>
                    <a:gd name="connsiteX2" fmla="*/ 0 w 10000"/>
                    <a:gd name="connsiteY2" fmla="*/ 6217 h 10817"/>
                    <a:gd name="connsiteX3" fmla="*/ 1948 w 10000"/>
                    <a:gd name="connsiteY3" fmla="*/ 10816 h 10817"/>
                    <a:gd name="connsiteX4" fmla="*/ 5421 w 10000"/>
                    <a:gd name="connsiteY4" fmla="*/ 6762 h 10817"/>
                    <a:gd name="connsiteX5" fmla="*/ 7498 w 10000"/>
                    <a:gd name="connsiteY5" fmla="*/ 8631 h 10817"/>
                    <a:gd name="connsiteX6" fmla="*/ 9579 w 10000"/>
                    <a:gd name="connsiteY6" fmla="*/ 7350 h 10817"/>
                    <a:gd name="connsiteX7" fmla="*/ 9580 w 10000"/>
                    <a:gd name="connsiteY7" fmla="*/ 3032 h 10817"/>
                    <a:gd name="connsiteX8" fmla="*/ 5939 w 10000"/>
                    <a:gd name="connsiteY8" fmla="*/ 1500 h 10817"/>
                    <a:gd name="connsiteX9" fmla="*/ 4032 w 10000"/>
                    <a:gd name="connsiteY9" fmla="*/ 240 h 10817"/>
                    <a:gd name="connsiteX0" fmla="*/ 4032 w 10000"/>
                    <a:gd name="connsiteY0" fmla="*/ 507 h 11084"/>
                    <a:gd name="connsiteX1" fmla="*/ 1159 w 10000"/>
                    <a:gd name="connsiteY1" fmla="*/ 2360 h 11084"/>
                    <a:gd name="connsiteX2" fmla="*/ 0 w 10000"/>
                    <a:gd name="connsiteY2" fmla="*/ 6484 h 11084"/>
                    <a:gd name="connsiteX3" fmla="*/ 1948 w 10000"/>
                    <a:gd name="connsiteY3" fmla="*/ 11083 h 11084"/>
                    <a:gd name="connsiteX4" fmla="*/ 5421 w 10000"/>
                    <a:gd name="connsiteY4" fmla="*/ 7029 h 11084"/>
                    <a:gd name="connsiteX5" fmla="*/ 7498 w 10000"/>
                    <a:gd name="connsiteY5" fmla="*/ 8898 h 11084"/>
                    <a:gd name="connsiteX6" fmla="*/ 9579 w 10000"/>
                    <a:gd name="connsiteY6" fmla="*/ 7617 h 11084"/>
                    <a:gd name="connsiteX7" fmla="*/ 9580 w 10000"/>
                    <a:gd name="connsiteY7" fmla="*/ 3299 h 11084"/>
                    <a:gd name="connsiteX8" fmla="*/ 8340 w 10000"/>
                    <a:gd name="connsiteY8" fmla="*/ 658 h 11084"/>
                    <a:gd name="connsiteX9" fmla="*/ 4032 w 10000"/>
                    <a:gd name="connsiteY9" fmla="*/ 507 h 11084"/>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67"/>
                    <a:gd name="connsiteX1" fmla="*/ 1159 w 10000"/>
                    <a:gd name="connsiteY1" fmla="*/ 2309 h 11067"/>
                    <a:gd name="connsiteX2" fmla="*/ 0 w 10000"/>
                    <a:gd name="connsiteY2" fmla="*/ 6433 h 11067"/>
                    <a:gd name="connsiteX3" fmla="*/ 1948 w 10000"/>
                    <a:gd name="connsiteY3" fmla="*/ 11032 h 11067"/>
                    <a:gd name="connsiteX4" fmla="*/ 4641 w 10000"/>
                    <a:gd name="connsiteY4" fmla="*/ 8580 h 11067"/>
                    <a:gd name="connsiteX5" fmla="*/ 7498 w 10000"/>
                    <a:gd name="connsiteY5" fmla="*/ 8847 h 11067"/>
                    <a:gd name="connsiteX6" fmla="*/ 9579 w 10000"/>
                    <a:gd name="connsiteY6" fmla="*/ 7566 h 11067"/>
                    <a:gd name="connsiteX7" fmla="*/ 9580 w 10000"/>
                    <a:gd name="connsiteY7" fmla="*/ 3248 h 11067"/>
                    <a:gd name="connsiteX8" fmla="*/ 8340 w 10000"/>
                    <a:gd name="connsiteY8" fmla="*/ 607 h 11067"/>
                    <a:gd name="connsiteX9" fmla="*/ 4032 w 10000"/>
                    <a:gd name="connsiteY9" fmla="*/ 456 h 11067"/>
                    <a:gd name="connsiteX0" fmla="*/ 4032 w 10000"/>
                    <a:gd name="connsiteY0" fmla="*/ 456 h 11053"/>
                    <a:gd name="connsiteX1" fmla="*/ 1159 w 10000"/>
                    <a:gd name="connsiteY1" fmla="*/ 2309 h 11053"/>
                    <a:gd name="connsiteX2" fmla="*/ 0 w 10000"/>
                    <a:gd name="connsiteY2" fmla="*/ 6433 h 11053"/>
                    <a:gd name="connsiteX3" fmla="*/ 1948 w 10000"/>
                    <a:gd name="connsiteY3" fmla="*/ 11032 h 11053"/>
                    <a:gd name="connsiteX4" fmla="*/ 4641 w 10000"/>
                    <a:gd name="connsiteY4" fmla="*/ 8580 h 11053"/>
                    <a:gd name="connsiteX5" fmla="*/ 7498 w 10000"/>
                    <a:gd name="connsiteY5" fmla="*/ 8847 h 11053"/>
                    <a:gd name="connsiteX6" fmla="*/ 9579 w 10000"/>
                    <a:gd name="connsiteY6" fmla="*/ 7566 h 11053"/>
                    <a:gd name="connsiteX7" fmla="*/ 9580 w 10000"/>
                    <a:gd name="connsiteY7" fmla="*/ 3248 h 11053"/>
                    <a:gd name="connsiteX8" fmla="*/ 8340 w 10000"/>
                    <a:gd name="connsiteY8" fmla="*/ 607 h 11053"/>
                    <a:gd name="connsiteX9" fmla="*/ 4032 w 10000"/>
                    <a:gd name="connsiteY9" fmla="*/ 456 h 11053"/>
                    <a:gd name="connsiteX0" fmla="*/ 4032 w 10000"/>
                    <a:gd name="connsiteY0" fmla="*/ 456 h 11130"/>
                    <a:gd name="connsiteX1" fmla="*/ 1159 w 10000"/>
                    <a:gd name="connsiteY1" fmla="*/ 2309 h 11130"/>
                    <a:gd name="connsiteX2" fmla="*/ 0 w 10000"/>
                    <a:gd name="connsiteY2" fmla="*/ 6433 h 11130"/>
                    <a:gd name="connsiteX3" fmla="*/ 1948 w 10000"/>
                    <a:gd name="connsiteY3" fmla="*/ 11032 h 11130"/>
                    <a:gd name="connsiteX4" fmla="*/ 4641 w 10000"/>
                    <a:gd name="connsiteY4" fmla="*/ 8580 h 11130"/>
                    <a:gd name="connsiteX5" fmla="*/ 7498 w 10000"/>
                    <a:gd name="connsiteY5" fmla="*/ 8847 h 11130"/>
                    <a:gd name="connsiteX6" fmla="*/ 9579 w 10000"/>
                    <a:gd name="connsiteY6" fmla="*/ 7566 h 11130"/>
                    <a:gd name="connsiteX7" fmla="*/ 9580 w 10000"/>
                    <a:gd name="connsiteY7" fmla="*/ 3248 h 11130"/>
                    <a:gd name="connsiteX8" fmla="*/ 8340 w 10000"/>
                    <a:gd name="connsiteY8" fmla="*/ 607 h 11130"/>
                    <a:gd name="connsiteX9" fmla="*/ 4032 w 10000"/>
                    <a:gd name="connsiteY9" fmla="*/ 456 h 11130"/>
                    <a:gd name="connsiteX0" fmla="*/ 4662 w 10630"/>
                    <a:gd name="connsiteY0" fmla="*/ 456 h 11130"/>
                    <a:gd name="connsiteX1" fmla="*/ 1789 w 10630"/>
                    <a:gd name="connsiteY1" fmla="*/ 2309 h 11130"/>
                    <a:gd name="connsiteX2" fmla="*/ 630 w 10630"/>
                    <a:gd name="connsiteY2" fmla="*/ 6433 h 11130"/>
                    <a:gd name="connsiteX3" fmla="*/ 2578 w 10630"/>
                    <a:gd name="connsiteY3" fmla="*/ 11032 h 11130"/>
                    <a:gd name="connsiteX4" fmla="*/ 5271 w 10630"/>
                    <a:gd name="connsiteY4" fmla="*/ 8580 h 11130"/>
                    <a:gd name="connsiteX5" fmla="*/ 8128 w 10630"/>
                    <a:gd name="connsiteY5" fmla="*/ 8847 h 11130"/>
                    <a:gd name="connsiteX6" fmla="*/ 10209 w 10630"/>
                    <a:gd name="connsiteY6" fmla="*/ 7566 h 11130"/>
                    <a:gd name="connsiteX7" fmla="*/ 10210 w 10630"/>
                    <a:gd name="connsiteY7" fmla="*/ 3248 h 11130"/>
                    <a:gd name="connsiteX8" fmla="*/ 8970 w 10630"/>
                    <a:gd name="connsiteY8" fmla="*/ 607 h 11130"/>
                    <a:gd name="connsiteX9" fmla="*/ 4662 w 10630"/>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2836"/>
                    <a:gd name="connsiteX1" fmla="*/ 2266 w 11107"/>
                    <a:gd name="connsiteY1" fmla="*/ 2309 h 12836"/>
                    <a:gd name="connsiteX2" fmla="*/ 546 w 11107"/>
                    <a:gd name="connsiteY2" fmla="*/ 6228 h 12836"/>
                    <a:gd name="connsiteX3" fmla="*/ 3055 w 11107"/>
                    <a:gd name="connsiteY3" fmla="*/ 11032 h 12836"/>
                    <a:gd name="connsiteX4" fmla="*/ 5748 w 11107"/>
                    <a:gd name="connsiteY4" fmla="*/ 8580 h 12836"/>
                    <a:gd name="connsiteX5" fmla="*/ 8605 w 11107"/>
                    <a:gd name="connsiteY5" fmla="*/ 8847 h 12836"/>
                    <a:gd name="connsiteX6" fmla="*/ 10686 w 11107"/>
                    <a:gd name="connsiteY6" fmla="*/ 7566 h 12836"/>
                    <a:gd name="connsiteX7" fmla="*/ 10687 w 11107"/>
                    <a:gd name="connsiteY7" fmla="*/ 3248 h 12836"/>
                    <a:gd name="connsiteX8" fmla="*/ 9447 w 11107"/>
                    <a:gd name="connsiteY8" fmla="*/ 607 h 12836"/>
                    <a:gd name="connsiteX9" fmla="*/ 5139 w 11107"/>
                    <a:gd name="connsiteY9" fmla="*/ 456 h 12836"/>
                    <a:gd name="connsiteX0" fmla="*/ 5139 w 11107"/>
                    <a:gd name="connsiteY0" fmla="*/ 456 h 13188"/>
                    <a:gd name="connsiteX1" fmla="*/ 2266 w 11107"/>
                    <a:gd name="connsiteY1" fmla="*/ 2309 h 13188"/>
                    <a:gd name="connsiteX2" fmla="*/ 546 w 11107"/>
                    <a:gd name="connsiteY2" fmla="*/ 6228 h 13188"/>
                    <a:gd name="connsiteX3" fmla="*/ 3055 w 11107"/>
                    <a:gd name="connsiteY3" fmla="*/ 11032 h 13188"/>
                    <a:gd name="connsiteX4" fmla="*/ 5748 w 11107"/>
                    <a:gd name="connsiteY4" fmla="*/ 8580 h 13188"/>
                    <a:gd name="connsiteX5" fmla="*/ 8886 w 11107"/>
                    <a:gd name="connsiteY5" fmla="*/ 9792 h 13188"/>
                    <a:gd name="connsiteX6" fmla="*/ 10686 w 11107"/>
                    <a:gd name="connsiteY6" fmla="*/ 7566 h 13188"/>
                    <a:gd name="connsiteX7" fmla="*/ 10687 w 11107"/>
                    <a:gd name="connsiteY7" fmla="*/ 3248 h 13188"/>
                    <a:gd name="connsiteX8" fmla="*/ 9447 w 11107"/>
                    <a:gd name="connsiteY8" fmla="*/ 607 h 13188"/>
                    <a:gd name="connsiteX9" fmla="*/ 5139 w 11107"/>
                    <a:gd name="connsiteY9" fmla="*/ 456 h 13188"/>
                    <a:gd name="connsiteX0" fmla="*/ 5139 w 11107"/>
                    <a:gd name="connsiteY0" fmla="*/ 922 h 13654"/>
                    <a:gd name="connsiteX1" fmla="*/ 2266 w 11107"/>
                    <a:gd name="connsiteY1" fmla="*/ 2775 h 13654"/>
                    <a:gd name="connsiteX2" fmla="*/ 546 w 11107"/>
                    <a:gd name="connsiteY2" fmla="*/ 6694 h 13654"/>
                    <a:gd name="connsiteX3" fmla="*/ 3055 w 11107"/>
                    <a:gd name="connsiteY3" fmla="*/ 11498 h 13654"/>
                    <a:gd name="connsiteX4" fmla="*/ 5748 w 11107"/>
                    <a:gd name="connsiteY4" fmla="*/ 9046 h 13654"/>
                    <a:gd name="connsiteX5" fmla="*/ 8886 w 11107"/>
                    <a:gd name="connsiteY5" fmla="*/ 10258 h 13654"/>
                    <a:gd name="connsiteX6" fmla="*/ 10686 w 11107"/>
                    <a:gd name="connsiteY6" fmla="*/ 8032 h 13654"/>
                    <a:gd name="connsiteX7" fmla="*/ 10687 w 11107"/>
                    <a:gd name="connsiteY7" fmla="*/ 3714 h 13654"/>
                    <a:gd name="connsiteX8" fmla="*/ 9447 w 11107"/>
                    <a:gd name="connsiteY8" fmla="*/ 1073 h 13654"/>
                    <a:gd name="connsiteX9" fmla="*/ 5139 w 11107"/>
                    <a:gd name="connsiteY9" fmla="*/ 922 h 13654"/>
                    <a:gd name="connsiteX0" fmla="*/ 5139 w 11107"/>
                    <a:gd name="connsiteY0" fmla="*/ 1423 h 14155"/>
                    <a:gd name="connsiteX1" fmla="*/ 2266 w 11107"/>
                    <a:gd name="connsiteY1" fmla="*/ 3276 h 14155"/>
                    <a:gd name="connsiteX2" fmla="*/ 546 w 11107"/>
                    <a:gd name="connsiteY2" fmla="*/ 7195 h 14155"/>
                    <a:gd name="connsiteX3" fmla="*/ 3055 w 11107"/>
                    <a:gd name="connsiteY3" fmla="*/ 11999 h 14155"/>
                    <a:gd name="connsiteX4" fmla="*/ 5748 w 11107"/>
                    <a:gd name="connsiteY4" fmla="*/ 9547 h 14155"/>
                    <a:gd name="connsiteX5" fmla="*/ 8886 w 11107"/>
                    <a:gd name="connsiteY5" fmla="*/ 10759 h 14155"/>
                    <a:gd name="connsiteX6" fmla="*/ 10686 w 11107"/>
                    <a:gd name="connsiteY6" fmla="*/ 8533 h 14155"/>
                    <a:gd name="connsiteX7" fmla="*/ 10687 w 11107"/>
                    <a:gd name="connsiteY7" fmla="*/ 4215 h 14155"/>
                    <a:gd name="connsiteX8" fmla="*/ 9728 w 11107"/>
                    <a:gd name="connsiteY8" fmla="*/ 835 h 14155"/>
                    <a:gd name="connsiteX9" fmla="*/ 5139 w 11107"/>
                    <a:gd name="connsiteY9" fmla="*/ 1423 h 14155"/>
                    <a:gd name="connsiteX0" fmla="*/ 5139 w 12384"/>
                    <a:gd name="connsiteY0" fmla="*/ 1423 h 14155"/>
                    <a:gd name="connsiteX1" fmla="*/ 2266 w 12384"/>
                    <a:gd name="connsiteY1" fmla="*/ 3276 h 14155"/>
                    <a:gd name="connsiteX2" fmla="*/ 546 w 12384"/>
                    <a:gd name="connsiteY2" fmla="*/ 7195 h 14155"/>
                    <a:gd name="connsiteX3" fmla="*/ 3055 w 12384"/>
                    <a:gd name="connsiteY3" fmla="*/ 11999 h 14155"/>
                    <a:gd name="connsiteX4" fmla="*/ 5748 w 12384"/>
                    <a:gd name="connsiteY4" fmla="*/ 9547 h 14155"/>
                    <a:gd name="connsiteX5" fmla="*/ 8886 w 12384"/>
                    <a:gd name="connsiteY5" fmla="*/ 10759 h 14155"/>
                    <a:gd name="connsiteX6" fmla="*/ 10686 w 12384"/>
                    <a:gd name="connsiteY6" fmla="*/ 8533 h 14155"/>
                    <a:gd name="connsiteX7" fmla="*/ 12184 w 12384"/>
                    <a:gd name="connsiteY7" fmla="*/ 3927 h 14155"/>
                    <a:gd name="connsiteX8" fmla="*/ 9728 w 12384"/>
                    <a:gd name="connsiteY8" fmla="*/ 835 h 14155"/>
                    <a:gd name="connsiteX9" fmla="*/ 5139 w 12384"/>
                    <a:gd name="connsiteY9" fmla="*/ 1423 h 14155"/>
                    <a:gd name="connsiteX0" fmla="*/ 5139 w 12562"/>
                    <a:gd name="connsiteY0" fmla="*/ 1423 h 14155"/>
                    <a:gd name="connsiteX1" fmla="*/ 2266 w 12562"/>
                    <a:gd name="connsiteY1" fmla="*/ 3276 h 14155"/>
                    <a:gd name="connsiteX2" fmla="*/ 546 w 12562"/>
                    <a:gd name="connsiteY2" fmla="*/ 7195 h 14155"/>
                    <a:gd name="connsiteX3" fmla="*/ 3055 w 12562"/>
                    <a:gd name="connsiteY3" fmla="*/ 11999 h 14155"/>
                    <a:gd name="connsiteX4" fmla="*/ 5748 w 12562"/>
                    <a:gd name="connsiteY4" fmla="*/ 9547 h 14155"/>
                    <a:gd name="connsiteX5" fmla="*/ 8886 w 12562"/>
                    <a:gd name="connsiteY5" fmla="*/ 10759 h 14155"/>
                    <a:gd name="connsiteX6" fmla="*/ 12027 w 12562"/>
                    <a:gd name="connsiteY6" fmla="*/ 8163 h 14155"/>
                    <a:gd name="connsiteX7" fmla="*/ 12184 w 12562"/>
                    <a:gd name="connsiteY7" fmla="*/ 3927 h 14155"/>
                    <a:gd name="connsiteX8" fmla="*/ 9728 w 12562"/>
                    <a:gd name="connsiteY8" fmla="*/ 835 h 14155"/>
                    <a:gd name="connsiteX9" fmla="*/ 5139 w 12562"/>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53"/>
                    <a:gd name="connsiteY0" fmla="*/ 1423 h 14155"/>
                    <a:gd name="connsiteX1" fmla="*/ 2266 w 14753"/>
                    <a:gd name="connsiteY1" fmla="*/ 3276 h 14155"/>
                    <a:gd name="connsiteX2" fmla="*/ 546 w 14753"/>
                    <a:gd name="connsiteY2" fmla="*/ 7195 h 14155"/>
                    <a:gd name="connsiteX3" fmla="*/ 3055 w 14753"/>
                    <a:gd name="connsiteY3" fmla="*/ 11999 h 14155"/>
                    <a:gd name="connsiteX4" fmla="*/ 5748 w 14753"/>
                    <a:gd name="connsiteY4" fmla="*/ 9547 h 14155"/>
                    <a:gd name="connsiteX5" fmla="*/ 8886 w 14753"/>
                    <a:gd name="connsiteY5" fmla="*/ 10759 h 14155"/>
                    <a:gd name="connsiteX6" fmla="*/ 11965 w 14753"/>
                    <a:gd name="connsiteY6" fmla="*/ 8779 h 14155"/>
                    <a:gd name="connsiteX7" fmla="*/ 12184 w 14753"/>
                    <a:gd name="connsiteY7" fmla="*/ 3927 h 14155"/>
                    <a:gd name="connsiteX8" fmla="*/ 9728 w 14753"/>
                    <a:gd name="connsiteY8" fmla="*/ 835 h 14155"/>
                    <a:gd name="connsiteX9" fmla="*/ 5139 w 14753"/>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661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69"/>
                    <a:gd name="connsiteX1" fmla="*/ 2697 w 16991"/>
                    <a:gd name="connsiteY1" fmla="*/ 3276 h 14169"/>
                    <a:gd name="connsiteX2" fmla="*/ 1039 w 16991"/>
                    <a:gd name="connsiteY2" fmla="*/ 6661 h 14169"/>
                    <a:gd name="connsiteX3" fmla="*/ 2831 w 16991"/>
                    <a:gd name="connsiteY3" fmla="*/ 11547 h 14169"/>
                    <a:gd name="connsiteX4" fmla="*/ 6179 w 16991"/>
                    <a:gd name="connsiteY4" fmla="*/ 9547 h 14169"/>
                    <a:gd name="connsiteX5" fmla="*/ 9317 w 16991"/>
                    <a:gd name="connsiteY5" fmla="*/ 10759 h 14169"/>
                    <a:gd name="connsiteX6" fmla="*/ 12396 w 16991"/>
                    <a:gd name="connsiteY6" fmla="*/ 8779 h 14169"/>
                    <a:gd name="connsiteX7" fmla="*/ 12615 w 16991"/>
                    <a:gd name="connsiteY7" fmla="*/ 3927 h 14169"/>
                    <a:gd name="connsiteX8" fmla="*/ 10159 w 16991"/>
                    <a:gd name="connsiteY8" fmla="*/ 835 h 14169"/>
                    <a:gd name="connsiteX9" fmla="*/ 5570 w 16991"/>
                    <a:gd name="connsiteY9" fmla="*/ 1423 h 14169"/>
                    <a:gd name="connsiteX0" fmla="*/ 5570 w 16991"/>
                    <a:gd name="connsiteY0" fmla="*/ 1423 h 14319"/>
                    <a:gd name="connsiteX1" fmla="*/ 2697 w 16991"/>
                    <a:gd name="connsiteY1" fmla="*/ 3276 h 14319"/>
                    <a:gd name="connsiteX2" fmla="*/ 1039 w 16991"/>
                    <a:gd name="connsiteY2" fmla="*/ 6661 h 14319"/>
                    <a:gd name="connsiteX3" fmla="*/ 2831 w 16991"/>
                    <a:gd name="connsiteY3" fmla="*/ 11547 h 14319"/>
                    <a:gd name="connsiteX4" fmla="*/ 6241 w 16991"/>
                    <a:gd name="connsiteY4" fmla="*/ 10204 h 14319"/>
                    <a:gd name="connsiteX5" fmla="*/ 9317 w 16991"/>
                    <a:gd name="connsiteY5" fmla="*/ 10759 h 14319"/>
                    <a:gd name="connsiteX6" fmla="*/ 12396 w 16991"/>
                    <a:gd name="connsiteY6" fmla="*/ 8779 h 14319"/>
                    <a:gd name="connsiteX7" fmla="*/ 12615 w 16991"/>
                    <a:gd name="connsiteY7" fmla="*/ 3927 h 14319"/>
                    <a:gd name="connsiteX8" fmla="*/ 10159 w 16991"/>
                    <a:gd name="connsiteY8" fmla="*/ 835 h 14319"/>
                    <a:gd name="connsiteX9" fmla="*/ 5570 w 16991"/>
                    <a:gd name="connsiteY9" fmla="*/ 1423 h 14319"/>
                    <a:gd name="connsiteX0" fmla="*/ 5570 w 16991"/>
                    <a:gd name="connsiteY0" fmla="*/ 1423 h 14440"/>
                    <a:gd name="connsiteX1" fmla="*/ 2697 w 16991"/>
                    <a:gd name="connsiteY1" fmla="*/ 3276 h 14440"/>
                    <a:gd name="connsiteX2" fmla="*/ 1039 w 16991"/>
                    <a:gd name="connsiteY2" fmla="*/ 6661 h 14440"/>
                    <a:gd name="connsiteX3" fmla="*/ 2831 w 16991"/>
                    <a:gd name="connsiteY3" fmla="*/ 11547 h 14440"/>
                    <a:gd name="connsiteX4" fmla="*/ 6241 w 16991"/>
                    <a:gd name="connsiteY4" fmla="*/ 10204 h 14440"/>
                    <a:gd name="connsiteX5" fmla="*/ 9317 w 16991"/>
                    <a:gd name="connsiteY5" fmla="*/ 10759 h 14440"/>
                    <a:gd name="connsiteX6" fmla="*/ 12396 w 16991"/>
                    <a:gd name="connsiteY6" fmla="*/ 8779 h 14440"/>
                    <a:gd name="connsiteX7" fmla="*/ 12615 w 16991"/>
                    <a:gd name="connsiteY7" fmla="*/ 3927 h 14440"/>
                    <a:gd name="connsiteX8" fmla="*/ 10159 w 16991"/>
                    <a:gd name="connsiteY8" fmla="*/ 835 h 14440"/>
                    <a:gd name="connsiteX9" fmla="*/ 5570 w 16991"/>
                    <a:gd name="connsiteY9" fmla="*/ 1423 h 14440"/>
                    <a:gd name="connsiteX0" fmla="*/ 5570 w 16991"/>
                    <a:gd name="connsiteY0" fmla="*/ 1423 h 14549"/>
                    <a:gd name="connsiteX1" fmla="*/ 2697 w 16991"/>
                    <a:gd name="connsiteY1" fmla="*/ 3276 h 14549"/>
                    <a:gd name="connsiteX2" fmla="*/ 1039 w 16991"/>
                    <a:gd name="connsiteY2" fmla="*/ 6661 h 14549"/>
                    <a:gd name="connsiteX3" fmla="*/ 2831 w 16991"/>
                    <a:gd name="connsiteY3" fmla="*/ 11547 h 14549"/>
                    <a:gd name="connsiteX4" fmla="*/ 6241 w 16991"/>
                    <a:gd name="connsiteY4" fmla="*/ 10204 h 14549"/>
                    <a:gd name="connsiteX5" fmla="*/ 9317 w 16991"/>
                    <a:gd name="connsiteY5" fmla="*/ 10759 h 14549"/>
                    <a:gd name="connsiteX6" fmla="*/ 12396 w 16991"/>
                    <a:gd name="connsiteY6" fmla="*/ 8779 h 14549"/>
                    <a:gd name="connsiteX7" fmla="*/ 12615 w 16991"/>
                    <a:gd name="connsiteY7" fmla="*/ 3927 h 14549"/>
                    <a:gd name="connsiteX8" fmla="*/ 10159 w 16991"/>
                    <a:gd name="connsiteY8" fmla="*/ 835 h 14549"/>
                    <a:gd name="connsiteX9" fmla="*/ 5570 w 16991"/>
                    <a:gd name="connsiteY9" fmla="*/ 1423 h 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991" h="14549">
                      <a:moveTo>
                        <a:pt x="5570" y="1423"/>
                      </a:moveTo>
                      <a:cubicBezTo>
                        <a:pt x="5570" y="1423"/>
                        <a:pt x="3130" y="3084"/>
                        <a:pt x="2697" y="3276"/>
                      </a:cubicBezTo>
                      <a:cubicBezTo>
                        <a:pt x="2116" y="3276"/>
                        <a:pt x="-1842" y="6053"/>
                        <a:pt x="1039" y="6661"/>
                      </a:cubicBezTo>
                      <a:cubicBezTo>
                        <a:pt x="7088" y="4584"/>
                        <a:pt x="1964" y="10957"/>
                        <a:pt x="2831" y="11547"/>
                      </a:cubicBezTo>
                      <a:cubicBezTo>
                        <a:pt x="3698" y="12137"/>
                        <a:pt x="5378" y="9267"/>
                        <a:pt x="6241" y="10204"/>
                      </a:cubicBezTo>
                      <a:cubicBezTo>
                        <a:pt x="7104" y="11141"/>
                        <a:pt x="8518" y="19143"/>
                        <a:pt x="9317" y="10759"/>
                      </a:cubicBezTo>
                      <a:cubicBezTo>
                        <a:pt x="9836" y="7618"/>
                        <a:pt x="10455" y="8698"/>
                        <a:pt x="12396" y="8779"/>
                      </a:cubicBezTo>
                      <a:cubicBezTo>
                        <a:pt x="22146" y="14045"/>
                        <a:pt x="13484" y="5276"/>
                        <a:pt x="12615" y="3927"/>
                      </a:cubicBezTo>
                      <a:cubicBezTo>
                        <a:pt x="11601" y="2772"/>
                        <a:pt x="11853" y="1347"/>
                        <a:pt x="10159" y="835"/>
                      </a:cubicBezTo>
                      <a:cubicBezTo>
                        <a:pt x="8883" y="-1003"/>
                        <a:pt x="5715" y="652"/>
                        <a:pt x="5570" y="1423"/>
                      </a:cubicBezTo>
                      <a:close/>
                    </a:path>
                  </a:pathLst>
                </a:custGeom>
                <a:solidFill>
                  <a:srgbClr val="FFC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38" name="Oval 284">
                  <a:extLst>
                    <a:ext uri="{FF2B5EF4-FFF2-40B4-BE49-F238E27FC236}">
                      <a16:creationId xmlns:a16="http://schemas.microsoft.com/office/drawing/2014/main" id="{65E5629D-E5DC-4E03-911C-60D49E28B6EB}"/>
                    </a:ext>
                  </a:extLst>
                </p:cNvPr>
                <p:cNvSpPr>
                  <a:spLocks noChangeArrowheads="1"/>
                </p:cNvSpPr>
                <p:nvPr/>
              </p:nvSpPr>
              <p:spPr bwMode="auto">
                <a:xfrm rot="15772157">
                  <a:off x="8188752" y="2258212"/>
                  <a:ext cx="63039" cy="160334"/>
                </a:xfrm>
                <a:prstGeom prst="ellipse">
                  <a:avLst/>
                </a:prstGeom>
                <a:solidFill>
                  <a:srgbClr val="E2A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21" name="Group 20">
                <a:extLst>
                  <a:ext uri="{FF2B5EF4-FFF2-40B4-BE49-F238E27FC236}">
                    <a16:creationId xmlns:a16="http://schemas.microsoft.com/office/drawing/2014/main" id="{C8F1B20A-31DF-407A-AB12-81BCD610E522}"/>
                  </a:ext>
                </a:extLst>
              </p:cNvPr>
              <p:cNvGrpSpPr/>
              <p:nvPr/>
            </p:nvGrpSpPr>
            <p:grpSpPr>
              <a:xfrm rot="13697921">
                <a:off x="4583285" y="4587450"/>
                <a:ext cx="614395" cy="302314"/>
                <a:chOff x="7815272" y="2280892"/>
                <a:chExt cx="817760" cy="302314"/>
              </a:xfrm>
            </p:grpSpPr>
            <p:sp>
              <p:nvSpPr>
                <p:cNvPr id="235" name="Freeform 283">
                  <a:extLst>
                    <a:ext uri="{FF2B5EF4-FFF2-40B4-BE49-F238E27FC236}">
                      <a16:creationId xmlns:a16="http://schemas.microsoft.com/office/drawing/2014/main" id="{357AC691-E159-4EC5-8F49-43D92BA87C3D}"/>
                    </a:ext>
                  </a:extLst>
                </p:cNvPr>
                <p:cNvSpPr>
                  <a:spLocks/>
                </p:cNvSpPr>
                <p:nvPr/>
              </p:nvSpPr>
              <p:spPr bwMode="auto">
                <a:xfrm rot="21172157">
                  <a:off x="7815272" y="2280892"/>
                  <a:ext cx="817760" cy="302314"/>
                </a:xfrm>
                <a:custGeom>
                  <a:avLst/>
                  <a:gdLst>
                    <a:gd name="T0" fmla="*/ 26 w 52"/>
                    <a:gd name="T1" fmla="*/ 4 h 51"/>
                    <a:gd name="T2" fmla="*/ 18 w 52"/>
                    <a:gd name="T3" fmla="*/ 10 h 51"/>
                    <a:gd name="T4" fmla="*/ 10 w 52"/>
                    <a:gd name="T5" fmla="*/ 12 h 51"/>
                    <a:gd name="T6" fmla="*/ 3 w 52"/>
                    <a:gd name="T7" fmla="*/ 25 h 51"/>
                    <a:gd name="T8" fmla="*/ 16 w 52"/>
                    <a:gd name="T9" fmla="*/ 37 h 51"/>
                    <a:gd name="T10" fmla="*/ 34 w 52"/>
                    <a:gd name="T11" fmla="*/ 45 h 51"/>
                    <a:gd name="T12" fmla="*/ 46 w 52"/>
                    <a:gd name="T13" fmla="*/ 36 h 51"/>
                    <a:gd name="T14" fmla="*/ 46 w 52"/>
                    <a:gd name="T15" fmla="*/ 17 h 51"/>
                    <a:gd name="T16" fmla="*/ 34 w 52"/>
                    <a:gd name="T17" fmla="*/ 5 h 51"/>
                    <a:gd name="T18" fmla="*/ 26 w 52"/>
                    <a:gd name="T19" fmla="*/ 4 h 51"/>
                    <a:gd name="connsiteX0" fmla="*/ 4531 w 11136"/>
                    <a:gd name="connsiteY0" fmla="*/ 500 h 9017"/>
                    <a:gd name="connsiteX1" fmla="*/ 2993 w 11136"/>
                    <a:gd name="connsiteY1" fmla="*/ 1677 h 9017"/>
                    <a:gd name="connsiteX2" fmla="*/ 1454 w 11136"/>
                    <a:gd name="connsiteY2" fmla="*/ 2069 h 9017"/>
                    <a:gd name="connsiteX3" fmla="*/ 108 w 11136"/>
                    <a:gd name="connsiteY3" fmla="*/ 4618 h 9017"/>
                    <a:gd name="connsiteX4" fmla="*/ 2608 w 11136"/>
                    <a:gd name="connsiteY4" fmla="*/ 6971 h 9017"/>
                    <a:gd name="connsiteX5" fmla="*/ 6069 w 11136"/>
                    <a:gd name="connsiteY5" fmla="*/ 8540 h 9017"/>
                    <a:gd name="connsiteX6" fmla="*/ 8377 w 11136"/>
                    <a:gd name="connsiteY6" fmla="*/ 6775 h 9017"/>
                    <a:gd name="connsiteX7" fmla="*/ 10903 w 11136"/>
                    <a:gd name="connsiteY7" fmla="*/ 2255 h 9017"/>
                    <a:gd name="connsiteX8" fmla="*/ 6069 w 11136"/>
                    <a:gd name="connsiteY8" fmla="*/ 696 h 9017"/>
                    <a:gd name="connsiteX9" fmla="*/ 4531 w 11136"/>
                    <a:gd name="connsiteY9" fmla="*/ 500 h 9017"/>
                    <a:gd name="connsiteX0" fmla="*/ 4069 w 10292"/>
                    <a:gd name="connsiteY0" fmla="*/ 555 h 10000"/>
                    <a:gd name="connsiteX1" fmla="*/ 2688 w 10292"/>
                    <a:gd name="connsiteY1" fmla="*/ 1860 h 10000"/>
                    <a:gd name="connsiteX2" fmla="*/ 1306 w 10292"/>
                    <a:gd name="connsiteY2" fmla="*/ 2295 h 10000"/>
                    <a:gd name="connsiteX3" fmla="*/ 97 w 10292"/>
                    <a:gd name="connsiteY3" fmla="*/ 5121 h 10000"/>
                    <a:gd name="connsiteX4" fmla="*/ 2342 w 10292"/>
                    <a:gd name="connsiteY4" fmla="*/ 7731 h 10000"/>
                    <a:gd name="connsiteX5" fmla="*/ 5450 w 10292"/>
                    <a:gd name="connsiteY5" fmla="*/ 9471 h 10000"/>
                    <a:gd name="connsiteX6" fmla="*/ 9790 w 10292"/>
                    <a:gd name="connsiteY6" fmla="*/ 7375 h 10000"/>
                    <a:gd name="connsiteX7" fmla="*/ 9791 w 10292"/>
                    <a:gd name="connsiteY7" fmla="*/ 2501 h 10000"/>
                    <a:gd name="connsiteX8" fmla="*/ 5450 w 10292"/>
                    <a:gd name="connsiteY8" fmla="*/ 772 h 10000"/>
                    <a:gd name="connsiteX9" fmla="*/ 4069 w 10292"/>
                    <a:gd name="connsiteY9" fmla="*/ 555 h 10000"/>
                    <a:gd name="connsiteX0" fmla="*/ 4069 w 10292"/>
                    <a:gd name="connsiteY0" fmla="*/ 555 h 9288"/>
                    <a:gd name="connsiteX1" fmla="*/ 2688 w 10292"/>
                    <a:gd name="connsiteY1" fmla="*/ 1860 h 9288"/>
                    <a:gd name="connsiteX2" fmla="*/ 1306 w 10292"/>
                    <a:gd name="connsiteY2" fmla="*/ 2295 h 9288"/>
                    <a:gd name="connsiteX3" fmla="*/ 97 w 10292"/>
                    <a:gd name="connsiteY3" fmla="*/ 5121 h 9288"/>
                    <a:gd name="connsiteX4" fmla="*/ 2342 w 10292"/>
                    <a:gd name="connsiteY4" fmla="*/ 7731 h 9288"/>
                    <a:gd name="connsiteX5" fmla="*/ 7309 w 10292"/>
                    <a:gd name="connsiteY5" fmla="*/ 8822 h 9288"/>
                    <a:gd name="connsiteX6" fmla="*/ 9790 w 10292"/>
                    <a:gd name="connsiteY6" fmla="*/ 7375 h 9288"/>
                    <a:gd name="connsiteX7" fmla="*/ 9791 w 10292"/>
                    <a:gd name="connsiteY7" fmla="*/ 2501 h 9288"/>
                    <a:gd name="connsiteX8" fmla="*/ 5450 w 10292"/>
                    <a:gd name="connsiteY8" fmla="*/ 772 h 9288"/>
                    <a:gd name="connsiteX9" fmla="*/ 4069 w 10292"/>
                    <a:gd name="connsiteY9" fmla="*/ 555 h 9288"/>
                    <a:gd name="connsiteX0" fmla="*/ 3974 w 10019"/>
                    <a:gd name="connsiteY0" fmla="*/ 598 h 9866"/>
                    <a:gd name="connsiteX1" fmla="*/ 2632 w 10019"/>
                    <a:gd name="connsiteY1" fmla="*/ 2003 h 9866"/>
                    <a:gd name="connsiteX2" fmla="*/ 1289 w 10019"/>
                    <a:gd name="connsiteY2" fmla="*/ 2471 h 9866"/>
                    <a:gd name="connsiteX3" fmla="*/ 114 w 10019"/>
                    <a:gd name="connsiteY3" fmla="*/ 5514 h 9866"/>
                    <a:gd name="connsiteX4" fmla="*/ 4716 w 10019"/>
                    <a:gd name="connsiteY4" fmla="*/ 7226 h 9866"/>
                    <a:gd name="connsiteX5" fmla="*/ 7122 w 10019"/>
                    <a:gd name="connsiteY5" fmla="*/ 9498 h 9866"/>
                    <a:gd name="connsiteX6" fmla="*/ 9532 w 10019"/>
                    <a:gd name="connsiteY6" fmla="*/ 7940 h 9866"/>
                    <a:gd name="connsiteX7" fmla="*/ 9533 w 10019"/>
                    <a:gd name="connsiteY7" fmla="*/ 2693 h 9866"/>
                    <a:gd name="connsiteX8" fmla="*/ 5315 w 10019"/>
                    <a:gd name="connsiteY8" fmla="*/ 831 h 9866"/>
                    <a:gd name="connsiteX9" fmla="*/ 3974 w 10019"/>
                    <a:gd name="connsiteY9" fmla="*/ 598 h 9866"/>
                    <a:gd name="connsiteX0" fmla="*/ 3432 w 9467"/>
                    <a:gd name="connsiteY0" fmla="*/ 606 h 12399"/>
                    <a:gd name="connsiteX1" fmla="*/ 2093 w 9467"/>
                    <a:gd name="connsiteY1" fmla="*/ 2030 h 12399"/>
                    <a:gd name="connsiteX2" fmla="*/ 753 w 9467"/>
                    <a:gd name="connsiteY2" fmla="*/ 2505 h 12399"/>
                    <a:gd name="connsiteX3" fmla="*/ 157 w 9467"/>
                    <a:gd name="connsiteY3" fmla="*/ 12318 h 12399"/>
                    <a:gd name="connsiteX4" fmla="*/ 4173 w 9467"/>
                    <a:gd name="connsiteY4" fmla="*/ 7324 h 12399"/>
                    <a:gd name="connsiteX5" fmla="*/ 6574 w 9467"/>
                    <a:gd name="connsiteY5" fmla="*/ 9627 h 12399"/>
                    <a:gd name="connsiteX6" fmla="*/ 8980 w 9467"/>
                    <a:gd name="connsiteY6" fmla="*/ 8048 h 12399"/>
                    <a:gd name="connsiteX7" fmla="*/ 8981 w 9467"/>
                    <a:gd name="connsiteY7" fmla="*/ 2730 h 12399"/>
                    <a:gd name="connsiteX8" fmla="*/ 4771 w 9467"/>
                    <a:gd name="connsiteY8" fmla="*/ 842 h 12399"/>
                    <a:gd name="connsiteX9" fmla="*/ 3432 w 9467"/>
                    <a:gd name="connsiteY9" fmla="*/ 606 h 12399"/>
                    <a:gd name="connsiteX0" fmla="*/ 5344 w 11719"/>
                    <a:gd name="connsiteY0" fmla="*/ 488 h 9962"/>
                    <a:gd name="connsiteX1" fmla="*/ 3930 w 11719"/>
                    <a:gd name="connsiteY1" fmla="*/ 1636 h 9962"/>
                    <a:gd name="connsiteX2" fmla="*/ 0 w 11719"/>
                    <a:gd name="connsiteY2" fmla="*/ 3447 h 9962"/>
                    <a:gd name="connsiteX3" fmla="*/ 1885 w 11719"/>
                    <a:gd name="connsiteY3" fmla="*/ 9934 h 9962"/>
                    <a:gd name="connsiteX4" fmla="*/ 6127 w 11719"/>
                    <a:gd name="connsiteY4" fmla="*/ 5906 h 9962"/>
                    <a:gd name="connsiteX5" fmla="*/ 8663 w 11719"/>
                    <a:gd name="connsiteY5" fmla="*/ 7763 h 9962"/>
                    <a:gd name="connsiteX6" fmla="*/ 11205 w 11719"/>
                    <a:gd name="connsiteY6" fmla="*/ 6490 h 9962"/>
                    <a:gd name="connsiteX7" fmla="*/ 11206 w 11719"/>
                    <a:gd name="connsiteY7" fmla="*/ 2201 h 9962"/>
                    <a:gd name="connsiteX8" fmla="*/ 6759 w 11719"/>
                    <a:gd name="connsiteY8" fmla="*/ 678 h 9962"/>
                    <a:gd name="connsiteX9" fmla="*/ 5344 w 11719"/>
                    <a:gd name="connsiteY9" fmla="*/ 488 h 9962"/>
                    <a:gd name="connsiteX0" fmla="*/ 4560 w 10000"/>
                    <a:gd name="connsiteY0" fmla="*/ 490 h 10000"/>
                    <a:gd name="connsiteX1" fmla="*/ 3354 w 10000"/>
                    <a:gd name="connsiteY1" fmla="*/ 1642 h 10000"/>
                    <a:gd name="connsiteX2" fmla="*/ 0 w 10000"/>
                    <a:gd name="connsiteY2" fmla="*/ 3460 h 10000"/>
                    <a:gd name="connsiteX3" fmla="*/ 1608 w 10000"/>
                    <a:gd name="connsiteY3" fmla="*/ 9972 h 10000"/>
                    <a:gd name="connsiteX4" fmla="*/ 5228 w 10000"/>
                    <a:gd name="connsiteY4" fmla="*/ 5929 h 10000"/>
                    <a:gd name="connsiteX5" fmla="*/ 7392 w 10000"/>
                    <a:gd name="connsiteY5" fmla="*/ 7793 h 10000"/>
                    <a:gd name="connsiteX6" fmla="*/ 9561 w 10000"/>
                    <a:gd name="connsiteY6" fmla="*/ 6515 h 10000"/>
                    <a:gd name="connsiteX7" fmla="*/ 9562 w 10000"/>
                    <a:gd name="connsiteY7" fmla="*/ 2209 h 10000"/>
                    <a:gd name="connsiteX8" fmla="*/ 5768 w 10000"/>
                    <a:gd name="connsiteY8" fmla="*/ 681 h 10000"/>
                    <a:gd name="connsiteX9" fmla="*/ 4560 w 10000"/>
                    <a:gd name="connsiteY9" fmla="*/ 490 h 10000"/>
                    <a:gd name="connsiteX0" fmla="*/ 4982 w 10422"/>
                    <a:gd name="connsiteY0" fmla="*/ 490 h 9973"/>
                    <a:gd name="connsiteX1" fmla="*/ 3776 w 10422"/>
                    <a:gd name="connsiteY1" fmla="*/ 1642 h 9973"/>
                    <a:gd name="connsiteX2" fmla="*/ 0 w 10422"/>
                    <a:gd name="connsiteY2" fmla="*/ 5385 h 9973"/>
                    <a:gd name="connsiteX3" fmla="*/ 2030 w 10422"/>
                    <a:gd name="connsiteY3" fmla="*/ 9972 h 9973"/>
                    <a:gd name="connsiteX4" fmla="*/ 5650 w 10422"/>
                    <a:gd name="connsiteY4" fmla="*/ 5929 h 9973"/>
                    <a:gd name="connsiteX5" fmla="*/ 7814 w 10422"/>
                    <a:gd name="connsiteY5" fmla="*/ 7793 h 9973"/>
                    <a:gd name="connsiteX6" fmla="*/ 9983 w 10422"/>
                    <a:gd name="connsiteY6" fmla="*/ 6515 h 9973"/>
                    <a:gd name="connsiteX7" fmla="*/ 9984 w 10422"/>
                    <a:gd name="connsiteY7" fmla="*/ 2209 h 9973"/>
                    <a:gd name="connsiteX8" fmla="*/ 6190 w 10422"/>
                    <a:gd name="connsiteY8" fmla="*/ 681 h 9973"/>
                    <a:gd name="connsiteX9" fmla="*/ 4982 w 10422"/>
                    <a:gd name="connsiteY9" fmla="*/ 490 h 9973"/>
                    <a:gd name="connsiteX0" fmla="*/ 4780 w 10000"/>
                    <a:gd name="connsiteY0" fmla="*/ 491 h 10000"/>
                    <a:gd name="connsiteX1" fmla="*/ 1159 w 10000"/>
                    <a:gd name="connsiteY1" fmla="*/ 1276 h 10000"/>
                    <a:gd name="connsiteX2" fmla="*/ 0 w 10000"/>
                    <a:gd name="connsiteY2" fmla="*/ 5400 h 10000"/>
                    <a:gd name="connsiteX3" fmla="*/ 1948 w 10000"/>
                    <a:gd name="connsiteY3" fmla="*/ 9999 h 10000"/>
                    <a:gd name="connsiteX4" fmla="*/ 5421 w 10000"/>
                    <a:gd name="connsiteY4" fmla="*/ 5945 h 10000"/>
                    <a:gd name="connsiteX5" fmla="*/ 7498 w 10000"/>
                    <a:gd name="connsiteY5" fmla="*/ 7814 h 10000"/>
                    <a:gd name="connsiteX6" fmla="*/ 9579 w 10000"/>
                    <a:gd name="connsiteY6" fmla="*/ 6533 h 10000"/>
                    <a:gd name="connsiteX7" fmla="*/ 9580 w 10000"/>
                    <a:gd name="connsiteY7" fmla="*/ 2215 h 10000"/>
                    <a:gd name="connsiteX8" fmla="*/ 5939 w 10000"/>
                    <a:gd name="connsiteY8" fmla="*/ 683 h 10000"/>
                    <a:gd name="connsiteX9" fmla="*/ 4780 w 10000"/>
                    <a:gd name="connsiteY9" fmla="*/ 491 h 10000"/>
                    <a:gd name="connsiteX0" fmla="*/ 4032 w 10000"/>
                    <a:gd name="connsiteY0" fmla="*/ 240 h 10817"/>
                    <a:gd name="connsiteX1" fmla="*/ 1159 w 10000"/>
                    <a:gd name="connsiteY1" fmla="*/ 2093 h 10817"/>
                    <a:gd name="connsiteX2" fmla="*/ 0 w 10000"/>
                    <a:gd name="connsiteY2" fmla="*/ 6217 h 10817"/>
                    <a:gd name="connsiteX3" fmla="*/ 1948 w 10000"/>
                    <a:gd name="connsiteY3" fmla="*/ 10816 h 10817"/>
                    <a:gd name="connsiteX4" fmla="*/ 5421 w 10000"/>
                    <a:gd name="connsiteY4" fmla="*/ 6762 h 10817"/>
                    <a:gd name="connsiteX5" fmla="*/ 7498 w 10000"/>
                    <a:gd name="connsiteY5" fmla="*/ 8631 h 10817"/>
                    <a:gd name="connsiteX6" fmla="*/ 9579 w 10000"/>
                    <a:gd name="connsiteY6" fmla="*/ 7350 h 10817"/>
                    <a:gd name="connsiteX7" fmla="*/ 9580 w 10000"/>
                    <a:gd name="connsiteY7" fmla="*/ 3032 h 10817"/>
                    <a:gd name="connsiteX8" fmla="*/ 5939 w 10000"/>
                    <a:gd name="connsiteY8" fmla="*/ 1500 h 10817"/>
                    <a:gd name="connsiteX9" fmla="*/ 4032 w 10000"/>
                    <a:gd name="connsiteY9" fmla="*/ 240 h 10817"/>
                    <a:gd name="connsiteX0" fmla="*/ 4032 w 10000"/>
                    <a:gd name="connsiteY0" fmla="*/ 507 h 11084"/>
                    <a:gd name="connsiteX1" fmla="*/ 1159 w 10000"/>
                    <a:gd name="connsiteY1" fmla="*/ 2360 h 11084"/>
                    <a:gd name="connsiteX2" fmla="*/ 0 w 10000"/>
                    <a:gd name="connsiteY2" fmla="*/ 6484 h 11084"/>
                    <a:gd name="connsiteX3" fmla="*/ 1948 w 10000"/>
                    <a:gd name="connsiteY3" fmla="*/ 11083 h 11084"/>
                    <a:gd name="connsiteX4" fmla="*/ 5421 w 10000"/>
                    <a:gd name="connsiteY4" fmla="*/ 7029 h 11084"/>
                    <a:gd name="connsiteX5" fmla="*/ 7498 w 10000"/>
                    <a:gd name="connsiteY5" fmla="*/ 8898 h 11084"/>
                    <a:gd name="connsiteX6" fmla="*/ 9579 w 10000"/>
                    <a:gd name="connsiteY6" fmla="*/ 7617 h 11084"/>
                    <a:gd name="connsiteX7" fmla="*/ 9580 w 10000"/>
                    <a:gd name="connsiteY7" fmla="*/ 3299 h 11084"/>
                    <a:gd name="connsiteX8" fmla="*/ 8340 w 10000"/>
                    <a:gd name="connsiteY8" fmla="*/ 658 h 11084"/>
                    <a:gd name="connsiteX9" fmla="*/ 4032 w 10000"/>
                    <a:gd name="connsiteY9" fmla="*/ 507 h 11084"/>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67"/>
                    <a:gd name="connsiteX1" fmla="*/ 1159 w 10000"/>
                    <a:gd name="connsiteY1" fmla="*/ 2309 h 11067"/>
                    <a:gd name="connsiteX2" fmla="*/ 0 w 10000"/>
                    <a:gd name="connsiteY2" fmla="*/ 6433 h 11067"/>
                    <a:gd name="connsiteX3" fmla="*/ 1948 w 10000"/>
                    <a:gd name="connsiteY3" fmla="*/ 11032 h 11067"/>
                    <a:gd name="connsiteX4" fmla="*/ 4641 w 10000"/>
                    <a:gd name="connsiteY4" fmla="*/ 8580 h 11067"/>
                    <a:gd name="connsiteX5" fmla="*/ 7498 w 10000"/>
                    <a:gd name="connsiteY5" fmla="*/ 8847 h 11067"/>
                    <a:gd name="connsiteX6" fmla="*/ 9579 w 10000"/>
                    <a:gd name="connsiteY6" fmla="*/ 7566 h 11067"/>
                    <a:gd name="connsiteX7" fmla="*/ 9580 w 10000"/>
                    <a:gd name="connsiteY7" fmla="*/ 3248 h 11067"/>
                    <a:gd name="connsiteX8" fmla="*/ 8340 w 10000"/>
                    <a:gd name="connsiteY8" fmla="*/ 607 h 11067"/>
                    <a:gd name="connsiteX9" fmla="*/ 4032 w 10000"/>
                    <a:gd name="connsiteY9" fmla="*/ 456 h 11067"/>
                    <a:gd name="connsiteX0" fmla="*/ 4032 w 10000"/>
                    <a:gd name="connsiteY0" fmla="*/ 456 h 11053"/>
                    <a:gd name="connsiteX1" fmla="*/ 1159 w 10000"/>
                    <a:gd name="connsiteY1" fmla="*/ 2309 h 11053"/>
                    <a:gd name="connsiteX2" fmla="*/ 0 w 10000"/>
                    <a:gd name="connsiteY2" fmla="*/ 6433 h 11053"/>
                    <a:gd name="connsiteX3" fmla="*/ 1948 w 10000"/>
                    <a:gd name="connsiteY3" fmla="*/ 11032 h 11053"/>
                    <a:gd name="connsiteX4" fmla="*/ 4641 w 10000"/>
                    <a:gd name="connsiteY4" fmla="*/ 8580 h 11053"/>
                    <a:gd name="connsiteX5" fmla="*/ 7498 w 10000"/>
                    <a:gd name="connsiteY5" fmla="*/ 8847 h 11053"/>
                    <a:gd name="connsiteX6" fmla="*/ 9579 w 10000"/>
                    <a:gd name="connsiteY6" fmla="*/ 7566 h 11053"/>
                    <a:gd name="connsiteX7" fmla="*/ 9580 w 10000"/>
                    <a:gd name="connsiteY7" fmla="*/ 3248 h 11053"/>
                    <a:gd name="connsiteX8" fmla="*/ 8340 w 10000"/>
                    <a:gd name="connsiteY8" fmla="*/ 607 h 11053"/>
                    <a:gd name="connsiteX9" fmla="*/ 4032 w 10000"/>
                    <a:gd name="connsiteY9" fmla="*/ 456 h 11053"/>
                    <a:gd name="connsiteX0" fmla="*/ 4032 w 10000"/>
                    <a:gd name="connsiteY0" fmla="*/ 456 h 11130"/>
                    <a:gd name="connsiteX1" fmla="*/ 1159 w 10000"/>
                    <a:gd name="connsiteY1" fmla="*/ 2309 h 11130"/>
                    <a:gd name="connsiteX2" fmla="*/ 0 w 10000"/>
                    <a:gd name="connsiteY2" fmla="*/ 6433 h 11130"/>
                    <a:gd name="connsiteX3" fmla="*/ 1948 w 10000"/>
                    <a:gd name="connsiteY3" fmla="*/ 11032 h 11130"/>
                    <a:gd name="connsiteX4" fmla="*/ 4641 w 10000"/>
                    <a:gd name="connsiteY4" fmla="*/ 8580 h 11130"/>
                    <a:gd name="connsiteX5" fmla="*/ 7498 w 10000"/>
                    <a:gd name="connsiteY5" fmla="*/ 8847 h 11130"/>
                    <a:gd name="connsiteX6" fmla="*/ 9579 w 10000"/>
                    <a:gd name="connsiteY6" fmla="*/ 7566 h 11130"/>
                    <a:gd name="connsiteX7" fmla="*/ 9580 w 10000"/>
                    <a:gd name="connsiteY7" fmla="*/ 3248 h 11130"/>
                    <a:gd name="connsiteX8" fmla="*/ 8340 w 10000"/>
                    <a:gd name="connsiteY8" fmla="*/ 607 h 11130"/>
                    <a:gd name="connsiteX9" fmla="*/ 4032 w 10000"/>
                    <a:gd name="connsiteY9" fmla="*/ 456 h 11130"/>
                    <a:gd name="connsiteX0" fmla="*/ 4662 w 10630"/>
                    <a:gd name="connsiteY0" fmla="*/ 456 h 11130"/>
                    <a:gd name="connsiteX1" fmla="*/ 1789 w 10630"/>
                    <a:gd name="connsiteY1" fmla="*/ 2309 h 11130"/>
                    <a:gd name="connsiteX2" fmla="*/ 630 w 10630"/>
                    <a:gd name="connsiteY2" fmla="*/ 6433 h 11130"/>
                    <a:gd name="connsiteX3" fmla="*/ 2578 w 10630"/>
                    <a:gd name="connsiteY3" fmla="*/ 11032 h 11130"/>
                    <a:gd name="connsiteX4" fmla="*/ 5271 w 10630"/>
                    <a:gd name="connsiteY4" fmla="*/ 8580 h 11130"/>
                    <a:gd name="connsiteX5" fmla="*/ 8128 w 10630"/>
                    <a:gd name="connsiteY5" fmla="*/ 8847 h 11130"/>
                    <a:gd name="connsiteX6" fmla="*/ 10209 w 10630"/>
                    <a:gd name="connsiteY6" fmla="*/ 7566 h 11130"/>
                    <a:gd name="connsiteX7" fmla="*/ 10210 w 10630"/>
                    <a:gd name="connsiteY7" fmla="*/ 3248 h 11130"/>
                    <a:gd name="connsiteX8" fmla="*/ 8970 w 10630"/>
                    <a:gd name="connsiteY8" fmla="*/ 607 h 11130"/>
                    <a:gd name="connsiteX9" fmla="*/ 4662 w 10630"/>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2836"/>
                    <a:gd name="connsiteX1" fmla="*/ 2266 w 11107"/>
                    <a:gd name="connsiteY1" fmla="*/ 2309 h 12836"/>
                    <a:gd name="connsiteX2" fmla="*/ 546 w 11107"/>
                    <a:gd name="connsiteY2" fmla="*/ 6228 h 12836"/>
                    <a:gd name="connsiteX3" fmla="*/ 3055 w 11107"/>
                    <a:gd name="connsiteY3" fmla="*/ 11032 h 12836"/>
                    <a:gd name="connsiteX4" fmla="*/ 5748 w 11107"/>
                    <a:gd name="connsiteY4" fmla="*/ 8580 h 12836"/>
                    <a:gd name="connsiteX5" fmla="*/ 8605 w 11107"/>
                    <a:gd name="connsiteY5" fmla="*/ 8847 h 12836"/>
                    <a:gd name="connsiteX6" fmla="*/ 10686 w 11107"/>
                    <a:gd name="connsiteY6" fmla="*/ 7566 h 12836"/>
                    <a:gd name="connsiteX7" fmla="*/ 10687 w 11107"/>
                    <a:gd name="connsiteY7" fmla="*/ 3248 h 12836"/>
                    <a:gd name="connsiteX8" fmla="*/ 9447 w 11107"/>
                    <a:gd name="connsiteY8" fmla="*/ 607 h 12836"/>
                    <a:gd name="connsiteX9" fmla="*/ 5139 w 11107"/>
                    <a:gd name="connsiteY9" fmla="*/ 456 h 12836"/>
                    <a:gd name="connsiteX0" fmla="*/ 5139 w 11107"/>
                    <a:gd name="connsiteY0" fmla="*/ 456 h 13188"/>
                    <a:gd name="connsiteX1" fmla="*/ 2266 w 11107"/>
                    <a:gd name="connsiteY1" fmla="*/ 2309 h 13188"/>
                    <a:gd name="connsiteX2" fmla="*/ 546 w 11107"/>
                    <a:gd name="connsiteY2" fmla="*/ 6228 h 13188"/>
                    <a:gd name="connsiteX3" fmla="*/ 3055 w 11107"/>
                    <a:gd name="connsiteY3" fmla="*/ 11032 h 13188"/>
                    <a:gd name="connsiteX4" fmla="*/ 5748 w 11107"/>
                    <a:gd name="connsiteY4" fmla="*/ 8580 h 13188"/>
                    <a:gd name="connsiteX5" fmla="*/ 8886 w 11107"/>
                    <a:gd name="connsiteY5" fmla="*/ 9792 h 13188"/>
                    <a:gd name="connsiteX6" fmla="*/ 10686 w 11107"/>
                    <a:gd name="connsiteY6" fmla="*/ 7566 h 13188"/>
                    <a:gd name="connsiteX7" fmla="*/ 10687 w 11107"/>
                    <a:gd name="connsiteY7" fmla="*/ 3248 h 13188"/>
                    <a:gd name="connsiteX8" fmla="*/ 9447 w 11107"/>
                    <a:gd name="connsiteY8" fmla="*/ 607 h 13188"/>
                    <a:gd name="connsiteX9" fmla="*/ 5139 w 11107"/>
                    <a:gd name="connsiteY9" fmla="*/ 456 h 13188"/>
                    <a:gd name="connsiteX0" fmla="*/ 5139 w 11107"/>
                    <a:gd name="connsiteY0" fmla="*/ 922 h 13654"/>
                    <a:gd name="connsiteX1" fmla="*/ 2266 w 11107"/>
                    <a:gd name="connsiteY1" fmla="*/ 2775 h 13654"/>
                    <a:gd name="connsiteX2" fmla="*/ 546 w 11107"/>
                    <a:gd name="connsiteY2" fmla="*/ 6694 h 13654"/>
                    <a:gd name="connsiteX3" fmla="*/ 3055 w 11107"/>
                    <a:gd name="connsiteY3" fmla="*/ 11498 h 13654"/>
                    <a:gd name="connsiteX4" fmla="*/ 5748 w 11107"/>
                    <a:gd name="connsiteY4" fmla="*/ 9046 h 13654"/>
                    <a:gd name="connsiteX5" fmla="*/ 8886 w 11107"/>
                    <a:gd name="connsiteY5" fmla="*/ 10258 h 13654"/>
                    <a:gd name="connsiteX6" fmla="*/ 10686 w 11107"/>
                    <a:gd name="connsiteY6" fmla="*/ 8032 h 13654"/>
                    <a:gd name="connsiteX7" fmla="*/ 10687 w 11107"/>
                    <a:gd name="connsiteY7" fmla="*/ 3714 h 13654"/>
                    <a:gd name="connsiteX8" fmla="*/ 9447 w 11107"/>
                    <a:gd name="connsiteY8" fmla="*/ 1073 h 13654"/>
                    <a:gd name="connsiteX9" fmla="*/ 5139 w 11107"/>
                    <a:gd name="connsiteY9" fmla="*/ 922 h 13654"/>
                    <a:gd name="connsiteX0" fmla="*/ 5139 w 11107"/>
                    <a:gd name="connsiteY0" fmla="*/ 1423 h 14155"/>
                    <a:gd name="connsiteX1" fmla="*/ 2266 w 11107"/>
                    <a:gd name="connsiteY1" fmla="*/ 3276 h 14155"/>
                    <a:gd name="connsiteX2" fmla="*/ 546 w 11107"/>
                    <a:gd name="connsiteY2" fmla="*/ 7195 h 14155"/>
                    <a:gd name="connsiteX3" fmla="*/ 3055 w 11107"/>
                    <a:gd name="connsiteY3" fmla="*/ 11999 h 14155"/>
                    <a:gd name="connsiteX4" fmla="*/ 5748 w 11107"/>
                    <a:gd name="connsiteY4" fmla="*/ 9547 h 14155"/>
                    <a:gd name="connsiteX5" fmla="*/ 8886 w 11107"/>
                    <a:gd name="connsiteY5" fmla="*/ 10759 h 14155"/>
                    <a:gd name="connsiteX6" fmla="*/ 10686 w 11107"/>
                    <a:gd name="connsiteY6" fmla="*/ 8533 h 14155"/>
                    <a:gd name="connsiteX7" fmla="*/ 10687 w 11107"/>
                    <a:gd name="connsiteY7" fmla="*/ 4215 h 14155"/>
                    <a:gd name="connsiteX8" fmla="*/ 9728 w 11107"/>
                    <a:gd name="connsiteY8" fmla="*/ 835 h 14155"/>
                    <a:gd name="connsiteX9" fmla="*/ 5139 w 11107"/>
                    <a:gd name="connsiteY9" fmla="*/ 1423 h 14155"/>
                    <a:gd name="connsiteX0" fmla="*/ 5139 w 12384"/>
                    <a:gd name="connsiteY0" fmla="*/ 1423 h 14155"/>
                    <a:gd name="connsiteX1" fmla="*/ 2266 w 12384"/>
                    <a:gd name="connsiteY1" fmla="*/ 3276 h 14155"/>
                    <a:gd name="connsiteX2" fmla="*/ 546 w 12384"/>
                    <a:gd name="connsiteY2" fmla="*/ 7195 h 14155"/>
                    <a:gd name="connsiteX3" fmla="*/ 3055 w 12384"/>
                    <a:gd name="connsiteY3" fmla="*/ 11999 h 14155"/>
                    <a:gd name="connsiteX4" fmla="*/ 5748 w 12384"/>
                    <a:gd name="connsiteY4" fmla="*/ 9547 h 14155"/>
                    <a:gd name="connsiteX5" fmla="*/ 8886 w 12384"/>
                    <a:gd name="connsiteY5" fmla="*/ 10759 h 14155"/>
                    <a:gd name="connsiteX6" fmla="*/ 10686 w 12384"/>
                    <a:gd name="connsiteY6" fmla="*/ 8533 h 14155"/>
                    <a:gd name="connsiteX7" fmla="*/ 12184 w 12384"/>
                    <a:gd name="connsiteY7" fmla="*/ 3927 h 14155"/>
                    <a:gd name="connsiteX8" fmla="*/ 9728 w 12384"/>
                    <a:gd name="connsiteY8" fmla="*/ 835 h 14155"/>
                    <a:gd name="connsiteX9" fmla="*/ 5139 w 12384"/>
                    <a:gd name="connsiteY9" fmla="*/ 1423 h 14155"/>
                    <a:gd name="connsiteX0" fmla="*/ 5139 w 12562"/>
                    <a:gd name="connsiteY0" fmla="*/ 1423 h 14155"/>
                    <a:gd name="connsiteX1" fmla="*/ 2266 w 12562"/>
                    <a:gd name="connsiteY1" fmla="*/ 3276 h 14155"/>
                    <a:gd name="connsiteX2" fmla="*/ 546 w 12562"/>
                    <a:gd name="connsiteY2" fmla="*/ 7195 h 14155"/>
                    <a:gd name="connsiteX3" fmla="*/ 3055 w 12562"/>
                    <a:gd name="connsiteY3" fmla="*/ 11999 h 14155"/>
                    <a:gd name="connsiteX4" fmla="*/ 5748 w 12562"/>
                    <a:gd name="connsiteY4" fmla="*/ 9547 h 14155"/>
                    <a:gd name="connsiteX5" fmla="*/ 8886 w 12562"/>
                    <a:gd name="connsiteY5" fmla="*/ 10759 h 14155"/>
                    <a:gd name="connsiteX6" fmla="*/ 12027 w 12562"/>
                    <a:gd name="connsiteY6" fmla="*/ 8163 h 14155"/>
                    <a:gd name="connsiteX7" fmla="*/ 12184 w 12562"/>
                    <a:gd name="connsiteY7" fmla="*/ 3927 h 14155"/>
                    <a:gd name="connsiteX8" fmla="*/ 9728 w 12562"/>
                    <a:gd name="connsiteY8" fmla="*/ 835 h 14155"/>
                    <a:gd name="connsiteX9" fmla="*/ 5139 w 12562"/>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53"/>
                    <a:gd name="connsiteY0" fmla="*/ 1423 h 14155"/>
                    <a:gd name="connsiteX1" fmla="*/ 2266 w 14753"/>
                    <a:gd name="connsiteY1" fmla="*/ 3276 h 14155"/>
                    <a:gd name="connsiteX2" fmla="*/ 546 w 14753"/>
                    <a:gd name="connsiteY2" fmla="*/ 7195 h 14155"/>
                    <a:gd name="connsiteX3" fmla="*/ 3055 w 14753"/>
                    <a:gd name="connsiteY3" fmla="*/ 11999 h 14155"/>
                    <a:gd name="connsiteX4" fmla="*/ 5748 w 14753"/>
                    <a:gd name="connsiteY4" fmla="*/ 9547 h 14155"/>
                    <a:gd name="connsiteX5" fmla="*/ 8886 w 14753"/>
                    <a:gd name="connsiteY5" fmla="*/ 10759 h 14155"/>
                    <a:gd name="connsiteX6" fmla="*/ 11965 w 14753"/>
                    <a:gd name="connsiteY6" fmla="*/ 8779 h 14155"/>
                    <a:gd name="connsiteX7" fmla="*/ 12184 w 14753"/>
                    <a:gd name="connsiteY7" fmla="*/ 3927 h 14155"/>
                    <a:gd name="connsiteX8" fmla="*/ 9728 w 14753"/>
                    <a:gd name="connsiteY8" fmla="*/ 835 h 14155"/>
                    <a:gd name="connsiteX9" fmla="*/ 5139 w 14753"/>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661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69"/>
                    <a:gd name="connsiteX1" fmla="*/ 2697 w 16991"/>
                    <a:gd name="connsiteY1" fmla="*/ 3276 h 14169"/>
                    <a:gd name="connsiteX2" fmla="*/ 1039 w 16991"/>
                    <a:gd name="connsiteY2" fmla="*/ 6661 h 14169"/>
                    <a:gd name="connsiteX3" fmla="*/ 2831 w 16991"/>
                    <a:gd name="connsiteY3" fmla="*/ 11547 h 14169"/>
                    <a:gd name="connsiteX4" fmla="*/ 6179 w 16991"/>
                    <a:gd name="connsiteY4" fmla="*/ 9547 h 14169"/>
                    <a:gd name="connsiteX5" fmla="*/ 9317 w 16991"/>
                    <a:gd name="connsiteY5" fmla="*/ 10759 h 14169"/>
                    <a:gd name="connsiteX6" fmla="*/ 12396 w 16991"/>
                    <a:gd name="connsiteY6" fmla="*/ 8779 h 14169"/>
                    <a:gd name="connsiteX7" fmla="*/ 12615 w 16991"/>
                    <a:gd name="connsiteY7" fmla="*/ 3927 h 14169"/>
                    <a:gd name="connsiteX8" fmla="*/ 10159 w 16991"/>
                    <a:gd name="connsiteY8" fmla="*/ 835 h 14169"/>
                    <a:gd name="connsiteX9" fmla="*/ 5570 w 16991"/>
                    <a:gd name="connsiteY9" fmla="*/ 1423 h 14169"/>
                    <a:gd name="connsiteX0" fmla="*/ 5570 w 16991"/>
                    <a:gd name="connsiteY0" fmla="*/ 1423 h 14319"/>
                    <a:gd name="connsiteX1" fmla="*/ 2697 w 16991"/>
                    <a:gd name="connsiteY1" fmla="*/ 3276 h 14319"/>
                    <a:gd name="connsiteX2" fmla="*/ 1039 w 16991"/>
                    <a:gd name="connsiteY2" fmla="*/ 6661 h 14319"/>
                    <a:gd name="connsiteX3" fmla="*/ 2831 w 16991"/>
                    <a:gd name="connsiteY3" fmla="*/ 11547 h 14319"/>
                    <a:gd name="connsiteX4" fmla="*/ 6241 w 16991"/>
                    <a:gd name="connsiteY4" fmla="*/ 10204 h 14319"/>
                    <a:gd name="connsiteX5" fmla="*/ 9317 w 16991"/>
                    <a:gd name="connsiteY5" fmla="*/ 10759 h 14319"/>
                    <a:gd name="connsiteX6" fmla="*/ 12396 w 16991"/>
                    <a:gd name="connsiteY6" fmla="*/ 8779 h 14319"/>
                    <a:gd name="connsiteX7" fmla="*/ 12615 w 16991"/>
                    <a:gd name="connsiteY7" fmla="*/ 3927 h 14319"/>
                    <a:gd name="connsiteX8" fmla="*/ 10159 w 16991"/>
                    <a:gd name="connsiteY8" fmla="*/ 835 h 14319"/>
                    <a:gd name="connsiteX9" fmla="*/ 5570 w 16991"/>
                    <a:gd name="connsiteY9" fmla="*/ 1423 h 14319"/>
                    <a:gd name="connsiteX0" fmla="*/ 5570 w 16991"/>
                    <a:gd name="connsiteY0" fmla="*/ 1423 h 14440"/>
                    <a:gd name="connsiteX1" fmla="*/ 2697 w 16991"/>
                    <a:gd name="connsiteY1" fmla="*/ 3276 h 14440"/>
                    <a:gd name="connsiteX2" fmla="*/ 1039 w 16991"/>
                    <a:gd name="connsiteY2" fmla="*/ 6661 h 14440"/>
                    <a:gd name="connsiteX3" fmla="*/ 2831 w 16991"/>
                    <a:gd name="connsiteY3" fmla="*/ 11547 h 14440"/>
                    <a:gd name="connsiteX4" fmla="*/ 6241 w 16991"/>
                    <a:gd name="connsiteY4" fmla="*/ 10204 h 14440"/>
                    <a:gd name="connsiteX5" fmla="*/ 9317 w 16991"/>
                    <a:gd name="connsiteY5" fmla="*/ 10759 h 14440"/>
                    <a:gd name="connsiteX6" fmla="*/ 12396 w 16991"/>
                    <a:gd name="connsiteY6" fmla="*/ 8779 h 14440"/>
                    <a:gd name="connsiteX7" fmla="*/ 12615 w 16991"/>
                    <a:gd name="connsiteY7" fmla="*/ 3927 h 14440"/>
                    <a:gd name="connsiteX8" fmla="*/ 10159 w 16991"/>
                    <a:gd name="connsiteY8" fmla="*/ 835 h 14440"/>
                    <a:gd name="connsiteX9" fmla="*/ 5570 w 16991"/>
                    <a:gd name="connsiteY9" fmla="*/ 1423 h 14440"/>
                    <a:gd name="connsiteX0" fmla="*/ 5570 w 16991"/>
                    <a:gd name="connsiteY0" fmla="*/ 1423 h 14549"/>
                    <a:gd name="connsiteX1" fmla="*/ 2697 w 16991"/>
                    <a:gd name="connsiteY1" fmla="*/ 3276 h 14549"/>
                    <a:gd name="connsiteX2" fmla="*/ 1039 w 16991"/>
                    <a:gd name="connsiteY2" fmla="*/ 6661 h 14549"/>
                    <a:gd name="connsiteX3" fmla="*/ 2831 w 16991"/>
                    <a:gd name="connsiteY3" fmla="*/ 11547 h 14549"/>
                    <a:gd name="connsiteX4" fmla="*/ 6241 w 16991"/>
                    <a:gd name="connsiteY4" fmla="*/ 10204 h 14549"/>
                    <a:gd name="connsiteX5" fmla="*/ 9317 w 16991"/>
                    <a:gd name="connsiteY5" fmla="*/ 10759 h 14549"/>
                    <a:gd name="connsiteX6" fmla="*/ 12396 w 16991"/>
                    <a:gd name="connsiteY6" fmla="*/ 8779 h 14549"/>
                    <a:gd name="connsiteX7" fmla="*/ 12615 w 16991"/>
                    <a:gd name="connsiteY7" fmla="*/ 3927 h 14549"/>
                    <a:gd name="connsiteX8" fmla="*/ 10159 w 16991"/>
                    <a:gd name="connsiteY8" fmla="*/ 835 h 14549"/>
                    <a:gd name="connsiteX9" fmla="*/ 5570 w 16991"/>
                    <a:gd name="connsiteY9" fmla="*/ 1423 h 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991" h="14549">
                      <a:moveTo>
                        <a:pt x="5570" y="1423"/>
                      </a:moveTo>
                      <a:cubicBezTo>
                        <a:pt x="5570" y="1423"/>
                        <a:pt x="3130" y="3084"/>
                        <a:pt x="2697" y="3276"/>
                      </a:cubicBezTo>
                      <a:cubicBezTo>
                        <a:pt x="2116" y="3276"/>
                        <a:pt x="-1842" y="6053"/>
                        <a:pt x="1039" y="6661"/>
                      </a:cubicBezTo>
                      <a:cubicBezTo>
                        <a:pt x="7088" y="4584"/>
                        <a:pt x="1964" y="10957"/>
                        <a:pt x="2831" y="11547"/>
                      </a:cubicBezTo>
                      <a:cubicBezTo>
                        <a:pt x="3698" y="12137"/>
                        <a:pt x="5378" y="9267"/>
                        <a:pt x="6241" y="10204"/>
                      </a:cubicBezTo>
                      <a:cubicBezTo>
                        <a:pt x="7104" y="11141"/>
                        <a:pt x="8518" y="19143"/>
                        <a:pt x="9317" y="10759"/>
                      </a:cubicBezTo>
                      <a:cubicBezTo>
                        <a:pt x="9836" y="7618"/>
                        <a:pt x="10455" y="8698"/>
                        <a:pt x="12396" y="8779"/>
                      </a:cubicBezTo>
                      <a:cubicBezTo>
                        <a:pt x="22146" y="14045"/>
                        <a:pt x="13484" y="5276"/>
                        <a:pt x="12615" y="3927"/>
                      </a:cubicBezTo>
                      <a:cubicBezTo>
                        <a:pt x="11601" y="2772"/>
                        <a:pt x="11853" y="1347"/>
                        <a:pt x="10159" y="835"/>
                      </a:cubicBezTo>
                      <a:cubicBezTo>
                        <a:pt x="8883" y="-1003"/>
                        <a:pt x="5715" y="652"/>
                        <a:pt x="5570" y="1423"/>
                      </a:cubicBezTo>
                      <a:close/>
                    </a:path>
                  </a:pathLst>
                </a:custGeom>
                <a:solidFill>
                  <a:srgbClr val="FFC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36" name="Oval 284">
                  <a:extLst>
                    <a:ext uri="{FF2B5EF4-FFF2-40B4-BE49-F238E27FC236}">
                      <a16:creationId xmlns:a16="http://schemas.microsoft.com/office/drawing/2014/main" id="{1CB40B8C-82FF-43A8-9E2E-A26BA49E315B}"/>
                    </a:ext>
                  </a:extLst>
                </p:cNvPr>
                <p:cNvSpPr>
                  <a:spLocks noChangeArrowheads="1"/>
                </p:cNvSpPr>
                <p:nvPr/>
              </p:nvSpPr>
              <p:spPr bwMode="auto">
                <a:xfrm rot="15772157">
                  <a:off x="8188752" y="2258212"/>
                  <a:ext cx="63039" cy="160334"/>
                </a:xfrm>
                <a:prstGeom prst="ellipse">
                  <a:avLst/>
                </a:prstGeom>
                <a:solidFill>
                  <a:srgbClr val="E2A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22" name="Group 21">
                <a:extLst>
                  <a:ext uri="{FF2B5EF4-FFF2-40B4-BE49-F238E27FC236}">
                    <a16:creationId xmlns:a16="http://schemas.microsoft.com/office/drawing/2014/main" id="{327DCFB1-5412-4E51-992B-EA318A85B076}"/>
                  </a:ext>
                </a:extLst>
              </p:cNvPr>
              <p:cNvGrpSpPr/>
              <p:nvPr/>
            </p:nvGrpSpPr>
            <p:grpSpPr>
              <a:xfrm rot="15400128">
                <a:off x="4186978" y="4039108"/>
                <a:ext cx="614395" cy="302314"/>
                <a:chOff x="7815272" y="2280892"/>
                <a:chExt cx="817760" cy="302314"/>
              </a:xfrm>
            </p:grpSpPr>
            <p:sp>
              <p:nvSpPr>
                <p:cNvPr id="233" name="Freeform 283">
                  <a:extLst>
                    <a:ext uri="{FF2B5EF4-FFF2-40B4-BE49-F238E27FC236}">
                      <a16:creationId xmlns:a16="http://schemas.microsoft.com/office/drawing/2014/main" id="{9C434306-3A48-43B7-A58D-17716AC816A8}"/>
                    </a:ext>
                  </a:extLst>
                </p:cNvPr>
                <p:cNvSpPr>
                  <a:spLocks/>
                </p:cNvSpPr>
                <p:nvPr/>
              </p:nvSpPr>
              <p:spPr bwMode="auto">
                <a:xfrm rot="21172157">
                  <a:off x="7815272" y="2280892"/>
                  <a:ext cx="817760" cy="302314"/>
                </a:xfrm>
                <a:custGeom>
                  <a:avLst/>
                  <a:gdLst>
                    <a:gd name="T0" fmla="*/ 26 w 52"/>
                    <a:gd name="T1" fmla="*/ 4 h 51"/>
                    <a:gd name="T2" fmla="*/ 18 w 52"/>
                    <a:gd name="T3" fmla="*/ 10 h 51"/>
                    <a:gd name="T4" fmla="*/ 10 w 52"/>
                    <a:gd name="T5" fmla="*/ 12 h 51"/>
                    <a:gd name="T6" fmla="*/ 3 w 52"/>
                    <a:gd name="T7" fmla="*/ 25 h 51"/>
                    <a:gd name="T8" fmla="*/ 16 w 52"/>
                    <a:gd name="T9" fmla="*/ 37 h 51"/>
                    <a:gd name="T10" fmla="*/ 34 w 52"/>
                    <a:gd name="T11" fmla="*/ 45 h 51"/>
                    <a:gd name="T12" fmla="*/ 46 w 52"/>
                    <a:gd name="T13" fmla="*/ 36 h 51"/>
                    <a:gd name="T14" fmla="*/ 46 w 52"/>
                    <a:gd name="T15" fmla="*/ 17 h 51"/>
                    <a:gd name="T16" fmla="*/ 34 w 52"/>
                    <a:gd name="T17" fmla="*/ 5 h 51"/>
                    <a:gd name="T18" fmla="*/ 26 w 52"/>
                    <a:gd name="T19" fmla="*/ 4 h 51"/>
                    <a:gd name="connsiteX0" fmla="*/ 4531 w 11136"/>
                    <a:gd name="connsiteY0" fmla="*/ 500 h 9017"/>
                    <a:gd name="connsiteX1" fmla="*/ 2993 w 11136"/>
                    <a:gd name="connsiteY1" fmla="*/ 1677 h 9017"/>
                    <a:gd name="connsiteX2" fmla="*/ 1454 w 11136"/>
                    <a:gd name="connsiteY2" fmla="*/ 2069 h 9017"/>
                    <a:gd name="connsiteX3" fmla="*/ 108 w 11136"/>
                    <a:gd name="connsiteY3" fmla="*/ 4618 h 9017"/>
                    <a:gd name="connsiteX4" fmla="*/ 2608 w 11136"/>
                    <a:gd name="connsiteY4" fmla="*/ 6971 h 9017"/>
                    <a:gd name="connsiteX5" fmla="*/ 6069 w 11136"/>
                    <a:gd name="connsiteY5" fmla="*/ 8540 h 9017"/>
                    <a:gd name="connsiteX6" fmla="*/ 8377 w 11136"/>
                    <a:gd name="connsiteY6" fmla="*/ 6775 h 9017"/>
                    <a:gd name="connsiteX7" fmla="*/ 10903 w 11136"/>
                    <a:gd name="connsiteY7" fmla="*/ 2255 h 9017"/>
                    <a:gd name="connsiteX8" fmla="*/ 6069 w 11136"/>
                    <a:gd name="connsiteY8" fmla="*/ 696 h 9017"/>
                    <a:gd name="connsiteX9" fmla="*/ 4531 w 11136"/>
                    <a:gd name="connsiteY9" fmla="*/ 500 h 9017"/>
                    <a:gd name="connsiteX0" fmla="*/ 4069 w 10292"/>
                    <a:gd name="connsiteY0" fmla="*/ 555 h 10000"/>
                    <a:gd name="connsiteX1" fmla="*/ 2688 w 10292"/>
                    <a:gd name="connsiteY1" fmla="*/ 1860 h 10000"/>
                    <a:gd name="connsiteX2" fmla="*/ 1306 w 10292"/>
                    <a:gd name="connsiteY2" fmla="*/ 2295 h 10000"/>
                    <a:gd name="connsiteX3" fmla="*/ 97 w 10292"/>
                    <a:gd name="connsiteY3" fmla="*/ 5121 h 10000"/>
                    <a:gd name="connsiteX4" fmla="*/ 2342 w 10292"/>
                    <a:gd name="connsiteY4" fmla="*/ 7731 h 10000"/>
                    <a:gd name="connsiteX5" fmla="*/ 5450 w 10292"/>
                    <a:gd name="connsiteY5" fmla="*/ 9471 h 10000"/>
                    <a:gd name="connsiteX6" fmla="*/ 9790 w 10292"/>
                    <a:gd name="connsiteY6" fmla="*/ 7375 h 10000"/>
                    <a:gd name="connsiteX7" fmla="*/ 9791 w 10292"/>
                    <a:gd name="connsiteY7" fmla="*/ 2501 h 10000"/>
                    <a:gd name="connsiteX8" fmla="*/ 5450 w 10292"/>
                    <a:gd name="connsiteY8" fmla="*/ 772 h 10000"/>
                    <a:gd name="connsiteX9" fmla="*/ 4069 w 10292"/>
                    <a:gd name="connsiteY9" fmla="*/ 555 h 10000"/>
                    <a:gd name="connsiteX0" fmla="*/ 4069 w 10292"/>
                    <a:gd name="connsiteY0" fmla="*/ 555 h 9288"/>
                    <a:gd name="connsiteX1" fmla="*/ 2688 w 10292"/>
                    <a:gd name="connsiteY1" fmla="*/ 1860 h 9288"/>
                    <a:gd name="connsiteX2" fmla="*/ 1306 w 10292"/>
                    <a:gd name="connsiteY2" fmla="*/ 2295 h 9288"/>
                    <a:gd name="connsiteX3" fmla="*/ 97 w 10292"/>
                    <a:gd name="connsiteY3" fmla="*/ 5121 h 9288"/>
                    <a:gd name="connsiteX4" fmla="*/ 2342 w 10292"/>
                    <a:gd name="connsiteY4" fmla="*/ 7731 h 9288"/>
                    <a:gd name="connsiteX5" fmla="*/ 7309 w 10292"/>
                    <a:gd name="connsiteY5" fmla="*/ 8822 h 9288"/>
                    <a:gd name="connsiteX6" fmla="*/ 9790 w 10292"/>
                    <a:gd name="connsiteY6" fmla="*/ 7375 h 9288"/>
                    <a:gd name="connsiteX7" fmla="*/ 9791 w 10292"/>
                    <a:gd name="connsiteY7" fmla="*/ 2501 h 9288"/>
                    <a:gd name="connsiteX8" fmla="*/ 5450 w 10292"/>
                    <a:gd name="connsiteY8" fmla="*/ 772 h 9288"/>
                    <a:gd name="connsiteX9" fmla="*/ 4069 w 10292"/>
                    <a:gd name="connsiteY9" fmla="*/ 555 h 9288"/>
                    <a:gd name="connsiteX0" fmla="*/ 3974 w 10019"/>
                    <a:gd name="connsiteY0" fmla="*/ 598 h 9866"/>
                    <a:gd name="connsiteX1" fmla="*/ 2632 w 10019"/>
                    <a:gd name="connsiteY1" fmla="*/ 2003 h 9866"/>
                    <a:gd name="connsiteX2" fmla="*/ 1289 w 10019"/>
                    <a:gd name="connsiteY2" fmla="*/ 2471 h 9866"/>
                    <a:gd name="connsiteX3" fmla="*/ 114 w 10019"/>
                    <a:gd name="connsiteY3" fmla="*/ 5514 h 9866"/>
                    <a:gd name="connsiteX4" fmla="*/ 4716 w 10019"/>
                    <a:gd name="connsiteY4" fmla="*/ 7226 h 9866"/>
                    <a:gd name="connsiteX5" fmla="*/ 7122 w 10019"/>
                    <a:gd name="connsiteY5" fmla="*/ 9498 h 9866"/>
                    <a:gd name="connsiteX6" fmla="*/ 9532 w 10019"/>
                    <a:gd name="connsiteY6" fmla="*/ 7940 h 9866"/>
                    <a:gd name="connsiteX7" fmla="*/ 9533 w 10019"/>
                    <a:gd name="connsiteY7" fmla="*/ 2693 h 9866"/>
                    <a:gd name="connsiteX8" fmla="*/ 5315 w 10019"/>
                    <a:gd name="connsiteY8" fmla="*/ 831 h 9866"/>
                    <a:gd name="connsiteX9" fmla="*/ 3974 w 10019"/>
                    <a:gd name="connsiteY9" fmla="*/ 598 h 9866"/>
                    <a:gd name="connsiteX0" fmla="*/ 3432 w 9467"/>
                    <a:gd name="connsiteY0" fmla="*/ 606 h 12399"/>
                    <a:gd name="connsiteX1" fmla="*/ 2093 w 9467"/>
                    <a:gd name="connsiteY1" fmla="*/ 2030 h 12399"/>
                    <a:gd name="connsiteX2" fmla="*/ 753 w 9467"/>
                    <a:gd name="connsiteY2" fmla="*/ 2505 h 12399"/>
                    <a:gd name="connsiteX3" fmla="*/ 157 w 9467"/>
                    <a:gd name="connsiteY3" fmla="*/ 12318 h 12399"/>
                    <a:gd name="connsiteX4" fmla="*/ 4173 w 9467"/>
                    <a:gd name="connsiteY4" fmla="*/ 7324 h 12399"/>
                    <a:gd name="connsiteX5" fmla="*/ 6574 w 9467"/>
                    <a:gd name="connsiteY5" fmla="*/ 9627 h 12399"/>
                    <a:gd name="connsiteX6" fmla="*/ 8980 w 9467"/>
                    <a:gd name="connsiteY6" fmla="*/ 8048 h 12399"/>
                    <a:gd name="connsiteX7" fmla="*/ 8981 w 9467"/>
                    <a:gd name="connsiteY7" fmla="*/ 2730 h 12399"/>
                    <a:gd name="connsiteX8" fmla="*/ 4771 w 9467"/>
                    <a:gd name="connsiteY8" fmla="*/ 842 h 12399"/>
                    <a:gd name="connsiteX9" fmla="*/ 3432 w 9467"/>
                    <a:gd name="connsiteY9" fmla="*/ 606 h 12399"/>
                    <a:gd name="connsiteX0" fmla="*/ 5344 w 11719"/>
                    <a:gd name="connsiteY0" fmla="*/ 488 h 9962"/>
                    <a:gd name="connsiteX1" fmla="*/ 3930 w 11719"/>
                    <a:gd name="connsiteY1" fmla="*/ 1636 h 9962"/>
                    <a:gd name="connsiteX2" fmla="*/ 0 w 11719"/>
                    <a:gd name="connsiteY2" fmla="*/ 3447 h 9962"/>
                    <a:gd name="connsiteX3" fmla="*/ 1885 w 11719"/>
                    <a:gd name="connsiteY3" fmla="*/ 9934 h 9962"/>
                    <a:gd name="connsiteX4" fmla="*/ 6127 w 11719"/>
                    <a:gd name="connsiteY4" fmla="*/ 5906 h 9962"/>
                    <a:gd name="connsiteX5" fmla="*/ 8663 w 11719"/>
                    <a:gd name="connsiteY5" fmla="*/ 7763 h 9962"/>
                    <a:gd name="connsiteX6" fmla="*/ 11205 w 11719"/>
                    <a:gd name="connsiteY6" fmla="*/ 6490 h 9962"/>
                    <a:gd name="connsiteX7" fmla="*/ 11206 w 11719"/>
                    <a:gd name="connsiteY7" fmla="*/ 2201 h 9962"/>
                    <a:gd name="connsiteX8" fmla="*/ 6759 w 11719"/>
                    <a:gd name="connsiteY8" fmla="*/ 678 h 9962"/>
                    <a:gd name="connsiteX9" fmla="*/ 5344 w 11719"/>
                    <a:gd name="connsiteY9" fmla="*/ 488 h 9962"/>
                    <a:gd name="connsiteX0" fmla="*/ 4560 w 10000"/>
                    <a:gd name="connsiteY0" fmla="*/ 490 h 10000"/>
                    <a:gd name="connsiteX1" fmla="*/ 3354 w 10000"/>
                    <a:gd name="connsiteY1" fmla="*/ 1642 h 10000"/>
                    <a:gd name="connsiteX2" fmla="*/ 0 w 10000"/>
                    <a:gd name="connsiteY2" fmla="*/ 3460 h 10000"/>
                    <a:gd name="connsiteX3" fmla="*/ 1608 w 10000"/>
                    <a:gd name="connsiteY3" fmla="*/ 9972 h 10000"/>
                    <a:gd name="connsiteX4" fmla="*/ 5228 w 10000"/>
                    <a:gd name="connsiteY4" fmla="*/ 5929 h 10000"/>
                    <a:gd name="connsiteX5" fmla="*/ 7392 w 10000"/>
                    <a:gd name="connsiteY5" fmla="*/ 7793 h 10000"/>
                    <a:gd name="connsiteX6" fmla="*/ 9561 w 10000"/>
                    <a:gd name="connsiteY6" fmla="*/ 6515 h 10000"/>
                    <a:gd name="connsiteX7" fmla="*/ 9562 w 10000"/>
                    <a:gd name="connsiteY7" fmla="*/ 2209 h 10000"/>
                    <a:gd name="connsiteX8" fmla="*/ 5768 w 10000"/>
                    <a:gd name="connsiteY8" fmla="*/ 681 h 10000"/>
                    <a:gd name="connsiteX9" fmla="*/ 4560 w 10000"/>
                    <a:gd name="connsiteY9" fmla="*/ 490 h 10000"/>
                    <a:gd name="connsiteX0" fmla="*/ 4982 w 10422"/>
                    <a:gd name="connsiteY0" fmla="*/ 490 h 9973"/>
                    <a:gd name="connsiteX1" fmla="*/ 3776 w 10422"/>
                    <a:gd name="connsiteY1" fmla="*/ 1642 h 9973"/>
                    <a:gd name="connsiteX2" fmla="*/ 0 w 10422"/>
                    <a:gd name="connsiteY2" fmla="*/ 5385 h 9973"/>
                    <a:gd name="connsiteX3" fmla="*/ 2030 w 10422"/>
                    <a:gd name="connsiteY3" fmla="*/ 9972 h 9973"/>
                    <a:gd name="connsiteX4" fmla="*/ 5650 w 10422"/>
                    <a:gd name="connsiteY4" fmla="*/ 5929 h 9973"/>
                    <a:gd name="connsiteX5" fmla="*/ 7814 w 10422"/>
                    <a:gd name="connsiteY5" fmla="*/ 7793 h 9973"/>
                    <a:gd name="connsiteX6" fmla="*/ 9983 w 10422"/>
                    <a:gd name="connsiteY6" fmla="*/ 6515 h 9973"/>
                    <a:gd name="connsiteX7" fmla="*/ 9984 w 10422"/>
                    <a:gd name="connsiteY7" fmla="*/ 2209 h 9973"/>
                    <a:gd name="connsiteX8" fmla="*/ 6190 w 10422"/>
                    <a:gd name="connsiteY8" fmla="*/ 681 h 9973"/>
                    <a:gd name="connsiteX9" fmla="*/ 4982 w 10422"/>
                    <a:gd name="connsiteY9" fmla="*/ 490 h 9973"/>
                    <a:gd name="connsiteX0" fmla="*/ 4780 w 10000"/>
                    <a:gd name="connsiteY0" fmla="*/ 491 h 10000"/>
                    <a:gd name="connsiteX1" fmla="*/ 1159 w 10000"/>
                    <a:gd name="connsiteY1" fmla="*/ 1276 h 10000"/>
                    <a:gd name="connsiteX2" fmla="*/ 0 w 10000"/>
                    <a:gd name="connsiteY2" fmla="*/ 5400 h 10000"/>
                    <a:gd name="connsiteX3" fmla="*/ 1948 w 10000"/>
                    <a:gd name="connsiteY3" fmla="*/ 9999 h 10000"/>
                    <a:gd name="connsiteX4" fmla="*/ 5421 w 10000"/>
                    <a:gd name="connsiteY4" fmla="*/ 5945 h 10000"/>
                    <a:gd name="connsiteX5" fmla="*/ 7498 w 10000"/>
                    <a:gd name="connsiteY5" fmla="*/ 7814 h 10000"/>
                    <a:gd name="connsiteX6" fmla="*/ 9579 w 10000"/>
                    <a:gd name="connsiteY6" fmla="*/ 6533 h 10000"/>
                    <a:gd name="connsiteX7" fmla="*/ 9580 w 10000"/>
                    <a:gd name="connsiteY7" fmla="*/ 2215 h 10000"/>
                    <a:gd name="connsiteX8" fmla="*/ 5939 w 10000"/>
                    <a:gd name="connsiteY8" fmla="*/ 683 h 10000"/>
                    <a:gd name="connsiteX9" fmla="*/ 4780 w 10000"/>
                    <a:gd name="connsiteY9" fmla="*/ 491 h 10000"/>
                    <a:gd name="connsiteX0" fmla="*/ 4032 w 10000"/>
                    <a:gd name="connsiteY0" fmla="*/ 240 h 10817"/>
                    <a:gd name="connsiteX1" fmla="*/ 1159 w 10000"/>
                    <a:gd name="connsiteY1" fmla="*/ 2093 h 10817"/>
                    <a:gd name="connsiteX2" fmla="*/ 0 w 10000"/>
                    <a:gd name="connsiteY2" fmla="*/ 6217 h 10817"/>
                    <a:gd name="connsiteX3" fmla="*/ 1948 w 10000"/>
                    <a:gd name="connsiteY3" fmla="*/ 10816 h 10817"/>
                    <a:gd name="connsiteX4" fmla="*/ 5421 w 10000"/>
                    <a:gd name="connsiteY4" fmla="*/ 6762 h 10817"/>
                    <a:gd name="connsiteX5" fmla="*/ 7498 w 10000"/>
                    <a:gd name="connsiteY5" fmla="*/ 8631 h 10817"/>
                    <a:gd name="connsiteX6" fmla="*/ 9579 w 10000"/>
                    <a:gd name="connsiteY6" fmla="*/ 7350 h 10817"/>
                    <a:gd name="connsiteX7" fmla="*/ 9580 w 10000"/>
                    <a:gd name="connsiteY7" fmla="*/ 3032 h 10817"/>
                    <a:gd name="connsiteX8" fmla="*/ 5939 w 10000"/>
                    <a:gd name="connsiteY8" fmla="*/ 1500 h 10817"/>
                    <a:gd name="connsiteX9" fmla="*/ 4032 w 10000"/>
                    <a:gd name="connsiteY9" fmla="*/ 240 h 10817"/>
                    <a:gd name="connsiteX0" fmla="*/ 4032 w 10000"/>
                    <a:gd name="connsiteY0" fmla="*/ 507 h 11084"/>
                    <a:gd name="connsiteX1" fmla="*/ 1159 w 10000"/>
                    <a:gd name="connsiteY1" fmla="*/ 2360 h 11084"/>
                    <a:gd name="connsiteX2" fmla="*/ 0 w 10000"/>
                    <a:gd name="connsiteY2" fmla="*/ 6484 h 11084"/>
                    <a:gd name="connsiteX3" fmla="*/ 1948 w 10000"/>
                    <a:gd name="connsiteY3" fmla="*/ 11083 h 11084"/>
                    <a:gd name="connsiteX4" fmla="*/ 5421 w 10000"/>
                    <a:gd name="connsiteY4" fmla="*/ 7029 h 11084"/>
                    <a:gd name="connsiteX5" fmla="*/ 7498 w 10000"/>
                    <a:gd name="connsiteY5" fmla="*/ 8898 h 11084"/>
                    <a:gd name="connsiteX6" fmla="*/ 9579 w 10000"/>
                    <a:gd name="connsiteY6" fmla="*/ 7617 h 11084"/>
                    <a:gd name="connsiteX7" fmla="*/ 9580 w 10000"/>
                    <a:gd name="connsiteY7" fmla="*/ 3299 h 11084"/>
                    <a:gd name="connsiteX8" fmla="*/ 8340 w 10000"/>
                    <a:gd name="connsiteY8" fmla="*/ 658 h 11084"/>
                    <a:gd name="connsiteX9" fmla="*/ 4032 w 10000"/>
                    <a:gd name="connsiteY9" fmla="*/ 507 h 11084"/>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33"/>
                    <a:gd name="connsiteX1" fmla="*/ 1159 w 10000"/>
                    <a:gd name="connsiteY1" fmla="*/ 2309 h 11033"/>
                    <a:gd name="connsiteX2" fmla="*/ 0 w 10000"/>
                    <a:gd name="connsiteY2" fmla="*/ 6433 h 11033"/>
                    <a:gd name="connsiteX3" fmla="*/ 1948 w 10000"/>
                    <a:gd name="connsiteY3" fmla="*/ 11032 h 11033"/>
                    <a:gd name="connsiteX4" fmla="*/ 5421 w 10000"/>
                    <a:gd name="connsiteY4" fmla="*/ 6978 h 11033"/>
                    <a:gd name="connsiteX5" fmla="*/ 7498 w 10000"/>
                    <a:gd name="connsiteY5" fmla="*/ 8847 h 11033"/>
                    <a:gd name="connsiteX6" fmla="*/ 9579 w 10000"/>
                    <a:gd name="connsiteY6" fmla="*/ 7566 h 11033"/>
                    <a:gd name="connsiteX7" fmla="*/ 9580 w 10000"/>
                    <a:gd name="connsiteY7" fmla="*/ 3248 h 11033"/>
                    <a:gd name="connsiteX8" fmla="*/ 8340 w 10000"/>
                    <a:gd name="connsiteY8" fmla="*/ 607 h 11033"/>
                    <a:gd name="connsiteX9" fmla="*/ 4032 w 10000"/>
                    <a:gd name="connsiteY9" fmla="*/ 456 h 11033"/>
                    <a:gd name="connsiteX0" fmla="*/ 4032 w 10000"/>
                    <a:gd name="connsiteY0" fmla="*/ 456 h 11067"/>
                    <a:gd name="connsiteX1" fmla="*/ 1159 w 10000"/>
                    <a:gd name="connsiteY1" fmla="*/ 2309 h 11067"/>
                    <a:gd name="connsiteX2" fmla="*/ 0 w 10000"/>
                    <a:gd name="connsiteY2" fmla="*/ 6433 h 11067"/>
                    <a:gd name="connsiteX3" fmla="*/ 1948 w 10000"/>
                    <a:gd name="connsiteY3" fmla="*/ 11032 h 11067"/>
                    <a:gd name="connsiteX4" fmla="*/ 4641 w 10000"/>
                    <a:gd name="connsiteY4" fmla="*/ 8580 h 11067"/>
                    <a:gd name="connsiteX5" fmla="*/ 7498 w 10000"/>
                    <a:gd name="connsiteY5" fmla="*/ 8847 h 11067"/>
                    <a:gd name="connsiteX6" fmla="*/ 9579 w 10000"/>
                    <a:gd name="connsiteY6" fmla="*/ 7566 h 11067"/>
                    <a:gd name="connsiteX7" fmla="*/ 9580 w 10000"/>
                    <a:gd name="connsiteY7" fmla="*/ 3248 h 11067"/>
                    <a:gd name="connsiteX8" fmla="*/ 8340 w 10000"/>
                    <a:gd name="connsiteY8" fmla="*/ 607 h 11067"/>
                    <a:gd name="connsiteX9" fmla="*/ 4032 w 10000"/>
                    <a:gd name="connsiteY9" fmla="*/ 456 h 11067"/>
                    <a:gd name="connsiteX0" fmla="*/ 4032 w 10000"/>
                    <a:gd name="connsiteY0" fmla="*/ 456 h 11053"/>
                    <a:gd name="connsiteX1" fmla="*/ 1159 w 10000"/>
                    <a:gd name="connsiteY1" fmla="*/ 2309 h 11053"/>
                    <a:gd name="connsiteX2" fmla="*/ 0 w 10000"/>
                    <a:gd name="connsiteY2" fmla="*/ 6433 h 11053"/>
                    <a:gd name="connsiteX3" fmla="*/ 1948 w 10000"/>
                    <a:gd name="connsiteY3" fmla="*/ 11032 h 11053"/>
                    <a:gd name="connsiteX4" fmla="*/ 4641 w 10000"/>
                    <a:gd name="connsiteY4" fmla="*/ 8580 h 11053"/>
                    <a:gd name="connsiteX5" fmla="*/ 7498 w 10000"/>
                    <a:gd name="connsiteY5" fmla="*/ 8847 h 11053"/>
                    <a:gd name="connsiteX6" fmla="*/ 9579 w 10000"/>
                    <a:gd name="connsiteY6" fmla="*/ 7566 h 11053"/>
                    <a:gd name="connsiteX7" fmla="*/ 9580 w 10000"/>
                    <a:gd name="connsiteY7" fmla="*/ 3248 h 11053"/>
                    <a:gd name="connsiteX8" fmla="*/ 8340 w 10000"/>
                    <a:gd name="connsiteY8" fmla="*/ 607 h 11053"/>
                    <a:gd name="connsiteX9" fmla="*/ 4032 w 10000"/>
                    <a:gd name="connsiteY9" fmla="*/ 456 h 11053"/>
                    <a:gd name="connsiteX0" fmla="*/ 4032 w 10000"/>
                    <a:gd name="connsiteY0" fmla="*/ 456 h 11130"/>
                    <a:gd name="connsiteX1" fmla="*/ 1159 w 10000"/>
                    <a:gd name="connsiteY1" fmla="*/ 2309 h 11130"/>
                    <a:gd name="connsiteX2" fmla="*/ 0 w 10000"/>
                    <a:gd name="connsiteY2" fmla="*/ 6433 h 11130"/>
                    <a:gd name="connsiteX3" fmla="*/ 1948 w 10000"/>
                    <a:gd name="connsiteY3" fmla="*/ 11032 h 11130"/>
                    <a:gd name="connsiteX4" fmla="*/ 4641 w 10000"/>
                    <a:gd name="connsiteY4" fmla="*/ 8580 h 11130"/>
                    <a:gd name="connsiteX5" fmla="*/ 7498 w 10000"/>
                    <a:gd name="connsiteY5" fmla="*/ 8847 h 11130"/>
                    <a:gd name="connsiteX6" fmla="*/ 9579 w 10000"/>
                    <a:gd name="connsiteY6" fmla="*/ 7566 h 11130"/>
                    <a:gd name="connsiteX7" fmla="*/ 9580 w 10000"/>
                    <a:gd name="connsiteY7" fmla="*/ 3248 h 11130"/>
                    <a:gd name="connsiteX8" fmla="*/ 8340 w 10000"/>
                    <a:gd name="connsiteY8" fmla="*/ 607 h 11130"/>
                    <a:gd name="connsiteX9" fmla="*/ 4032 w 10000"/>
                    <a:gd name="connsiteY9" fmla="*/ 456 h 11130"/>
                    <a:gd name="connsiteX0" fmla="*/ 4662 w 10630"/>
                    <a:gd name="connsiteY0" fmla="*/ 456 h 11130"/>
                    <a:gd name="connsiteX1" fmla="*/ 1789 w 10630"/>
                    <a:gd name="connsiteY1" fmla="*/ 2309 h 11130"/>
                    <a:gd name="connsiteX2" fmla="*/ 630 w 10630"/>
                    <a:gd name="connsiteY2" fmla="*/ 6433 h 11130"/>
                    <a:gd name="connsiteX3" fmla="*/ 2578 w 10630"/>
                    <a:gd name="connsiteY3" fmla="*/ 11032 h 11130"/>
                    <a:gd name="connsiteX4" fmla="*/ 5271 w 10630"/>
                    <a:gd name="connsiteY4" fmla="*/ 8580 h 11130"/>
                    <a:gd name="connsiteX5" fmla="*/ 8128 w 10630"/>
                    <a:gd name="connsiteY5" fmla="*/ 8847 h 11130"/>
                    <a:gd name="connsiteX6" fmla="*/ 10209 w 10630"/>
                    <a:gd name="connsiteY6" fmla="*/ 7566 h 11130"/>
                    <a:gd name="connsiteX7" fmla="*/ 10210 w 10630"/>
                    <a:gd name="connsiteY7" fmla="*/ 3248 h 11130"/>
                    <a:gd name="connsiteX8" fmla="*/ 8970 w 10630"/>
                    <a:gd name="connsiteY8" fmla="*/ 607 h 11130"/>
                    <a:gd name="connsiteX9" fmla="*/ 4662 w 10630"/>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1130"/>
                    <a:gd name="connsiteX1" fmla="*/ 2266 w 11107"/>
                    <a:gd name="connsiteY1" fmla="*/ 2309 h 11130"/>
                    <a:gd name="connsiteX2" fmla="*/ 546 w 11107"/>
                    <a:gd name="connsiteY2" fmla="*/ 6228 h 11130"/>
                    <a:gd name="connsiteX3" fmla="*/ 3055 w 11107"/>
                    <a:gd name="connsiteY3" fmla="*/ 11032 h 11130"/>
                    <a:gd name="connsiteX4" fmla="*/ 5748 w 11107"/>
                    <a:gd name="connsiteY4" fmla="*/ 8580 h 11130"/>
                    <a:gd name="connsiteX5" fmla="*/ 8605 w 11107"/>
                    <a:gd name="connsiteY5" fmla="*/ 8847 h 11130"/>
                    <a:gd name="connsiteX6" fmla="*/ 10686 w 11107"/>
                    <a:gd name="connsiteY6" fmla="*/ 7566 h 11130"/>
                    <a:gd name="connsiteX7" fmla="*/ 10687 w 11107"/>
                    <a:gd name="connsiteY7" fmla="*/ 3248 h 11130"/>
                    <a:gd name="connsiteX8" fmla="*/ 9447 w 11107"/>
                    <a:gd name="connsiteY8" fmla="*/ 607 h 11130"/>
                    <a:gd name="connsiteX9" fmla="*/ 5139 w 11107"/>
                    <a:gd name="connsiteY9" fmla="*/ 456 h 11130"/>
                    <a:gd name="connsiteX0" fmla="*/ 5139 w 11107"/>
                    <a:gd name="connsiteY0" fmla="*/ 456 h 12836"/>
                    <a:gd name="connsiteX1" fmla="*/ 2266 w 11107"/>
                    <a:gd name="connsiteY1" fmla="*/ 2309 h 12836"/>
                    <a:gd name="connsiteX2" fmla="*/ 546 w 11107"/>
                    <a:gd name="connsiteY2" fmla="*/ 6228 h 12836"/>
                    <a:gd name="connsiteX3" fmla="*/ 3055 w 11107"/>
                    <a:gd name="connsiteY3" fmla="*/ 11032 h 12836"/>
                    <a:gd name="connsiteX4" fmla="*/ 5748 w 11107"/>
                    <a:gd name="connsiteY4" fmla="*/ 8580 h 12836"/>
                    <a:gd name="connsiteX5" fmla="*/ 8605 w 11107"/>
                    <a:gd name="connsiteY5" fmla="*/ 8847 h 12836"/>
                    <a:gd name="connsiteX6" fmla="*/ 10686 w 11107"/>
                    <a:gd name="connsiteY6" fmla="*/ 7566 h 12836"/>
                    <a:gd name="connsiteX7" fmla="*/ 10687 w 11107"/>
                    <a:gd name="connsiteY7" fmla="*/ 3248 h 12836"/>
                    <a:gd name="connsiteX8" fmla="*/ 9447 w 11107"/>
                    <a:gd name="connsiteY8" fmla="*/ 607 h 12836"/>
                    <a:gd name="connsiteX9" fmla="*/ 5139 w 11107"/>
                    <a:gd name="connsiteY9" fmla="*/ 456 h 12836"/>
                    <a:gd name="connsiteX0" fmla="*/ 5139 w 11107"/>
                    <a:gd name="connsiteY0" fmla="*/ 456 h 13188"/>
                    <a:gd name="connsiteX1" fmla="*/ 2266 w 11107"/>
                    <a:gd name="connsiteY1" fmla="*/ 2309 h 13188"/>
                    <a:gd name="connsiteX2" fmla="*/ 546 w 11107"/>
                    <a:gd name="connsiteY2" fmla="*/ 6228 h 13188"/>
                    <a:gd name="connsiteX3" fmla="*/ 3055 w 11107"/>
                    <a:gd name="connsiteY3" fmla="*/ 11032 h 13188"/>
                    <a:gd name="connsiteX4" fmla="*/ 5748 w 11107"/>
                    <a:gd name="connsiteY4" fmla="*/ 8580 h 13188"/>
                    <a:gd name="connsiteX5" fmla="*/ 8886 w 11107"/>
                    <a:gd name="connsiteY5" fmla="*/ 9792 h 13188"/>
                    <a:gd name="connsiteX6" fmla="*/ 10686 w 11107"/>
                    <a:gd name="connsiteY6" fmla="*/ 7566 h 13188"/>
                    <a:gd name="connsiteX7" fmla="*/ 10687 w 11107"/>
                    <a:gd name="connsiteY7" fmla="*/ 3248 h 13188"/>
                    <a:gd name="connsiteX8" fmla="*/ 9447 w 11107"/>
                    <a:gd name="connsiteY8" fmla="*/ 607 h 13188"/>
                    <a:gd name="connsiteX9" fmla="*/ 5139 w 11107"/>
                    <a:gd name="connsiteY9" fmla="*/ 456 h 13188"/>
                    <a:gd name="connsiteX0" fmla="*/ 5139 w 11107"/>
                    <a:gd name="connsiteY0" fmla="*/ 922 h 13654"/>
                    <a:gd name="connsiteX1" fmla="*/ 2266 w 11107"/>
                    <a:gd name="connsiteY1" fmla="*/ 2775 h 13654"/>
                    <a:gd name="connsiteX2" fmla="*/ 546 w 11107"/>
                    <a:gd name="connsiteY2" fmla="*/ 6694 h 13654"/>
                    <a:gd name="connsiteX3" fmla="*/ 3055 w 11107"/>
                    <a:gd name="connsiteY3" fmla="*/ 11498 h 13654"/>
                    <a:gd name="connsiteX4" fmla="*/ 5748 w 11107"/>
                    <a:gd name="connsiteY4" fmla="*/ 9046 h 13654"/>
                    <a:gd name="connsiteX5" fmla="*/ 8886 w 11107"/>
                    <a:gd name="connsiteY5" fmla="*/ 10258 h 13654"/>
                    <a:gd name="connsiteX6" fmla="*/ 10686 w 11107"/>
                    <a:gd name="connsiteY6" fmla="*/ 8032 h 13654"/>
                    <a:gd name="connsiteX7" fmla="*/ 10687 w 11107"/>
                    <a:gd name="connsiteY7" fmla="*/ 3714 h 13654"/>
                    <a:gd name="connsiteX8" fmla="*/ 9447 w 11107"/>
                    <a:gd name="connsiteY8" fmla="*/ 1073 h 13654"/>
                    <a:gd name="connsiteX9" fmla="*/ 5139 w 11107"/>
                    <a:gd name="connsiteY9" fmla="*/ 922 h 13654"/>
                    <a:gd name="connsiteX0" fmla="*/ 5139 w 11107"/>
                    <a:gd name="connsiteY0" fmla="*/ 1423 h 14155"/>
                    <a:gd name="connsiteX1" fmla="*/ 2266 w 11107"/>
                    <a:gd name="connsiteY1" fmla="*/ 3276 h 14155"/>
                    <a:gd name="connsiteX2" fmla="*/ 546 w 11107"/>
                    <a:gd name="connsiteY2" fmla="*/ 7195 h 14155"/>
                    <a:gd name="connsiteX3" fmla="*/ 3055 w 11107"/>
                    <a:gd name="connsiteY3" fmla="*/ 11999 h 14155"/>
                    <a:gd name="connsiteX4" fmla="*/ 5748 w 11107"/>
                    <a:gd name="connsiteY4" fmla="*/ 9547 h 14155"/>
                    <a:gd name="connsiteX5" fmla="*/ 8886 w 11107"/>
                    <a:gd name="connsiteY5" fmla="*/ 10759 h 14155"/>
                    <a:gd name="connsiteX6" fmla="*/ 10686 w 11107"/>
                    <a:gd name="connsiteY6" fmla="*/ 8533 h 14155"/>
                    <a:gd name="connsiteX7" fmla="*/ 10687 w 11107"/>
                    <a:gd name="connsiteY7" fmla="*/ 4215 h 14155"/>
                    <a:gd name="connsiteX8" fmla="*/ 9728 w 11107"/>
                    <a:gd name="connsiteY8" fmla="*/ 835 h 14155"/>
                    <a:gd name="connsiteX9" fmla="*/ 5139 w 11107"/>
                    <a:gd name="connsiteY9" fmla="*/ 1423 h 14155"/>
                    <a:gd name="connsiteX0" fmla="*/ 5139 w 12384"/>
                    <a:gd name="connsiteY0" fmla="*/ 1423 h 14155"/>
                    <a:gd name="connsiteX1" fmla="*/ 2266 w 12384"/>
                    <a:gd name="connsiteY1" fmla="*/ 3276 h 14155"/>
                    <a:gd name="connsiteX2" fmla="*/ 546 w 12384"/>
                    <a:gd name="connsiteY2" fmla="*/ 7195 h 14155"/>
                    <a:gd name="connsiteX3" fmla="*/ 3055 w 12384"/>
                    <a:gd name="connsiteY3" fmla="*/ 11999 h 14155"/>
                    <a:gd name="connsiteX4" fmla="*/ 5748 w 12384"/>
                    <a:gd name="connsiteY4" fmla="*/ 9547 h 14155"/>
                    <a:gd name="connsiteX5" fmla="*/ 8886 w 12384"/>
                    <a:gd name="connsiteY5" fmla="*/ 10759 h 14155"/>
                    <a:gd name="connsiteX6" fmla="*/ 10686 w 12384"/>
                    <a:gd name="connsiteY6" fmla="*/ 8533 h 14155"/>
                    <a:gd name="connsiteX7" fmla="*/ 12184 w 12384"/>
                    <a:gd name="connsiteY7" fmla="*/ 3927 h 14155"/>
                    <a:gd name="connsiteX8" fmla="*/ 9728 w 12384"/>
                    <a:gd name="connsiteY8" fmla="*/ 835 h 14155"/>
                    <a:gd name="connsiteX9" fmla="*/ 5139 w 12384"/>
                    <a:gd name="connsiteY9" fmla="*/ 1423 h 14155"/>
                    <a:gd name="connsiteX0" fmla="*/ 5139 w 12562"/>
                    <a:gd name="connsiteY0" fmla="*/ 1423 h 14155"/>
                    <a:gd name="connsiteX1" fmla="*/ 2266 w 12562"/>
                    <a:gd name="connsiteY1" fmla="*/ 3276 h 14155"/>
                    <a:gd name="connsiteX2" fmla="*/ 546 w 12562"/>
                    <a:gd name="connsiteY2" fmla="*/ 7195 h 14155"/>
                    <a:gd name="connsiteX3" fmla="*/ 3055 w 12562"/>
                    <a:gd name="connsiteY3" fmla="*/ 11999 h 14155"/>
                    <a:gd name="connsiteX4" fmla="*/ 5748 w 12562"/>
                    <a:gd name="connsiteY4" fmla="*/ 9547 h 14155"/>
                    <a:gd name="connsiteX5" fmla="*/ 8886 w 12562"/>
                    <a:gd name="connsiteY5" fmla="*/ 10759 h 14155"/>
                    <a:gd name="connsiteX6" fmla="*/ 12027 w 12562"/>
                    <a:gd name="connsiteY6" fmla="*/ 8163 h 14155"/>
                    <a:gd name="connsiteX7" fmla="*/ 12184 w 12562"/>
                    <a:gd name="connsiteY7" fmla="*/ 3927 h 14155"/>
                    <a:gd name="connsiteX8" fmla="*/ 9728 w 12562"/>
                    <a:gd name="connsiteY8" fmla="*/ 835 h 14155"/>
                    <a:gd name="connsiteX9" fmla="*/ 5139 w 12562"/>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96"/>
                    <a:gd name="connsiteY0" fmla="*/ 1423 h 14155"/>
                    <a:gd name="connsiteX1" fmla="*/ 2266 w 14796"/>
                    <a:gd name="connsiteY1" fmla="*/ 3276 h 14155"/>
                    <a:gd name="connsiteX2" fmla="*/ 546 w 14796"/>
                    <a:gd name="connsiteY2" fmla="*/ 7195 h 14155"/>
                    <a:gd name="connsiteX3" fmla="*/ 3055 w 14796"/>
                    <a:gd name="connsiteY3" fmla="*/ 11999 h 14155"/>
                    <a:gd name="connsiteX4" fmla="*/ 5748 w 14796"/>
                    <a:gd name="connsiteY4" fmla="*/ 9547 h 14155"/>
                    <a:gd name="connsiteX5" fmla="*/ 8886 w 14796"/>
                    <a:gd name="connsiteY5" fmla="*/ 10759 h 14155"/>
                    <a:gd name="connsiteX6" fmla="*/ 12027 w 14796"/>
                    <a:gd name="connsiteY6" fmla="*/ 8163 h 14155"/>
                    <a:gd name="connsiteX7" fmla="*/ 12184 w 14796"/>
                    <a:gd name="connsiteY7" fmla="*/ 3927 h 14155"/>
                    <a:gd name="connsiteX8" fmla="*/ 9728 w 14796"/>
                    <a:gd name="connsiteY8" fmla="*/ 835 h 14155"/>
                    <a:gd name="connsiteX9" fmla="*/ 5139 w 14796"/>
                    <a:gd name="connsiteY9" fmla="*/ 1423 h 14155"/>
                    <a:gd name="connsiteX0" fmla="*/ 5139 w 14753"/>
                    <a:gd name="connsiteY0" fmla="*/ 1423 h 14155"/>
                    <a:gd name="connsiteX1" fmla="*/ 2266 w 14753"/>
                    <a:gd name="connsiteY1" fmla="*/ 3276 h 14155"/>
                    <a:gd name="connsiteX2" fmla="*/ 546 w 14753"/>
                    <a:gd name="connsiteY2" fmla="*/ 7195 h 14155"/>
                    <a:gd name="connsiteX3" fmla="*/ 3055 w 14753"/>
                    <a:gd name="connsiteY3" fmla="*/ 11999 h 14155"/>
                    <a:gd name="connsiteX4" fmla="*/ 5748 w 14753"/>
                    <a:gd name="connsiteY4" fmla="*/ 9547 h 14155"/>
                    <a:gd name="connsiteX5" fmla="*/ 8886 w 14753"/>
                    <a:gd name="connsiteY5" fmla="*/ 10759 h 14155"/>
                    <a:gd name="connsiteX6" fmla="*/ 11965 w 14753"/>
                    <a:gd name="connsiteY6" fmla="*/ 8779 h 14155"/>
                    <a:gd name="connsiteX7" fmla="*/ 12184 w 14753"/>
                    <a:gd name="connsiteY7" fmla="*/ 3927 h 14155"/>
                    <a:gd name="connsiteX8" fmla="*/ 9728 w 14753"/>
                    <a:gd name="connsiteY8" fmla="*/ 835 h 14155"/>
                    <a:gd name="connsiteX9" fmla="*/ 5139 w 14753"/>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139 w 16560"/>
                    <a:gd name="connsiteY0" fmla="*/ 1423 h 14155"/>
                    <a:gd name="connsiteX1" fmla="*/ 2266 w 16560"/>
                    <a:gd name="connsiteY1" fmla="*/ 3276 h 14155"/>
                    <a:gd name="connsiteX2" fmla="*/ 546 w 16560"/>
                    <a:gd name="connsiteY2" fmla="*/ 7195 h 14155"/>
                    <a:gd name="connsiteX3" fmla="*/ 3055 w 16560"/>
                    <a:gd name="connsiteY3" fmla="*/ 11999 h 14155"/>
                    <a:gd name="connsiteX4" fmla="*/ 5748 w 16560"/>
                    <a:gd name="connsiteY4" fmla="*/ 9547 h 14155"/>
                    <a:gd name="connsiteX5" fmla="*/ 8886 w 16560"/>
                    <a:gd name="connsiteY5" fmla="*/ 10759 h 14155"/>
                    <a:gd name="connsiteX6" fmla="*/ 11965 w 16560"/>
                    <a:gd name="connsiteY6" fmla="*/ 8779 h 14155"/>
                    <a:gd name="connsiteX7" fmla="*/ 12184 w 16560"/>
                    <a:gd name="connsiteY7" fmla="*/ 3927 h 14155"/>
                    <a:gd name="connsiteX8" fmla="*/ 9728 w 16560"/>
                    <a:gd name="connsiteY8" fmla="*/ 835 h 14155"/>
                    <a:gd name="connsiteX9" fmla="*/ 5139 w 16560"/>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086 w 16507"/>
                    <a:gd name="connsiteY0" fmla="*/ 1423 h 14155"/>
                    <a:gd name="connsiteX1" fmla="*/ 2213 w 16507"/>
                    <a:gd name="connsiteY1" fmla="*/ 3276 h 14155"/>
                    <a:gd name="connsiteX2" fmla="*/ 555 w 16507"/>
                    <a:gd name="connsiteY2" fmla="*/ 6907 h 14155"/>
                    <a:gd name="connsiteX3" fmla="*/ 3002 w 16507"/>
                    <a:gd name="connsiteY3" fmla="*/ 11999 h 14155"/>
                    <a:gd name="connsiteX4" fmla="*/ 5695 w 16507"/>
                    <a:gd name="connsiteY4" fmla="*/ 9547 h 14155"/>
                    <a:gd name="connsiteX5" fmla="*/ 8833 w 16507"/>
                    <a:gd name="connsiteY5" fmla="*/ 10759 h 14155"/>
                    <a:gd name="connsiteX6" fmla="*/ 11912 w 16507"/>
                    <a:gd name="connsiteY6" fmla="*/ 8779 h 14155"/>
                    <a:gd name="connsiteX7" fmla="*/ 12131 w 16507"/>
                    <a:gd name="connsiteY7" fmla="*/ 3927 h 14155"/>
                    <a:gd name="connsiteX8" fmla="*/ 9675 w 16507"/>
                    <a:gd name="connsiteY8" fmla="*/ 835 h 14155"/>
                    <a:gd name="connsiteX9" fmla="*/ 5086 w 16507"/>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907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55"/>
                    <a:gd name="connsiteX1" fmla="*/ 2697 w 16991"/>
                    <a:gd name="connsiteY1" fmla="*/ 3276 h 14155"/>
                    <a:gd name="connsiteX2" fmla="*/ 1039 w 16991"/>
                    <a:gd name="connsiteY2" fmla="*/ 6661 h 14155"/>
                    <a:gd name="connsiteX3" fmla="*/ 3486 w 16991"/>
                    <a:gd name="connsiteY3" fmla="*/ 11999 h 14155"/>
                    <a:gd name="connsiteX4" fmla="*/ 6179 w 16991"/>
                    <a:gd name="connsiteY4" fmla="*/ 9547 h 14155"/>
                    <a:gd name="connsiteX5" fmla="*/ 9317 w 16991"/>
                    <a:gd name="connsiteY5" fmla="*/ 10759 h 14155"/>
                    <a:gd name="connsiteX6" fmla="*/ 12396 w 16991"/>
                    <a:gd name="connsiteY6" fmla="*/ 8779 h 14155"/>
                    <a:gd name="connsiteX7" fmla="*/ 12615 w 16991"/>
                    <a:gd name="connsiteY7" fmla="*/ 3927 h 14155"/>
                    <a:gd name="connsiteX8" fmla="*/ 10159 w 16991"/>
                    <a:gd name="connsiteY8" fmla="*/ 835 h 14155"/>
                    <a:gd name="connsiteX9" fmla="*/ 5570 w 16991"/>
                    <a:gd name="connsiteY9" fmla="*/ 1423 h 14155"/>
                    <a:gd name="connsiteX0" fmla="*/ 5570 w 16991"/>
                    <a:gd name="connsiteY0" fmla="*/ 1423 h 14169"/>
                    <a:gd name="connsiteX1" fmla="*/ 2697 w 16991"/>
                    <a:gd name="connsiteY1" fmla="*/ 3276 h 14169"/>
                    <a:gd name="connsiteX2" fmla="*/ 1039 w 16991"/>
                    <a:gd name="connsiteY2" fmla="*/ 6661 h 14169"/>
                    <a:gd name="connsiteX3" fmla="*/ 2831 w 16991"/>
                    <a:gd name="connsiteY3" fmla="*/ 11547 h 14169"/>
                    <a:gd name="connsiteX4" fmla="*/ 6179 w 16991"/>
                    <a:gd name="connsiteY4" fmla="*/ 9547 h 14169"/>
                    <a:gd name="connsiteX5" fmla="*/ 9317 w 16991"/>
                    <a:gd name="connsiteY5" fmla="*/ 10759 h 14169"/>
                    <a:gd name="connsiteX6" fmla="*/ 12396 w 16991"/>
                    <a:gd name="connsiteY6" fmla="*/ 8779 h 14169"/>
                    <a:gd name="connsiteX7" fmla="*/ 12615 w 16991"/>
                    <a:gd name="connsiteY7" fmla="*/ 3927 h 14169"/>
                    <a:gd name="connsiteX8" fmla="*/ 10159 w 16991"/>
                    <a:gd name="connsiteY8" fmla="*/ 835 h 14169"/>
                    <a:gd name="connsiteX9" fmla="*/ 5570 w 16991"/>
                    <a:gd name="connsiteY9" fmla="*/ 1423 h 14169"/>
                    <a:gd name="connsiteX0" fmla="*/ 5570 w 16991"/>
                    <a:gd name="connsiteY0" fmla="*/ 1423 h 14319"/>
                    <a:gd name="connsiteX1" fmla="*/ 2697 w 16991"/>
                    <a:gd name="connsiteY1" fmla="*/ 3276 h 14319"/>
                    <a:gd name="connsiteX2" fmla="*/ 1039 w 16991"/>
                    <a:gd name="connsiteY2" fmla="*/ 6661 h 14319"/>
                    <a:gd name="connsiteX3" fmla="*/ 2831 w 16991"/>
                    <a:gd name="connsiteY3" fmla="*/ 11547 h 14319"/>
                    <a:gd name="connsiteX4" fmla="*/ 6241 w 16991"/>
                    <a:gd name="connsiteY4" fmla="*/ 10204 h 14319"/>
                    <a:gd name="connsiteX5" fmla="*/ 9317 w 16991"/>
                    <a:gd name="connsiteY5" fmla="*/ 10759 h 14319"/>
                    <a:gd name="connsiteX6" fmla="*/ 12396 w 16991"/>
                    <a:gd name="connsiteY6" fmla="*/ 8779 h 14319"/>
                    <a:gd name="connsiteX7" fmla="*/ 12615 w 16991"/>
                    <a:gd name="connsiteY7" fmla="*/ 3927 h 14319"/>
                    <a:gd name="connsiteX8" fmla="*/ 10159 w 16991"/>
                    <a:gd name="connsiteY8" fmla="*/ 835 h 14319"/>
                    <a:gd name="connsiteX9" fmla="*/ 5570 w 16991"/>
                    <a:gd name="connsiteY9" fmla="*/ 1423 h 14319"/>
                    <a:gd name="connsiteX0" fmla="*/ 5570 w 16991"/>
                    <a:gd name="connsiteY0" fmla="*/ 1423 h 14440"/>
                    <a:gd name="connsiteX1" fmla="*/ 2697 w 16991"/>
                    <a:gd name="connsiteY1" fmla="*/ 3276 h 14440"/>
                    <a:gd name="connsiteX2" fmla="*/ 1039 w 16991"/>
                    <a:gd name="connsiteY2" fmla="*/ 6661 h 14440"/>
                    <a:gd name="connsiteX3" fmla="*/ 2831 w 16991"/>
                    <a:gd name="connsiteY3" fmla="*/ 11547 h 14440"/>
                    <a:gd name="connsiteX4" fmla="*/ 6241 w 16991"/>
                    <a:gd name="connsiteY4" fmla="*/ 10204 h 14440"/>
                    <a:gd name="connsiteX5" fmla="*/ 9317 w 16991"/>
                    <a:gd name="connsiteY5" fmla="*/ 10759 h 14440"/>
                    <a:gd name="connsiteX6" fmla="*/ 12396 w 16991"/>
                    <a:gd name="connsiteY6" fmla="*/ 8779 h 14440"/>
                    <a:gd name="connsiteX7" fmla="*/ 12615 w 16991"/>
                    <a:gd name="connsiteY7" fmla="*/ 3927 h 14440"/>
                    <a:gd name="connsiteX8" fmla="*/ 10159 w 16991"/>
                    <a:gd name="connsiteY8" fmla="*/ 835 h 14440"/>
                    <a:gd name="connsiteX9" fmla="*/ 5570 w 16991"/>
                    <a:gd name="connsiteY9" fmla="*/ 1423 h 14440"/>
                    <a:gd name="connsiteX0" fmla="*/ 5570 w 16991"/>
                    <a:gd name="connsiteY0" fmla="*/ 1423 h 14549"/>
                    <a:gd name="connsiteX1" fmla="*/ 2697 w 16991"/>
                    <a:gd name="connsiteY1" fmla="*/ 3276 h 14549"/>
                    <a:gd name="connsiteX2" fmla="*/ 1039 w 16991"/>
                    <a:gd name="connsiteY2" fmla="*/ 6661 h 14549"/>
                    <a:gd name="connsiteX3" fmla="*/ 2831 w 16991"/>
                    <a:gd name="connsiteY3" fmla="*/ 11547 h 14549"/>
                    <a:gd name="connsiteX4" fmla="*/ 6241 w 16991"/>
                    <a:gd name="connsiteY4" fmla="*/ 10204 h 14549"/>
                    <a:gd name="connsiteX5" fmla="*/ 9317 w 16991"/>
                    <a:gd name="connsiteY5" fmla="*/ 10759 h 14549"/>
                    <a:gd name="connsiteX6" fmla="*/ 12396 w 16991"/>
                    <a:gd name="connsiteY6" fmla="*/ 8779 h 14549"/>
                    <a:gd name="connsiteX7" fmla="*/ 12615 w 16991"/>
                    <a:gd name="connsiteY7" fmla="*/ 3927 h 14549"/>
                    <a:gd name="connsiteX8" fmla="*/ 10159 w 16991"/>
                    <a:gd name="connsiteY8" fmla="*/ 835 h 14549"/>
                    <a:gd name="connsiteX9" fmla="*/ 5570 w 16991"/>
                    <a:gd name="connsiteY9" fmla="*/ 1423 h 14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991" h="14549">
                      <a:moveTo>
                        <a:pt x="5570" y="1423"/>
                      </a:moveTo>
                      <a:cubicBezTo>
                        <a:pt x="5570" y="1423"/>
                        <a:pt x="3130" y="3084"/>
                        <a:pt x="2697" y="3276"/>
                      </a:cubicBezTo>
                      <a:cubicBezTo>
                        <a:pt x="2116" y="3276"/>
                        <a:pt x="-1842" y="6053"/>
                        <a:pt x="1039" y="6661"/>
                      </a:cubicBezTo>
                      <a:cubicBezTo>
                        <a:pt x="7088" y="4584"/>
                        <a:pt x="1964" y="10957"/>
                        <a:pt x="2831" y="11547"/>
                      </a:cubicBezTo>
                      <a:cubicBezTo>
                        <a:pt x="3698" y="12137"/>
                        <a:pt x="5378" y="9267"/>
                        <a:pt x="6241" y="10204"/>
                      </a:cubicBezTo>
                      <a:cubicBezTo>
                        <a:pt x="7104" y="11141"/>
                        <a:pt x="8518" y="19143"/>
                        <a:pt x="9317" y="10759"/>
                      </a:cubicBezTo>
                      <a:cubicBezTo>
                        <a:pt x="9836" y="7618"/>
                        <a:pt x="10455" y="8698"/>
                        <a:pt x="12396" y="8779"/>
                      </a:cubicBezTo>
                      <a:cubicBezTo>
                        <a:pt x="22146" y="14045"/>
                        <a:pt x="13484" y="5276"/>
                        <a:pt x="12615" y="3927"/>
                      </a:cubicBezTo>
                      <a:cubicBezTo>
                        <a:pt x="11601" y="2772"/>
                        <a:pt x="11853" y="1347"/>
                        <a:pt x="10159" y="835"/>
                      </a:cubicBezTo>
                      <a:cubicBezTo>
                        <a:pt x="8883" y="-1003"/>
                        <a:pt x="5715" y="652"/>
                        <a:pt x="5570" y="1423"/>
                      </a:cubicBezTo>
                      <a:close/>
                    </a:path>
                  </a:pathLst>
                </a:custGeom>
                <a:solidFill>
                  <a:srgbClr val="FFC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34" name="Oval 284">
                  <a:extLst>
                    <a:ext uri="{FF2B5EF4-FFF2-40B4-BE49-F238E27FC236}">
                      <a16:creationId xmlns:a16="http://schemas.microsoft.com/office/drawing/2014/main" id="{93DAB86F-2ABA-4264-9ED1-C73E38BB2ABF}"/>
                    </a:ext>
                  </a:extLst>
                </p:cNvPr>
                <p:cNvSpPr>
                  <a:spLocks noChangeArrowheads="1"/>
                </p:cNvSpPr>
                <p:nvPr/>
              </p:nvSpPr>
              <p:spPr bwMode="auto">
                <a:xfrm rot="15772157">
                  <a:off x="8188752" y="2258212"/>
                  <a:ext cx="63039" cy="160334"/>
                </a:xfrm>
                <a:prstGeom prst="ellipse">
                  <a:avLst/>
                </a:prstGeom>
                <a:solidFill>
                  <a:srgbClr val="E2AC00"/>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23" name="Group 22">
                <a:extLst>
                  <a:ext uri="{FF2B5EF4-FFF2-40B4-BE49-F238E27FC236}">
                    <a16:creationId xmlns:a16="http://schemas.microsoft.com/office/drawing/2014/main" id="{24DE53C8-E042-4FDC-911F-0D83AA946FA0}"/>
                  </a:ext>
                </a:extLst>
              </p:cNvPr>
              <p:cNvGrpSpPr/>
              <p:nvPr/>
            </p:nvGrpSpPr>
            <p:grpSpPr>
              <a:xfrm>
                <a:off x="4249608" y="3469360"/>
                <a:ext cx="483947" cy="479296"/>
                <a:chOff x="5291138" y="5000625"/>
                <a:chExt cx="165100" cy="163513"/>
              </a:xfrm>
            </p:grpSpPr>
            <p:sp>
              <p:nvSpPr>
                <p:cNvPr id="231" name="Freeform 283">
                  <a:extLst>
                    <a:ext uri="{FF2B5EF4-FFF2-40B4-BE49-F238E27FC236}">
                      <a16:creationId xmlns:a16="http://schemas.microsoft.com/office/drawing/2014/main" id="{8484AD31-0A52-447A-8E26-2A078B31FF4C}"/>
                    </a:ext>
                  </a:extLst>
                </p:cNvPr>
                <p:cNvSpPr>
                  <a:spLocks/>
                </p:cNvSpPr>
                <p:nvPr/>
              </p:nvSpPr>
              <p:spPr bwMode="auto">
                <a:xfrm>
                  <a:off x="5291138" y="5000625"/>
                  <a:ext cx="165100" cy="163513"/>
                </a:xfrm>
                <a:custGeom>
                  <a:avLst/>
                  <a:gdLst>
                    <a:gd name="T0" fmla="*/ 26 w 52"/>
                    <a:gd name="T1" fmla="*/ 4 h 51"/>
                    <a:gd name="T2" fmla="*/ 18 w 52"/>
                    <a:gd name="T3" fmla="*/ 10 h 51"/>
                    <a:gd name="T4" fmla="*/ 10 w 52"/>
                    <a:gd name="T5" fmla="*/ 12 h 51"/>
                    <a:gd name="T6" fmla="*/ 3 w 52"/>
                    <a:gd name="T7" fmla="*/ 25 h 51"/>
                    <a:gd name="T8" fmla="*/ 16 w 52"/>
                    <a:gd name="T9" fmla="*/ 37 h 51"/>
                    <a:gd name="T10" fmla="*/ 34 w 52"/>
                    <a:gd name="T11" fmla="*/ 45 h 51"/>
                    <a:gd name="T12" fmla="*/ 46 w 52"/>
                    <a:gd name="T13" fmla="*/ 36 h 51"/>
                    <a:gd name="T14" fmla="*/ 46 w 52"/>
                    <a:gd name="T15" fmla="*/ 17 h 51"/>
                    <a:gd name="T16" fmla="*/ 34 w 52"/>
                    <a:gd name="T17" fmla="*/ 5 h 51"/>
                    <a:gd name="T18" fmla="*/ 26 w 52"/>
                    <a:gd name="T19"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1">
                      <a:moveTo>
                        <a:pt x="26" y="4"/>
                      </a:moveTo>
                      <a:cubicBezTo>
                        <a:pt x="26" y="4"/>
                        <a:pt x="21" y="9"/>
                        <a:pt x="18" y="10"/>
                      </a:cubicBezTo>
                      <a:cubicBezTo>
                        <a:pt x="14" y="10"/>
                        <a:pt x="11" y="8"/>
                        <a:pt x="10" y="12"/>
                      </a:cubicBezTo>
                      <a:cubicBezTo>
                        <a:pt x="10" y="17"/>
                        <a:pt x="0" y="15"/>
                        <a:pt x="3" y="25"/>
                      </a:cubicBezTo>
                      <a:cubicBezTo>
                        <a:pt x="6" y="35"/>
                        <a:pt x="11" y="29"/>
                        <a:pt x="16" y="37"/>
                      </a:cubicBezTo>
                      <a:cubicBezTo>
                        <a:pt x="21" y="45"/>
                        <a:pt x="33" y="51"/>
                        <a:pt x="34" y="45"/>
                      </a:cubicBezTo>
                      <a:cubicBezTo>
                        <a:pt x="35" y="40"/>
                        <a:pt x="44" y="39"/>
                        <a:pt x="46" y="36"/>
                      </a:cubicBezTo>
                      <a:cubicBezTo>
                        <a:pt x="47" y="32"/>
                        <a:pt x="52" y="24"/>
                        <a:pt x="46" y="17"/>
                      </a:cubicBezTo>
                      <a:cubicBezTo>
                        <a:pt x="39" y="11"/>
                        <a:pt x="36" y="10"/>
                        <a:pt x="34" y="5"/>
                      </a:cubicBezTo>
                      <a:cubicBezTo>
                        <a:pt x="31" y="1"/>
                        <a:pt x="27" y="0"/>
                        <a:pt x="26" y="4"/>
                      </a:cubicBezTo>
                      <a:close/>
                    </a:path>
                  </a:pathLst>
                </a:custGeom>
                <a:solidFill>
                  <a:srgbClr val="ABC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32" name="Oval 284">
                  <a:extLst>
                    <a:ext uri="{FF2B5EF4-FFF2-40B4-BE49-F238E27FC236}">
                      <a16:creationId xmlns:a16="http://schemas.microsoft.com/office/drawing/2014/main" id="{884011E0-65FC-4C2E-91B9-CF9177657390}"/>
                    </a:ext>
                  </a:extLst>
                </p:cNvPr>
                <p:cNvSpPr>
                  <a:spLocks noChangeArrowheads="1"/>
                </p:cNvSpPr>
                <p:nvPr/>
              </p:nvSpPr>
              <p:spPr bwMode="auto">
                <a:xfrm>
                  <a:off x="5357813" y="5048250"/>
                  <a:ext cx="76200" cy="73025"/>
                </a:xfrm>
                <a:prstGeom prst="ellipse">
                  <a:avLst/>
                </a:prstGeom>
                <a:solidFill>
                  <a:srgbClr val="759C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24" name="Group 23">
                <a:extLst>
                  <a:ext uri="{FF2B5EF4-FFF2-40B4-BE49-F238E27FC236}">
                    <a16:creationId xmlns:a16="http://schemas.microsoft.com/office/drawing/2014/main" id="{832A4E73-A27C-4381-907D-83CD650536A6}"/>
                  </a:ext>
                </a:extLst>
              </p:cNvPr>
              <p:cNvGrpSpPr/>
              <p:nvPr/>
            </p:nvGrpSpPr>
            <p:grpSpPr>
              <a:xfrm rot="7443783">
                <a:off x="5135856" y="2229372"/>
                <a:ext cx="483947" cy="479296"/>
                <a:chOff x="5291138" y="5000625"/>
                <a:chExt cx="165100" cy="163513"/>
              </a:xfrm>
            </p:grpSpPr>
            <p:sp>
              <p:nvSpPr>
                <p:cNvPr id="229" name="Freeform 283">
                  <a:extLst>
                    <a:ext uri="{FF2B5EF4-FFF2-40B4-BE49-F238E27FC236}">
                      <a16:creationId xmlns:a16="http://schemas.microsoft.com/office/drawing/2014/main" id="{A8B227B4-7679-4CC1-AB08-85D1DC4D342B}"/>
                    </a:ext>
                  </a:extLst>
                </p:cNvPr>
                <p:cNvSpPr>
                  <a:spLocks/>
                </p:cNvSpPr>
                <p:nvPr/>
              </p:nvSpPr>
              <p:spPr bwMode="auto">
                <a:xfrm>
                  <a:off x="5291138" y="5000625"/>
                  <a:ext cx="165100" cy="163513"/>
                </a:xfrm>
                <a:custGeom>
                  <a:avLst/>
                  <a:gdLst>
                    <a:gd name="T0" fmla="*/ 26 w 52"/>
                    <a:gd name="T1" fmla="*/ 4 h 51"/>
                    <a:gd name="T2" fmla="*/ 18 w 52"/>
                    <a:gd name="T3" fmla="*/ 10 h 51"/>
                    <a:gd name="T4" fmla="*/ 10 w 52"/>
                    <a:gd name="T5" fmla="*/ 12 h 51"/>
                    <a:gd name="T6" fmla="*/ 3 w 52"/>
                    <a:gd name="T7" fmla="*/ 25 h 51"/>
                    <a:gd name="T8" fmla="*/ 16 w 52"/>
                    <a:gd name="T9" fmla="*/ 37 h 51"/>
                    <a:gd name="T10" fmla="*/ 34 w 52"/>
                    <a:gd name="T11" fmla="*/ 45 h 51"/>
                    <a:gd name="T12" fmla="*/ 46 w 52"/>
                    <a:gd name="T13" fmla="*/ 36 h 51"/>
                    <a:gd name="T14" fmla="*/ 46 w 52"/>
                    <a:gd name="T15" fmla="*/ 17 h 51"/>
                    <a:gd name="T16" fmla="*/ 34 w 52"/>
                    <a:gd name="T17" fmla="*/ 5 h 51"/>
                    <a:gd name="T18" fmla="*/ 26 w 52"/>
                    <a:gd name="T19"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1">
                      <a:moveTo>
                        <a:pt x="26" y="4"/>
                      </a:moveTo>
                      <a:cubicBezTo>
                        <a:pt x="26" y="4"/>
                        <a:pt x="21" y="9"/>
                        <a:pt x="18" y="10"/>
                      </a:cubicBezTo>
                      <a:cubicBezTo>
                        <a:pt x="14" y="10"/>
                        <a:pt x="11" y="8"/>
                        <a:pt x="10" y="12"/>
                      </a:cubicBezTo>
                      <a:cubicBezTo>
                        <a:pt x="10" y="17"/>
                        <a:pt x="0" y="15"/>
                        <a:pt x="3" y="25"/>
                      </a:cubicBezTo>
                      <a:cubicBezTo>
                        <a:pt x="6" y="35"/>
                        <a:pt x="11" y="29"/>
                        <a:pt x="16" y="37"/>
                      </a:cubicBezTo>
                      <a:cubicBezTo>
                        <a:pt x="21" y="45"/>
                        <a:pt x="33" y="51"/>
                        <a:pt x="34" y="45"/>
                      </a:cubicBezTo>
                      <a:cubicBezTo>
                        <a:pt x="35" y="40"/>
                        <a:pt x="44" y="39"/>
                        <a:pt x="46" y="36"/>
                      </a:cubicBezTo>
                      <a:cubicBezTo>
                        <a:pt x="47" y="32"/>
                        <a:pt x="52" y="24"/>
                        <a:pt x="46" y="17"/>
                      </a:cubicBezTo>
                      <a:cubicBezTo>
                        <a:pt x="39" y="11"/>
                        <a:pt x="36" y="10"/>
                        <a:pt x="34" y="5"/>
                      </a:cubicBezTo>
                      <a:cubicBezTo>
                        <a:pt x="31" y="1"/>
                        <a:pt x="27" y="0"/>
                        <a:pt x="26" y="4"/>
                      </a:cubicBezTo>
                      <a:close/>
                    </a:path>
                  </a:pathLst>
                </a:custGeom>
                <a:solidFill>
                  <a:srgbClr val="ABC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30" name="Oval 284">
                  <a:extLst>
                    <a:ext uri="{FF2B5EF4-FFF2-40B4-BE49-F238E27FC236}">
                      <a16:creationId xmlns:a16="http://schemas.microsoft.com/office/drawing/2014/main" id="{00C67B62-56D9-4584-9901-F1BCFE1171A6}"/>
                    </a:ext>
                  </a:extLst>
                </p:cNvPr>
                <p:cNvSpPr>
                  <a:spLocks noChangeArrowheads="1"/>
                </p:cNvSpPr>
                <p:nvPr/>
              </p:nvSpPr>
              <p:spPr bwMode="auto">
                <a:xfrm>
                  <a:off x="5357813" y="5048250"/>
                  <a:ext cx="76200" cy="73025"/>
                </a:xfrm>
                <a:prstGeom prst="ellipse">
                  <a:avLst/>
                </a:prstGeom>
                <a:solidFill>
                  <a:srgbClr val="759C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25" name="Group 24">
                <a:extLst>
                  <a:ext uri="{FF2B5EF4-FFF2-40B4-BE49-F238E27FC236}">
                    <a16:creationId xmlns:a16="http://schemas.microsoft.com/office/drawing/2014/main" id="{694905E7-FCD7-48B1-AD1A-4A45B4D4FAC4}"/>
                  </a:ext>
                </a:extLst>
              </p:cNvPr>
              <p:cNvGrpSpPr/>
              <p:nvPr/>
            </p:nvGrpSpPr>
            <p:grpSpPr>
              <a:xfrm rot="7443783">
                <a:off x="6887270" y="4285605"/>
                <a:ext cx="483947" cy="479296"/>
                <a:chOff x="5291138" y="5000625"/>
                <a:chExt cx="165100" cy="163513"/>
              </a:xfrm>
            </p:grpSpPr>
            <p:sp>
              <p:nvSpPr>
                <p:cNvPr id="227" name="Freeform 283">
                  <a:extLst>
                    <a:ext uri="{FF2B5EF4-FFF2-40B4-BE49-F238E27FC236}">
                      <a16:creationId xmlns:a16="http://schemas.microsoft.com/office/drawing/2014/main" id="{9186E73C-B83C-440B-AEE6-1A29355A762A}"/>
                    </a:ext>
                  </a:extLst>
                </p:cNvPr>
                <p:cNvSpPr>
                  <a:spLocks/>
                </p:cNvSpPr>
                <p:nvPr/>
              </p:nvSpPr>
              <p:spPr bwMode="auto">
                <a:xfrm>
                  <a:off x="5291138" y="5000625"/>
                  <a:ext cx="165100" cy="163513"/>
                </a:xfrm>
                <a:custGeom>
                  <a:avLst/>
                  <a:gdLst>
                    <a:gd name="T0" fmla="*/ 26 w 52"/>
                    <a:gd name="T1" fmla="*/ 4 h 51"/>
                    <a:gd name="T2" fmla="*/ 18 w 52"/>
                    <a:gd name="T3" fmla="*/ 10 h 51"/>
                    <a:gd name="T4" fmla="*/ 10 w 52"/>
                    <a:gd name="T5" fmla="*/ 12 h 51"/>
                    <a:gd name="T6" fmla="*/ 3 w 52"/>
                    <a:gd name="T7" fmla="*/ 25 h 51"/>
                    <a:gd name="T8" fmla="*/ 16 w 52"/>
                    <a:gd name="T9" fmla="*/ 37 h 51"/>
                    <a:gd name="T10" fmla="*/ 34 w 52"/>
                    <a:gd name="T11" fmla="*/ 45 h 51"/>
                    <a:gd name="T12" fmla="*/ 46 w 52"/>
                    <a:gd name="T13" fmla="*/ 36 h 51"/>
                    <a:gd name="T14" fmla="*/ 46 w 52"/>
                    <a:gd name="T15" fmla="*/ 17 h 51"/>
                    <a:gd name="T16" fmla="*/ 34 w 52"/>
                    <a:gd name="T17" fmla="*/ 5 h 51"/>
                    <a:gd name="T18" fmla="*/ 26 w 52"/>
                    <a:gd name="T19" fmla="*/ 4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2" h="51">
                      <a:moveTo>
                        <a:pt x="26" y="4"/>
                      </a:moveTo>
                      <a:cubicBezTo>
                        <a:pt x="26" y="4"/>
                        <a:pt x="21" y="9"/>
                        <a:pt x="18" y="10"/>
                      </a:cubicBezTo>
                      <a:cubicBezTo>
                        <a:pt x="14" y="10"/>
                        <a:pt x="11" y="8"/>
                        <a:pt x="10" y="12"/>
                      </a:cubicBezTo>
                      <a:cubicBezTo>
                        <a:pt x="10" y="17"/>
                        <a:pt x="0" y="15"/>
                        <a:pt x="3" y="25"/>
                      </a:cubicBezTo>
                      <a:cubicBezTo>
                        <a:pt x="6" y="35"/>
                        <a:pt x="11" y="29"/>
                        <a:pt x="16" y="37"/>
                      </a:cubicBezTo>
                      <a:cubicBezTo>
                        <a:pt x="21" y="45"/>
                        <a:pt x="33" y="51"/>
                        <a:pt x="34" y="45"/>
                      </a:cubicBezTo>
                      <a:cubicBezTo>
                        <a:pt x="35" y="40"/>
                        <a:pt x="44" y="39"/>
                        <a:pt x="46" y="36"/>
                      </a:cubicBezTo>
                      <a:cubicBezTo>
                        <a:pt x="47" y="32"/>
                        <a:pt x="52" y="24"/>
                        <a:pt x="46" y="17"/>
                      </a:cubicBezTo>
                      <a:cubicBezTo>
                        <a:pt x="39" y="11"/>
                        <a:pt x="36" y="10"/>
                        <a:pt x="34" y="5"/>
                      </a:cubicBezTo>
                      <a:cubicBezTo>
                        <a:pt x="31" y="1"/>
                        <a:pt x="27" y="0"/>
                        <a:pt x="26" y="4"/>
                      </a:cubicBezTo>
                      <a:close/>
                    </a:path>
                  </a:pathLst>
                </a:custGeom>
                <a:solidFill>
                  <a:srgbClr val="ABC3E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28" name="Oval 284">
                  <a:extLst>
                    <a:ext uri="{FF2B5EF4-FFF2-40B4-BE49-F238E27FC236}">
                      <a16:creationId xmlns:a16="http://schemas.microsoft.com/office/drawing/2014/main" id="{BBFC7ED0-9438-4D5E-95A5-47A1C2A17C49}"/>
                    </a:ext>
                  </a:extLst>
                </p:cNvPr>
                <p:cNvSpPr>
                  <a:spLocks noChangeArrowheads="1"/>
                </p:cNvSpPr>
                <p:nvPr/>
              </p:nvSpPr>
              <p:spPr bwMode="auto">
                <a:xfrm>
                  <a:off x="5357813" y="5048250"/>
                  <a:ext cx="76200" cy="73025"/>
                </a:xfrm>
                <a:prstGeom prst="ellipse">
                  <a:avLst/>
                </a:prstGeom>
                <a:solidFill>
                  <a:srgbClr val="759CD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26" name="Group 25">
                <a:extLst>
                  <a:ext uri="{FF2B5EF4-FFF2-40B4-BE49-F238E27FC236}">
                    <a16:creationId xmlns:a16="http://schemas.microsoft.com/office/drawing/2014/main" id="{8BA84C7B-FC1C-4C28-AE39-33B012650E11}"/>
                  </a:ext>
                </a:extLst>
              </p:cNvPr>
              <p:cNvGrpSpPr/>
              <p:nvPr/>
            </p:nvGrpSpPr>
            <p:grpSpPr>
              <a:xfrm rot="1101021">
                <a:off x="5721315" y="2610827"/>
                <a:ext cx="394605" cy="519232"/>
                <a:chOff x="3438781" y="1619441"/>
                <a:chExt cx="525219" cy="519232"/>
              </a:xfrm>
            </p:grpSpPr>
            <p:sp>
              <p:nvSpPr>
                <p:cNvPr id="225" name="Freeform 117">
                  <a:extLst>
                    <a:ext uri="{FF2B5EF4-FFF2-40B4-BE49-F238E27FC236}">
                      <a16:creationId xmlns:a16="http://schemas.microsoft.com/office/drawing/2014/main" id="{894695AC-A6FA-4B4D-ACB0-6DA53732B51A}"/>
                    </a:ext>
                  </a:extLst>
                </p:cNvPr>
                <p:cNvSpPr>
                  <a:spLocks/>
                </p:cNvSpPr>
                <p:nvPr/>
              </p:nvSpPr>
              <p:spPr bwMode="auto">
                <a:xfrm rot="18629394">
                  <a:off x="3441775" y="1616447"/>
                  <a:ext cx="519232" cy="525219"/>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26" name="Freeform 118">
                  <a:extLst>
                    <a:ext uri="{FF2B5EF4-FFF2-40B4-BE49-F238E27FC236}">
                      <a16:creationId xmlns:a16="http://schemas.microsoft.com/office/drawing/2014/main" id="{70AEAAA0-B103-45F4-90B3-2AA998DEA1BC}"/>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27" name="Group 26">
                <a:extLst>
                  <a:ext uri="{FF2B5EF4-FFF2-40B4-BE49-F238E27FC236}">
                    <a16:creationId xmlns:a16="http://schemas.microsoft.com/office/drawing/2014/main" id="{F7E250FC-6050-4F6F-A43C-82CA9EC5C564}"/>
                  </a:ext>
                </a:extLst>
              </p:cNvPr>
              <p:cNvGrpSpPr/>
              <p:nvPr/>
            </p:nvGrpSpPr>
            <p:grpSpPr>
              <a:xfrm rot="2768054">
                <a:off x="6231918" y="2730216"/>
                <a:ext cx="394605" cy="572518"/>
                <a:chOff x="3438781" y="1619441"/>
                <a:chExt cx="525219" cy="519232"/>
              </a:xfrm>
            </p:grpSpPr>
            <p:sp>
              <p:nvSpPr>
                <p:cNvPr id="223" name="Freeform 117">
                  <a:extLst>
                    <a:ext uri="{FF2B5EF4-FFF2-40B4-BE49-F238E27FC236}">
                      <a16:creationId xmlns:a16="http://schemas.microsoft.com/office/drawing/2014/main" id="{DAE4DD3E-1329-4AFF-9998-4AC2DD9F2E93}"/>
                    </a:ext>
                  </a:extLst>
                </p:cNvPr>
                <p:cNvSpPr>
                  <a:spLocks/>
                </p:cNvSpPr>
                <p:nvPr/>
              </p:nvSpPr>
              <p:spPr bwMode="auto">
                <a:xfrm rot="18629394">
                  <a:off x="3441775" y="1616447"/>
                  <a:ext cx="519232" cy="525219"/>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24" name="Freeform 118">
                  <a:extLst>
                    <a:ext uri="{FF2B5EF4-FFF2-40B4-BE49-F238E27FC236}">
                      <a16:creationId xmlns:a16="http://schemas.microsoft.com/office/drawing/2014/main" id="{F19EEF31-D4C6-4CE7-976B-A258AE6EE4A8}"/>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28" name="Group 27">
                <a:extLst>
                  <a:ext uri="{FF2B5EF4-FFF2-40B4-BE49-F238E27FC236}">
                    <a16:creationId xmlns:a16="http://schemas.microsoft.com/office/drawing/2014/main" id="{FEEF85D6-34F1-4774-8D7C-B820B282ADA5}"/>
                  </a:ext>
                </a:extLst>
              </p:cNvPr>
              <p:cNvGrpSpPr/>
              <p:nvPr/>
            </p:nvGrpSpPr>
            <p:grpSpPr>
              <a:xfrm rot="4795592">
                <a:off x="6582874" y="3092750"/>
                <a:ext cx="365427" cy="514485"/>
                <a:chOff x="3438781" y="1619441"/>
                <a:chExt cx="525219" cy="519232"/>
              </a:xfrm>
            </p:grpSpPr>
            <p:sp>
              <p:nvSpPr>
                <p:cNvPr id="221" name="Freeform 117">
                  <a:extLst>
                    <a:ext uri="{FF2B5EF4-FFF2-40B4-BE49-F238E27FC236}">
                      <a16:creationId xmlns:a16="http://schemas.microsoft.com/office/drawing/2014/main" id="{8A3D7E7A-7C8F-4ACB-84DD-E95F7545D67C}"/>
                    </a:ext>
                  </a:extLst>
                </p:cNvPr>
                <p:cNvSpPr>
                  <a:spLocks/>
                </p:cNvSpPr>
                <p:nvPr/>
              </p:nvSpPr>
              <p:spPr bwMode="auto">
                <a:xfrm rot="18629394">
                  <a:off x="3441775" y="1616447"/>
                  <a:ext cx="519232" cy="525219"/>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22" name="Freeform 118">
                  <a:extLst>
                    <a:ext uri="{FF2B5EF4-FFF2-40B4-BE49-F238E27FC236}">
                      <a16:creationId xmlns:a16="http://schemas.microsoft.com/office/drawing/2014/main" id="{1D3918F4-7141-438B-B0CB-19997FDD14CA}"/>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29" name="Group 28">
                <a:extLst>
                  <a:ext uri="{FF2B5EF4-FFF2-40B4-BE49-F238E27FC236}">
                    <a16:creationId xmlns:a16="http://schemas.microsoft.com/office/drawing/2014/main" id="{A3CD5B31-FD6F-45FB-8FE2-23D187BCABF1}"/>
                  </a:ext>
                </a:extLst>
              </p:cNvPr>
              <p:cNvGrpSpPr/>
              <p:nvPr/>
            </p:nvGrpSpPr>
            <p:grpSpPr>
              <a:xfrm rot="3013472">
                <a:off x="6314045" y="2945724"/>
                <a:ext cx="355174" cy="547261"/>
                <a:chOff x="3438781" y="1619441"/>
                <a:chExt cx="525219" cy="519232"/>
              </a:xfrm>
            </p:grpSpPr>
            <p:sp>
              <p:nvSpPr>
                <p:cNvPr id="219" name="Freeform 117">
                  <a:extLst>
                    <a:ext uri="{FF2B5EF4-FFF2-40B4-BE49-F238E27FC236}">
                      <a16:creationId xmlns:a16="http://schemas.microsoft.com/office/drawing/2014/main" id="{27C4CF98-3690-4E94-80DD-47BA835F6883}"/>
                    </a:ext>
                  </a:extLst>
                </p:cNvPr>
                <p:cNvSpPr>
                  <a:spLocks/>
                </p:cNvSpPr>
                <p:nvPr/>
              </p:nvSpPr>
              <p:spPr bwMode="auto">
                <a:xfrm rot="18629394">
                  <a:off x="3441775" y="1616447"/>
                  <a:ext cx="519232" cy="525219"/>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20" name="Freeform 118">
                  <a:extLst>
                    <a:ext uri="{FF2B5EF4-FFF2-40B4-BE49-F238E27FC236}">
                      <a16:creationId xmlns:a16="http://schemas.microsoft.com/office/drawing/2014/main" id="{EBD9764F-F5BF-4280-93C9-DFDC31DEC9D0}"/>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30" name="Group 29">
                <a:extLst>
                  <a:ext uri="{FF2B5EF4-FFF2-40B4-BE49-F238E27FC236}">
                    <a16:creationId xmlns:a16="http://schemas.microsoft.com/office/drawing/2014/main" id="{69FCEEC6-7FEA-4172-8183-9245E2E1E47D}"/>
                  </a:ext>
                </a:extLst>
              </p:cNvPr>
              <p:cNvGrpSpPr/>
              <p:nvPr/>
            </p:nvGrpSpPr>
            <p:grpSpPr>
              <a:xfrm rot="6036496">
                <a:off x="6704621" y="3624273"/>
                <a:ext cx="371831" cy="449659"/>
                <a:chOff x="3454982" y="1623694"/>
                <a:chExt cx="522226" cy="488747"/>
              </a:xfrm>
            </p:grpSpPr>
            <p:sp>
              <p:nvSpPr>
                <p:cNvPr id="217" name="Freeform 117">
                  <a:extLst>
                    <a:ext uri="{FF2B5EF4-FFF2-40B4-BE49-F238E27FC236}">
                      <a16:creationId xmlns:a16="http://schemas.microsoft.com/office/drawing/2014/main" id="{F0474898-BFE0-4547-977F-1F2921B98EFF}"/>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18" name="Freeform 118">
                  <a:extLst>
                    <a:ext uri="{FF2B5EF4-FFF2-40B4-BE49-F238E27FC236}">
                      <a16:creationId xmlns:a16="http://schemas.microsoft.com/office/drawing/2014/main" id="{CBE72043-9B61-48C9-A144-0627656B7FE2}"/>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31" name="Group 30">
                <a:extLst>
                  <a:ext uri="{FF2B5EF4-FFF2-40B4-BE49-F238E27FC236}">
                    <a16:creationId xmlns:a16="http://schemas.microsoft.com/office/drawing/2014/main" id="{02F7AA58-EE7A-4B1A-9ACC-4F5910B2F6DE}"/>
                  </a:ext>
                </a:extLst>
              </p:cNvPr>
              <p:cNvGrpSpPr/>
              <p:nvPr/>
            </p:nvGrpSpPr>
            <p:grpSpPr>
              <a:xfrm rot="5212282">
                <a:off x="6567842" y="3383948"/>
                <a:ext cx="371831" cy="449659"/>
                <a:chOff x="3454982" y="1623694"/>
                <a:chExt cx="522226" cy="488747"/>
              </a:xfrm>
            </p:grpSpPr>
            <p:sp>
              <p:nvSpPr>
                <p:cNvPr id="215" name="Freeform 117">
                  <a:extLst>
                    <a:ext uri="{FF2B5EF4-FFF2-40B4-BE49-F238E27FC236}">
                      <a16:creationId xmlns:a16="http://schemas.microsoft.com/office/drawing/2014/main" id="{5AAF2D0F-02BC-4D1F-A921-B59178BD6D28}"/>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16" name="Freeform 118">
                  <a:extLst>
                    <a:ext uri="{FF2B5EF4-FFF2-40B4-BE49-F238E27FC236}">
                      <a16:creationId xmlns:a16="http://schemas.microsoft.com/office/drawing/2014/main" id="{16CBC65E-B1F2-4FF3-8239-6AAB375CD845}"/>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sp>
            <p:nvSpPr>
              <p:cNvPr id="32" name="Freeform: Shape 31">
                <a:extLst>
                  <a:ext uri="{FF2B5EF4-FFF2-40B4-BE49-F238E27FC236}">
                    <a16:creationId xmlns:a16="http://schemas.microsoft.com/office/drawing/2014/main" id="{30444E05-DE3B-4AA3-816A-7DCAEFC70F40}"/>
                  </a:ext>
                </a:extLst>
              </p:cNvPr>
              <p:cNvSpPr/>
              <p:nvPr/>
            </p:nvSpPr>
            <p:spPr bwMode="auto">
              <a:xfrm>
                <a:off x="5092065" y="4754880"/>
                <a:ext cx="308610" cy="558165"/>
              </a:xfrm>
              <a:custGeom>
                <a:avLst/>
                <a:gdLst>
                  <a:gd name="connsiteX0" fmla="*/ 0 w 308610"/>
                  <a:gd name="connsiteY0" fmla="*/ 0 h 558165"/>
                  <a:gd name="connsiteX1" fmla="*/ 89535 w 308610"/>
                  <a:gd name="connsiteY1" fmla="*/ 66675 h 558165"/>
                  <a:gd name="connsiteX2" fmla="*/ 139065 w 308610"/>
                  <a:gd name="connsiteY2" fmla="*/ 177165 h 558165"/>
                  <a:gd name="connsiteX3" fmla="*/ 186690 w 308610"/>
                  <a:gd name="connsiteY3" fmla="*/ 367665 h 558165"/>
                  <a:gd name="connsiteX4" fmla="*/ 232410 w 308610"/>
                  <a:gd name="connsiteY4" fmla="*/ 491490 h 558165"/>
                  <a:gd name="connsiteX5" fmla="*/ 308610 w 308610"/>
                  <a:gd name="connsiteY5" fmla="*/ 558165 h 558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08610" h="558165">
                    <a:moveTo>
                      <a:pt x="0" y="0"/>
                    </a:moveTo>
                    <a:cubicBezTo>
                      <a:pt x="33179" y="18574"/>
                      <a:pt x="66358" y="37148"/>
                      <a:pt x="89535" y="66675"/>
                    </a:cubicBezTo>
                    <a:cubicBezTo>
                      <a:pt x="112712" y="96202"/>
                      <a:pt x="122873" y="127000"/>
                      <a:pt x="139065" y="177165"/>
                    </a:cubicBezTo>
                    <a:cubicBezTo>
                      <a:pt x="155257" y="227330"/>
                      <a:pt x="171133" y="315278"/>
                      <a:pt x="186690" y="367665"/>
                    </a:cubicBezTo>
                    <a:cubicBezTo>
                      <a:pt x="202247" y="420052"/>
                      <a:pt x="212090" y="459740"/>
                      <a:pt x="232410" y="491490"/>
                    </a:cubicBezTo>
                    <a:cubicBezTo>
                      <a:pt x="252730" y="523240"/>
                      <a:pt x="280670" y="540702"/>
                      <a:pt x="308610" y="558165"/>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33" name="Freeform: Shape 32">
                <a:extLst>
                  <a:ext uri="{FF2B5EF4-FFF2-40B4-BE49-F238E27FC236}">
                    <a16:creationId xmlns:a16="http://schemas.microsoft.com/office/drawing/2014/main" id="{8FAC2BCF-15FE-4A07-B98C-EB064A3BF552}"/>
                  </a:ext>
                </a:extLst>
              </p:cNvPr>
              <p:cNvSpPr/>
              <p:nvPr/>
            </p:nvSpPr>
            <p:spPr bwMode="auto">
              <a:xfrm>
                <a:off x="5745480" y="5339326"/>
                <a:ext cx="453390" cy="40973"/>
              </a:xfrm>
              <a:custGeom>
                <a:avLst/>
                <a:gdLst>
                  <a:gd name="connsiteX0" fmla="*/ 0 w 453390"/>
                  <a:gd name="connsiteY0" fmla="*/ 27059 h 40973"/>
                  <a:gd name="connsiteX1" fmla="*/ 81915 w 453390"/>
                  <a:gd name="connsiteY1" fmla="*/ 15629 h 40973"/>
                  <a:gd name="connsiteX2" fmla="*/ 190500 w 453390"/>
                  <a:gd name="connsiteY2" fmla="*/ 389 h 40973"/>
                  <a:gd name="connsiteX3" fmla="*/ 300990 w 453390"/>
                  <a:gd name="connsiteY3" fmla="*/ 32774 h 40973"/>
                  <a:gd name="connsiteX4" fmla="*/ 381000 w 453390"/>
                  <a:gd name="connsiteY4" fmla="*/ 40394 h 40973"/>
                  <a:gd name="connsiteX5" fmla="*/ 453390 w 453390"/>
                  <a:gd name="connsiteY5" fmla="*/ 21344 h 409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53390" h="40973">
                    <a:moveTo>
                      <a:pt x="0" y="27059"/>
                    </a:moveTo>
                    <a:lnTo>
                      <a:pt x="81915" y="15629"/>
                    </a:lnTo>
                    <a:cubicBezTo>
                      <a:pt x="113665" y="11184"/>
                      <a:pt x="153988" y="-2468"/>
                      <a:pt x="190500" y="389"/>
                    </a:cubicBezTo>
                    <a:cubicBezTo>
                      <a:pt x="227012" y="3246"/>
                      <a:pt x="269240" y="26106"/>
                      <a:pt x="300990" y="32774"/>
                    </a:cubicBezTo>
                    <a:cubicBezTo>
                      <a:pt x="332740" y="39442"/>
                      <a:pt x="355600" y="42299"/>
                      <a:pt x="381000" y="40394"/>
                    </a:cubicBezTo>
                    <a:cubicBezTo>
                      <a:pt x="406400" y="38489"/>
                      <a:pt x="429895" y="29916"/>
                      <a:pt x="453390" y="21344"/>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34" name="Freeform: Shape 33">
                <a:extLst>
                  <a:ext uri="{FF2B5EF4-FFF2-40B4-BE49-F238E27FC236}">
                    <a16:creationId xmlns:a16="http://schemas.microsoft.com/office/drawing/2014/main" id="{12A4B420-0A5E-4587-96DF-B8EC5CCB2E5A}"/>
                  </a:ext>
                </a:extLst>
              </p:cNvPr>
              <p:cNvSpPr/>
              <p:nvPr/>
            </p:nvSpPr>
            <p:spPr bwMode="auto">
              <a:xfrm>
                <a:off x="5147310" y="4949190"/>
                <a:ext cx="220980" cy="51435"/>
              </a:xfrm>
              <a:custGeom>
                <a:avLst/>
                <a:gdLst>
                  <a:gd name="connsiteX0" fmla="*/ 220980 w 220980"/>
                  <a:gd name="connsiteY0" fmla="*/ 0 h 51435"/>
                  <a:gd name="connsiteX1" fmla="*/ 125730 w 220980"/>
                  <a:gd name="connsiteY1" fmla="*/ 13335 h 51435"/>
                  <a:gd name="connsiteX2" fmla="*/ 0 w 220980"/>
                  <a:gd name="connsiteY2" fmla="*/ 51435 h 51435"/>
                </a:gdLst>
                <a:ahLst/>
                <a:cxnLst>
                  <a:cxn ang="0">
                    <a:pos x="connsiteX0" y="connsiteY0"/>
                  </a:cxn>
                  <a:cxn ang="0">
                    <a:pos x="connsiteX1" y="connsiteY1"/>
                  </a:cxn>
                  <a:cxn ang="0">
                    <a:pos x="connsiteX2" y="connsiteY2"/>
                  </a:cxn>
                </a:cxnLst>
                <a:rect l="l" t="t" r="r" b="b"/>
                <a:pathLst>
                  <a:path w="220980" h="51435">
                    <a:moveTo>
                      <a:pt x="220980" y="0"/>
                    </a:moveTo>
                    <a:cubicBezTo>
                      <a:pt x="191770" y="2381"/>
                      <a:pt x="162560" y="4763"/>
                      <a:pt x="125730" y="13335"/>
                    </a:cubicBezTo>
                    <a:cubicBezTo>
                      <a:pt x="88900" y="21908"/>
                      <a:pt x="44450" y="36671"/>
                      <a:pt x="0" y="51435"/>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35" name="Freeform: Shape 34">
                <a:extLst>
                  <a:ext uri="{FF2B5EF4-FFF2-40B4-BE49-F238E27FC236}">
                    <a16:creationId xmlns:a16="http://schemas.microsoft.com/office/drawing/2014/main" id="{45CCB68B-E3B4-475C-B4F9-0F6307DF2A76}"/>
                  </a:ext>
                </a:extLst>
              </p:cNvPr>
              <p:cNvSpPr/>
              <p:nvPr/>
            </p:nvSpPr>
            <p:spPr bwMode="auto">
              <a:xfrm>
                <a:off x="5528310" y="4975860"/>
                <a:ext cx="836295" cy="130105"/>
              </a:xfrm>
              <a:custGeom>
                <a:avLst/>
                <a:gdLst>
                  <a:gd name="connsiteX0" fmla="*/ 0 w 836295"/>
                  <a:gd name="connsiteY0" fmla="*/ 0 h 130105"/>
                  <a:gd name="connsiteX1" fmla="*/ 219075 w 836295"/>
                  <a:gd name="connsiteY1" fmla="*/ 53340 h 130105"/>
                  <a:gd name="connsiteX2" fmla="*/ 280035 w 836295"/>
                  <a:gd name="connsiteY2" fmla="*/ 91440 h 130105"/>
                  <a:gd name="connsiteX3" fmla="*/ 373380 w 836295"/>
                  <a:gd name="connsiteY3" fmla="*/ 127635 h 130105"/>
                  <a:gd name="connsiteX4" fmla="*/ 474345 w 836295"/>
                  <a:gd name="connsiteY4" fmla="*/ 123825 h 130105"/>
                  <a:gd name="connsiteX5" fmla="*/ 556260 w 836295"/>
                  <a:gd name="connsiteY5" fmla="*/ 99060 h 130105"/>
                  <a:gd name="connsiteX6" fmla="*/ 758190 w 836295"/>
                  <a:gd name="connsiteY6" fmla="*/ 17145 h 130105"/>
                  <a:gd name="connsiteX7" fmla="*/ 836295 w 836295"/>
                  <a:gd name="connsiteY7" fmla="*/ 7620 h 130105"/>
                  <a:gd name="connsiteX8" fmla="*/ 836295 w 836295"/>
                  <a:gd name="connsiteY8" fmla="*/ 7620 h 130105"/>
                  <a:gd name="connsiteX9" fmla="*/ 836295 w 836295"/>
                  <a:gd name="connsiteY9" fmla="*/ 7620 h 1301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836295" h="130105">
                    <a:moveTo>
                      <a:pt x="0" y="0"/>
                    </a:moveTo>
                    <a:cubicBezTo>
                      <a:pt x="86201" y="19050"/>
                      <a:pt x="172403" y="38100"/>
                      <a:pt x="219075" y="53340"/>
                    </a:cubicBezTo>
                    <a:cubicBezTo>
                      <a:pt x="265747" y="68580"/>
                      <a:pt x="254317" y="79057"/>
                      <a:pt x="280035" y="91440"/>
                    </a:cubicBezTo>
                    <a:cubicBezTo>
                      <a:pt x="305753" y="103823"/>
                      <a:pt x="340995" y="122237"/>
                      <a:pt x="373380" y="127635"/>
                    </a:cubicBezTo>
                    <a:cubicBezTo>
                      <a:pt x="405765" y="133033"/>
                      <a:pt x="443865" y="128587"/>
                      <a:pt x="474345" y="123825"/>
                    </a:cubicBezTo>
                    <a:cubicBezTo>
                      <a:pt x="504825" y="119063"/>
                      <a:pt x="508953" y="116840"/>
                      <a:pt x="556260" y="99060"/>
                    </a:cubicBezTo>
                    <a:cubicBezTo>
                      <a:pt x="603567" y="81280"/>
                      <a:pt x="711518" y="32385"/>
                      <a:pt x="758190" y="17145"/>
                    </a:cubicBezTo>
                    <a:cubicBezTo>
                      <a:pt x="804862" y="1905"/>
                      <a:pt x="836295" y="7620"/>
                      <a:pt x="836295" y="7620"/>
                    </a:cubicBezTo>
                    <a:lnTo>
                      <a:pt x="836295" y="7620"/>
                    </a:lnTo>
                    <a:lnTo>
                      <a:pt x="836295" y="7620"/>
                    </a:ln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36" name="Freeform: Shape 35">
                <a:extLst>
                  <a:ext uri="{FF2B5EF4-FFF2-40B4-BE49-F238E27FC236}">
                    <a16:creationId xmlns:a16="http://schemas.microsoft.com/office/drawing/2014/main" id="{653AE2A6-DCC9-4B09-B622-E3A72D3A1AC3}"/>
                  </a:ext>
                </a:extLst>
              </p:cNvPr>
              <p:cNvSpPr/>
              <p:nvPr/>
            </p:nvSpPr>
            <p:spPr bwMode="auto">
              <a:xfrm>
                <a:off x="4831080" y="4918710"/>
                <a:ext cx="575310" cy="320040"/>
              </a:xfrm>
              <a:custGeom>
                <a:avLst/>
                <a:gdLst>
                  <a:gd name="connsiteX0" fmla="*/ 0 w 575310"/>
                  <a:gd name="connsiteY0" fmla="*/ 0 h 320040"/>
                  <a:gd name="connsiteX1" fmla="*/ 76200 w 575310"/>
                  <a:gd name="connsiteY1" fmla="*/ 80010 h 320040"/>
                  <a:gd name="connsiteX2" fmla="*/ 304800 w 575310"/>
                  <a:gd name="connsiteY2" fmla="*/ 203835 h 320040"/>
                  <a:gd name="connsiteX3" fmla="*/ 344805 w 575310"/>
                  <a:gd name="connsiteY3" fmla="*/ 215265 h 320040"/>
                  <a:gd name="connsiteX4" fmla="*/ 388620 w 575310"/>
                  <a:gd name="connsiteY4" fmla="*/ 217170 h 320040"/>
                  <a:gd name="connsiteX5" fmla="*/ 575310 w 575310"/>
                  <a:gd name="connsiteY5" fmla="*/ 320040 h 3200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75310" h="320040">
                    <a:moveTo>
                      <a:pt x="0" y="0"/>
                    </a:moveTo>
                    <a:cubicBezTo>
                      <a:pt x="12700" y="23019"/>
                      <a:pt x="25400" y="46038"/>
                      <a:pt x="76200" y="80010"/>
                    </a:cubicBezTo>
                    <a:cubicBezTo>
                      <a:pt x="127000" y="113982"/>
                      <a:pt x="260033" y="181293"/>
                      <a:pt x="304800" y="203835"/>
                    </a:cubicBezTo>
                    <a:cubicBezTo>
                      <a:pt x="349567" y="226377"/>
                      <a:pt x="330835" y="213043"/>
                      <a:pt x="344805" y="215265"/>
                    </a:cubicBezTo>
                    <a:cubicBezTo>
                      <a:pt x="358775" y="217487"/>
                      <a:pt x="350203" y="199708"/>
                      <a:pt x="388620" y="217170"/>
                    </a:cubicBezTo>
                    <a:cubicBezTo>
                      <a:pt x="427038" y="234633"/>
                      <a:pt x="501174" y="277336"/>
                      <a:pt x="575310" y="320040"/>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37" name="Freeform: Shape 36">
                <a:extLst>
                  <a:ext uri="{FF2B5EF4-FFF2-40B4-BE49-F238E27FC236}">
                    <a16:creationId xmlns:a16="http://schemas.microsoft.com/office/drawing/2014/main" id="{D38E57A3-0524-47C3-BE64-5D9AB756E040}"/>
                  </a:ext>
                </a:extLst>
              </p:cNvPr>
              <p:cNvSpPr/>
              <p:nvPr/>
            </p:nvSpPr>
            <p:spPr bwMode="auto">
              <a:xfrm>
                <a:off x="5539740" y="5292090"/>
                <a:ext cx="807720" cy="150798"/>
              </a:xfrm>
              <a:custGeom>
                <a:avLst/>
                <a:gdLst>
                  <a:gd name="connsiteX0" fmla="*/ 0 w 807720"/>
                  <a:gd name="connsiteY0" fmla="*/ 114300 h 150798"/>
                  <a:gd name="connsiteX1" fmla="*/ 224790 w 807720"/>
                  <a:gd name="connsiteY1" fmla="*/ 148590 h 150798"/>
                  <a:gd name="connsiteX2" fmla="*/ 449580 w 807720"/>
                  <a:gd name="connsiteY2" fmla="*/ 146685 h 150798"/>
                  <a:gd name="connsiteX3" fmla="*/ 630555 w 807720"/>
                  <a:gd name="connsiteY3" fmla="*/ 140970 h 150798"/>
                  <a:gd name="connsiteX4" fmla="*/ 771525 w 807720"/>
                  <a:gd name="connsiteY4" fmla="*/ 76200 h 150798"/>
                  <a:gd name="connsiteX5" fmla="*/ 807720 w 807720"/>
                  <a:gd name="connsiteY5" fmla="*/ 0 h 1507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7720" h="150798">
                    <a:moveTo>
                      <a:pt x="0" y="114300"/>
                    </a:moveTo>
                    <a:cubicBezTo>
                      <a:pt x="74930" y="128746"/>
                      <a:pt x="149860" y="143193"/>
                      <a:pt x="224790" y="148590"/>
                    </a:cubicBezTo>
                    <a:cubicBezTo>
                      <a:pt x="299720" y="153987"/>
                      <a:pt x="381953" y="147955"/>
                      <a:pt x="449580" y="146685"/>
                    </a:cubicBezTo>
                    <a:cubicBezTo>
                      <a:pt x="517207" y="145415"/>
                      <a:pt x="576898" y="152718"/>
                      <a:pt x="630555" y="140970"/>
                    </a:cubicBezTo>
                    <a:cubicBezTo>
                      <a:pt x="684213" y="129223"/>
                      <a:pt x="741998" y="99695"/>
                      <a:pt x="771525" y="76200"/>
                    </a:cubicBezTo>
                    <a:cubicBezTo>
                      <a:pt x="801052" y="52705"/>
                      <a:pt x="804386" y="26352"/>
                      <a:pt x="807720" y="0"/>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38" name="Freeform: Shape 37">
                <a:extLst>
                  <a:ext uri="{FF2B5EF4-FFF2-40B4-BE49-F238E27FC236}">
                    <a16:creationId xmlns:a16="http://schemas.microsoft.com/office/drawing/2014/main" id="{BB6C5B39-7E12-469B-8C37-74D6EA570AD1}"/>
                  </a:ext>
                </a:extLst>
              </p:cNvPr>
              <p:cNvSpPr/>
              <p:nvPr/>
            </p:nvSpPr>
            <p:spPr bwMode="auto">
              <a:xfrm>
                <a:off x="6728460" y="4478655"/>
                <a:ext cx="194310" cy="247650"/>
              </a:xfrm>
              <a:custGeom>
                <a:avLst/>
                <a:gdLst>
                  <a:gd name="connsiteX0" fmla="*/ 194310 w 194310"/>
                  <a:gd name="connsiteY0" fmla="*/ 0 h 247650"/>
                  <a:gd name="connsiteX1" fmla="*/ 150495 w 194310"/>
                  <a:gd name="connsiteY1" fmla="*/ 99060 h 247650"/>
                  <a:gd name="connsiteX2" fmla="*/ 0 w 194310"/>
                  <a:gd name="connsiteY2" fmla="*/ 247650 h 247650"/>
                </a:gdLst>
                <a:ahLst/>
                <a:cxnLst>
                  <a:cxn ang="0">
                    <a:pos x="connsiteX0" y="connsiteY0"/>
                  </a:cxn>
                  <a:cxn ang="0">
                    <a:pos x="connsiteX1" y="connsiteY1"/>
                  </a:cxn>
                  <a:cxn ang="0">
                    <a:pos x="connsiteX2" y="connsiteY2"/>
                  </a:cxn>
                </a:cxnLst>
                <a:rect l="l" t="t" r="r" b="b"/>
                <a:pathLst>
                  <a:path w="194310" h="247650">
                    <a:moveTo>
                      <a:pt x="194310" y="0"/>
                    </a:moveTo>
                    <a:cubicBezTo>
                      <a:pt x="188595" y="28892"/>
                      <a:pt x="182880" y="57785"/>
                      <a:pt x="150495" y="99060"/>
                    </a:cubicBezTo>
                    <a:cubicBezTo>
                      <a:pt x="118110" y="140335"/>
                      <a:pt x="59055" y="193992"/>
                      <a:pt x="0" y="247650"/>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39" name="Freeform: Shape 38">
                <a:extLst>
                  <a:ext uri="{FF2B5EF4-FFF2-40B4-BE49-F238E27FC236}">
                    <a16:creationId xmlns:a16="http://schemas.microsoft.com/office/drawing/2014/main" id="{DA57AF35-712D-4308-A5B3-9453FDA55E83}"/>
                  </a:ext>
                </a:extLst>
              </p:cNvPr>
              <p:cNvSpPr/>
              <p:nvPr/>
            </p:nvSpPr>
            <p:spPr bwMode="auto">
              <a:xfrm>
                <a:off x="6560820" y="5052060"/>
                <a:ext cx="329565" cy="201930"/>
              </a:xfrm>
              <a:custGeom>
                <a:avLst/>
                <a:gdLst>
                  <a:gd name="connsiteX0" fmla="*/ 329565 w 329565"/>
                  <a:gd name="connsiteY0" fmla="*/ 0 h 201930"/>
                  <a:gd name="connsiteX1" fmla="*/ 219075 w 329565"/>
                  <a:gd name="connsiteY1" fmla="*/ 7620 h 201930"/>
                  <a:gd name="connsiteX2" fmla="*/ 144780 w 329565"/>
                  <a:gd name="connsiteY2" fmla="*/ 11430 h 201930"/>
                  <a:gd name="connsiteX3" fmla="*/ 104775 w 329565"/>
                  <a:gd name="connsiteY3" fmla="*/ 26670 h 201930"/>
                  <a:gd name="connsiteX4" fmla="*/ 68580 w 329565"/>
                  <a:gd name="connsiteY4" fmla="*/ 112395 h 201930"/>
                  <a:gd name="connsiteX5" fmla="*/ 36195 w 329565"/>
                  <a:gd name="connsiteY5" fmla="*/ 177165 h 201930"/>
                  <a:gd name="connsiteX6" fmla="*/ 0 w 329565"/>
                  <a:gd name="connsiteY6" fmla="*/ 201930 h 2019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29565" h="201930">
                    <a:moveTo>
                      <a:pt x="329565" y="0"/>
                    </a:moveTo>
                    <a:lnTo>
                      <a:pt x="219075" y="7620"/>
                    </a:lnTo>
                    <a:cubicBezTo>
                      <a:pt x="188277" y="9525"/>
                      <a:pt x="163830" y="8255"/>
                      <a:pt x="144780" y="11430"/>
                    </a:cubicBezTo>
                    <a:cubicBezTo>
                      <a:pt x="125730" y="14605"/>
                      <a:pt x="117475" y="9843"/>
                      <a:pt x="104775" y="26670"/>
                    </a:cubicBezTo>
                    <a:cubicBezTo>
                      <a:pt x="92075" y="43498"/>
                      <a:pt x="80010" y="87312"/>
                      <a:pt x="68580" y="112395"/>
                    </a:cubicBezTo>
                    <a:cubicBezTo>
                      <a:pt x="57150" y="137478"/>
                      <a:pt x="47625" y="162242"/>
                      <a:pt x="36195" y="177165"/>
                    </a:cubicBezTo>
                    <a:cubicBezTo>
                      <a:pt x="24765" y="192088"/>
                      <a:pt x="12382" y="197009"/>
                      <a:pt x="0" y="201930"/>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0" name="Freeform: Shape 39">
                <a:extLst>
                  <a:ext uri="{FF2B5EF4-FFF2-40B4-BE49-F238E27FC236}">
                    <a16:creationId xmlns:a16="http://schemas.microsoft.com/office/drawing/2014/main" id="{5082ED0F-FCBA-48EB-BD71-B808BCF43168}"/>
                  </a:ext>
                </a:extLst>
              </p:cNvPr>
              <p:cNvSpPr/>
              <p:nvPr/>
            </p:nvSpPr>
            <p:spPr bwMode="auto">
              <a:xfrm>
                <a:off x="6920866" y="4737735"/>
                <a:ext cx="78626" cy="194310"/>
              </a:xfrm>
              <a:custGeom>
                <a:avLst/>
                <a:gdLst>
                  <a:gd name="connsiteX0" fmla="*/ 0 w 83221"/>
                  <a:gd name="connsiteY0" fmla="*/ 0 h 194310"/>
                  <a:gd name="connsiteX1" fmla="*/ 62865 w 83221"/>
                  <a:gd name="connsiteY1" fmla="*/ 74295 h 194310"/>
                  <a:gd name="connsiteX2" fmla="*/ 81915 w 83221"/>
                  <a:gd name="connsiteY2" fmla="*/ 121920 h 194310"/>
                  <a:gd name="connsiteX3" fmla="*/ 80010 w 83221"/>
                  <a:gd name="connsiteY3" fmla="*/ 194310 h 194310"/>
                </a:gdLst>
                <a:ahLst/>
                <a:cxnLst>
                  <a:cxn ang="0">
                    <a:pos x="connsiteX0" y="connsiteY0"/>
                  </a:cxn>
                  <a:cxn ang="0">
                    <a:pos x="connsiteX1" y="connsiteY1"/>
                  </a:cxn>
                  <a:cxn ang="0">
                    <a:pos x="connsiteX2" y="connsiteY2"/>
                  </a:cxn>
                  <a:cxn ang="0">
                    <a:pos x="connsiteX3" y="connsiteY3"/>
                  </a:cxn>
                </a:cxnLst>
                <a:rect l="l" t="t" r="r" b="b"/>
                <a:pathLst>
                  <a:path w="83221" h="194310">
                    <a:moveTo>
                      <a:pt x="0" y="0"/>
                    </a:moveTo>
                    <a:cubicBezTo>
                      <a:pt x="24606" y="26987"/>
                      <a:pt x="49213" y="53975"/>
                      <a:pt x="62865" y="74295"/>
                    </a:cubicBezTo>
                    <a:cubicBezTo>
                      <a:pt x="76517" y="94615"/>
                      <a:pt x="79058" y="101918"/>
                      <a:pt x="81915" y="121920"/>
                    </a:cubicBezTo>
                    <a:cubicBezTo>
                      <a:pt x="84773" y="141923"/>
                      <a:pt x="82391" y="168116"/>
                      <a:pt x="80010" y="194310"/>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1" name="Freeform: Shape 40">
                <a:extLst>
                  <a:ext uri="{FF2B5EF4-FFF2-40B4-BE49-F238E27FC236}">
                    <a16:creationId xmlns:a16="http://schemas.microsoft.com/office/drawing/2014/main" id="{2ADECC1A-0C0B-4940-A9B6-FC4A5CF97259}"/>
                  </a:ext>
                </a:extLst>
              </p:cNvPr>
              <p:cNvSpPr/>
              <p:nvPr/>
            </p:nvSpPr>
            <p:spPr bwMode="auto">
              <a:xfrm>
                <a:off x="6673215" y="4802505"/>
                <a:ext cx="542925" cy="440055"/>
              </a:xfrm>
              <a:custGeom>
                <a:avLst/>
                <a:gdLst>
                  <a:gd name="connsiteX0" fmla="*/ 542925 w 542925"/>
                  <a:gd name="connsiteY0" fmla="*/ 0 h 440055"/>
                  <a:gd name="connsiteX1" fmla="*/ 472440 w 542925"/>
                  <a:gd name="connsiteY1" fmla="*/ 34290 h 440055"/>
                  <a:gd name="connsiteX2" fmla="*/ 426720 w 542925"/>
                  <a:gd name="connsiteY2" fmla="*/ 81915 h 440055"/>
                  <a:gd name="connsiteX3" fmla="*/ 384810 w 542925"/>
                  <a:gd name="connsiteY3" fmla="*/ 123825 h 440055"/>
                  <a:gd name="connsiteX4" fmla="*/ 342900 w 542925"/>
                  <a:gd name="connsiteY4" fmla="*/ 201930 h 440055"/>
                  <a:gd name="connsiteX5" fmla="*/ 291465 w 542925"/>
                  <a:gd name="connsiteY5" fmla="*/ 259080 h 440055"/>
                  <a:gd name="connsiteX6" fmla="*/ 236220 w 542925"/>
                  <a:gd name="connsiteY6" fmla="*/ 306705 h 440055"/>
                  <a:gd name="connsiteX7" fmla="*/ 207645 w 542925"/>
                  <a:gd name="connsiteY7" fmla="*/ 329565 h 440055"/>
                  <a:gd name="connsiteX8" fmla="*/ 139065 w 542925"/>
                  <a:gd name="connsiteY8" fmla="*/ 354330 h 440055"/>
                  <a:gd name="connsiteX9" fmla="*/ 0 w 542925"/>
                  <a:gd name="connsiteY9" fmla="*/ 440055 h 440055"/>
                  <a:gd name="connsiteX10" fmla="*/ 0 w 542925"/>
                  <a:gd name="connsiteY10" fmla="*/ 440055 h 440055"/>
                  <a:gd name="connsiteX11" fmla="*/ 0 w 542925"/>
                  <a:gd name="connsiteY11" fmla="*/ 440055 h 4400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42925" h="440055">
                    <a:moveTo>
                      <a:pt x="542925" y="0"/>
                    </a:moveTo>
                    <a:cubicBezTo>
                      <a:pt x="517366" y="10319"/>
                      <a:pt x="491807" y="20638"/>
                      <a:pt x="472440" y="34290"/>
                    </a:cubicBezTo>
                    <a:cubicBezTo>
                      <a:pt x="453073" y="47942"/>
                      <a:pt x="441325" y="66993"/>
                      <a:pt x="426720" y="81915"/>
                    </a:cubicBezTo>
                    <a:cubicBezTo>
                      <a:pt x="412115" y="96837"/>
                      <a:pt x="398780" y="103823"/>
                      <a:pt x="384810" y="123825"/>
                    </a:cubicBezTo>
                    <a:cubicBezTo>
                      <a:pt x="370840" y="143827"/>
                      <a:pt x="358457" y="179388"/>
                      <a:pt x="342900" y="201930"/>
                    </a:cubicBezTo>
                    <a:cubicBezTo>
                      <a:pt x="327343" y="224472"/>
                      <a:pt x="309245" y="241618"/>
                      <a:pt x="291465" y="259080"/>
                    </a:cubicBezTo>
                    <a:cubicBezTo>
                      <a:pt x="273685" y="276542"/>
                      <a:pt x="250190" y="294958"/>
                      <a:pt x="236220" y="306705"/>
                    </a:cubicBezTo>
                    <a:cubicBezTo>
                      <a:pt x="222250" y="318452"/>
                      <a:pt x="223837" y="321628"/>
                      <a:pt x="207645" y="329565"/>
                    </a:cubicBezTo>
                    <a:cubicBezTo>
                      <a:pt x="191452" y="337503"/>
                      <a:pt x="173672" y="335915"/>
                      <a:pt x="139065" y="354330"/>
                    </a:cubicBezTo>
                    <a:cubicBezTo>
                      <a:pt x="104457" y="372745"/>
                      <a:pt x="0" y="440055"/>
                      <a:pt x="0" y="440055"/>
                    </a:cubicBezTo>
                    <a:lnTo>
                      <a:pt x="0" y="440055"/>
                    </a:lnTo>
                    <a:lnTo>
                      <a:pt x="0" y="440055"/>
                    </a:ln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2" name="Freeform: Shape 41">
                <a:extLst>
                  <a:ext uri="{FF2B5EF4-FFF2-40B4-BE49-F238E27FC236}">
                    <a16:creationId xmlns:a16="http://schemas.microsoft.com/office/drawing/2014/main" id="{F36EC41B-FBE4-4035-871E-899FC984A571}"/>
                  </a:ext>
                </a:extLst>
              </p:cNvPr>
              <p:cNvSpPr/>
              <p:nvPr/>
            </p:nvSpPr>
            <p:spPr bwMode="auto">
              <a:xfrm rot="176958">
                <a:off x="7061835" y="3482340"/>
                <a:ext cx="85725" cy="224790"/>
              </a:xfrm>
              <a:custGeom>
                <a:avLst/>
                <a:gdLst>
                  <a:gd name="connsiteX0" fmla="*/ 0 w 85725"/>
                  <a:gd name="connsiteY0" fmla="*/ 0 h 224790"/>
                  <a:gd name="connsiteX1" fmla="*/ 19050 w 85725"/>
                  <a:gd name="connsiteY1" fmla="*/ 83820 h 224790"/>
                  <a:gd name="connsiteX2" fmla="*/ 85725 w 85725"/>
                  <a:gd name="connsiteY2" fmla="*/ 224790 h 224790"/>
                </a:gdLst>
                <a:ahLst/>
                <a:cxnLst>
                  <a:cxn ang="0">
                    <a:pos x="connsiteX0" y="connsiteY0"/>
                  </a:cxn>
                  <a:cxn ang="0">
                    <a:pos x="connsiteX1" y="connsiteY1"/>
                  </a:cxn>
                  <a:cxn ang="0">
                    <a:pos x="connsiteX2" y="connsiteY2"/>
                  </a:cxn>
                </a:cxnLst>
                <a:rect l="l" t="t" r="r" b="b"/>
                <a:pathLst>
                  <a:path w="85725" h="224790">
                    <a:moveTo>
                      <a:pt x="0" y="0"/>
                    </a:moveTo>
                    <a:cubicBezTo>
                      <a:pt x="2381" y="23177"/>
                      <a:pt x="4762" y="46355"/>
                      <a:pt x="19050" y="83820"/>
                    </a:cubicBezTo>
                    <a:cubicBezTo>
                      <a:pt x="33338" y="121285"/>
                      <a:pt x="59531" y="173037"/>
                      <a:pt x="85725" y="224790"/>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3" name="Freeform: Shape 42">
                <a:extLst>
                  <a:ext uri="{FF2B5EF4-FFF2-40B4-BE49-F238E27FC236}">
                    <a16:creationId xmlns:a16="http://schemas.microsoft.com/office/drawing/2014/main" id="{07405582-6EDF-4F5D-8862-54128C642A9F}"/>
                  </a:ext>
                </a:extLst>
              </p:cNvPr>
              <p:cNvSpPr/>
              <p:nvPr/>
            </p:nvSpPr>
            <p:spPr bwMode="auto">
              <a:xfrm>
                <a:off x="6985635" y="3990975"/>
                <a:ext cx="150770" cy="337185"/>
              </a:xfrm>
              <a:custGeom>
                <a:avLst/>
                <a:gdLst>
                  <a:gd name="connsiteX0" fmla="*/ 123825 w 150770"/>
                  <a:gd name="connsiteY0" fmla="*/ 0 h 337185"/>
                  <a:gd name="connsiteX1" fmla="*/ 150495 w 150770"/>
                  <a:gd name="connsiteY1" fmla="*/ 146685 h 337185"/>
                  <a:gd name="connsiteX2" fmla="*/ 127635 w 150770"/>
                  <a:gd name="connsiteY2" fmla="*/ 249555 h 337185"/>
                  <a:gd name="connsiteX3" fmla="*/ 0 w 150770"/>
                  <a:gd name="connsiteY3" fmla="*/ 337185 h 337185"/>
                </a:gdLst>
                <a:ahLst/>
                <a:cxnLst>
                  <a:cxn ang="0">
                    <a:pos x="connsiteX0" y="connsiteY0"/>
                  </a:cxn>
                  <a:cxn ang="0">
                    <a:pos x="connsiteX1" y="connsiteY1"/>
                  </a:cxn>
                  <a:cxn ang="0">
                    <a:pos x="connsiteX2" y="connsiteY2"/>
                  </a:cxn>
                  <a:cxn ang="0">
                    <a:pos x="connsiteX3" y="connsiteY3"/>
                  </a:cxn>
                </a:cxnLst>
                <a:rect l="l" t="t" r="r" b="b"/>
                <a:pathLst>
                  <a:path w="150770" h="337185">
                    <a:moveTo>
                      <a:pt x="123825" y="0"/>
                    </a:moveTo>
                    <a:cubicBezTo>
                      <a:pt x="136842" y="52546"/>
                      <a:pt x="149860" y="105093"/>
                      <a:pt x="150495" y="146685"/>
                    </a:cubicBezTo>
                    <a:cubicBezTo>
                      <a:pt x="151130" y="188277"/>
                      <a:pt x="152717" y="217805"/>
                      <a:pt x="127635" y="249555"/>
                    </a:cubicBezTo>
                    <a:cubicBezTo>
                      <a:pt x="102553" y="281305"/>
                      <a:pt x="51276" y="309245"/>
                      <a:pt x="0" y="337185"/>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4" name="Freeform: Shape 43">
                <a:extLst>
                  <a:ext uri="{FF2B5EF4-FFF2-40B4-BE49-F238E27FC236}">
                    <a16:creationId xmlns:a16="http://schemas.microsoft.com/office/drawing/2014/main" id="{5613BD18-E965-4240-A81A-CDC6880621BE}"/>
                  </a:ext>
                </a:extLst>
              </p:cNvPr>
              <p:cNvSpPr/>
              <p:nvPr/>
            </p:nvSpPr>
            <p:spPr bwMode="auto">
              <a:xfrm>
                <a:off x="7300753" y="3625215"/>
                <a:ext cx="208757" cy="403165"/>
              </a:xfrm>
              <a:custGeom>
                <a:avLst/>
                <a:gdLst>
                  <a:gd name="connsiteX0" fmla="*/ 208757 w 208757"/>
                  <a:gd name="connsiteY0" fmla="*/ 0 h 403165"/>
                  <a:gd name="connsiteX1" fmla="*/ 195422 w 208757"/>
                  <a:gd name="connsiteY1" fmla="*/ 64770 h 403165"/>
                  <a:gd name="connsiteX2" fmla="*/ 143987 w 208757"/>
                  <a:gd name="connsiteY2" fmla="*/ 114300 h 403165"/>
                  <a:gd name="connsiteX3" fmla="*/ 10637 w 208757"/>
                  <a:gd name="connsiteY3" fmla="*/ 190500 h 403165"/>
                  <a:gd name="connsiteX4" fmla="*/ 14447 w 208757"/>
                  <a:gd name="connsiteY4" fmla="*/ 224790 h 403165"/>
                  <a:gd name="connsiteX5" fmla="*/ 63977 w 208757"/>
                  <a:gd name="connsiteY5" fmla="*/ 297180 h 403165"/>
                  <a:gd name="connsiteX6" fmla="*/ 107792 w 208757"/>
                  <a:gd name="connsiteY6" fmla="*/ 390525 h 403165"/>
                  <a:gd name="connsiteX7" fmla="*/ 132557 w 208757"/>
                  <a:gd name="connsiteY7" fmla="*/ 400050 h 403165"/>
                  <a:gd name="connsiteX8" fmla="*/ 164942 w 208757"/>
                  <a:gd name="connsiteY8" fmla="*/ 369570 h 403165"/>
                  <a:gd name="connsiteX9" fmla="*/ 176372 w 208757"/>
                  <a:gd name="connsiteY9" fmla="*/ 300990 h 403165"/>
                  <a:gd name="connsiteX10" fmla="*/ 147797 w 208757"/>
                  <a:gd name="connsiteY10" fmla="*/ 249555 h 4031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208757" h="403165">
                    <a:moveTo>
                      <a:pt x="208757" y="0"/>
                    </a:moveTo>
                    <a:cubicBezTo>
                      <a:pt x="207487" y="22860"/>
                      <a:pt x="206217" y="45720"/>
                      <a:pt x="195422" y="64770"/>
                    </a:cubicBezTo>
                    <a:cubicBezTo>
                      <a:pt x="184627" y="83820"/>
                      <a:pt x="174784" y="93345"/>
                      <a:pt x="143987" y="114300"/>
                    </a:cubicBezTo>
                    <a:cubicBezTo>
                      <a:pt x="113189" y="135255"/>
                      <a:pt x="32227" y="172085"/>
                      <a:pt x="10637" y="190500"/>
                    </a:cubicBezTo>
                    <a:cubicBezTo>
                      <a:pt x="-10953" y="208915"/>
                      <a:pt x="5557" y="207010"/>
                      <a:pt x="14447" y="224790"/>
                    </a:cubicBezTo>
                    <a:cubicBezTo>
                      <a:pt x="23337" y="242570"/>
                      <a:pt x="48420" y="269558"/>
                      <a:pt x="63977" y="297180"/>
                    </a:cubicBezTo>
                    <a:cubicBezTo>
                      <a:pt x="79534" y="324802"/>
                      <a:pt x="96362" y="373380"/>
                      <a:pt x="107792" y="390525"/>
                    </a:cubicBezTo>
                    <a:cubicBezTo>
                      <a:pt x="119222" y="407670"/>
                      <a:pt x="123032" y="403543"/>
                      <a:pt x="132557" y="400050"/>
                    </a:cubicBezTo>
                    <a:cubicBezTo>
                      <a:pt x="142082" y="396557"/>
                      <a:pt x="157640" y="386080"/>
                      <a:pt x="164942" y="369570"/>
                    </a:cubicBezTo>
                    <a:cubicBezTo>
                      <a:pt x="172244" y="353060"/>
                      <a:pt x="179229" y="320993"/>
                      <a:pt x="176372" y="300990"/>
                    </a:cubicBezTo>
                    <a:cubicBezTo>
                      <a:pt x="173514" y="280988"/>
                      <a:pt x="160655" y="265271"/>
                      <a:pt x="147797" y="249555"/>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5" name="Freeform: Shape 44">
                <a:extLst>
                  <a:ext uri="{FF2B5EF4-FFF2-40B4-BE49-F238E27FC236}">
                    <a16:creationId xmlns:a16="http://schemas.microsoft.com/office/drawing/2014/main" id="{254CEFA1-4F3F-4B75-B900-72C6B1A0B6A7}"/>
                  </a:ext>
                </a:extLst>
              </p:cNvPr>
              <p:cNvSpPr/>
              <p:nvPr/>
            </p:nvSpPr>
            <p:spPr bwMode="auto">
              <a:xfrm>
                <a:off x="6818552" y="2747010"/>
                <a:ext cx="351868" cy="731520"/>
              </a:xfrm>
              <a:custGeom>
                <a:avLst/>
                <a:gdLst>
                  <a:gd name="connsiteX0" fmla="*/ 351868 w 351868"/>
                  <a:gd name="connsiteY0" fmla="*/ 123825 h 731520"/>
                  <a:gd name="connsiteX1" fmla="*/ 285193 w 351868"/>
                  <a:gd name="connsiteY1" fmla="*/ 74295 h 731520"/>
                  <a:gd name="connsiteX2" fmla="*/ 155653 w 351868"/>
                  <a:gd name="connsiteY2" fmla="*/ 20955 h 731520"/>
                  <a:gd name="connsiteX3" fmla="*/ 50878 w 351868"/>
                  <a:gd name="connsiteY3" fmla="*/ 0 h 731520"/>
                  <a:gd name="connsiteX4" fmla="*/ 7063 w 351868"/>
                  <a:gd name="connsiteY4" fmla="*/ 20955 h 731520"/>
                  <a:gd name="connsiteX5" fmla="*/ 1348 w 351868"/>
                  <a:gd name="connsiteY5" fmla="*/ 99060 h 731520"/>
                  <a:gd name="connsiteX6" fmla="*/ 20398 w 351868"/>
                  <a:gd name="connsiteY6" fmla="*/ 194310 h 731520"/>
                  <a:gd name="connsiteX7" fmla="*/ 92788 w 351868"/>
                  <a:gd name="connsiteY7" fmla="*/ 377190 h 731520"/>
                  <a:gd name="connsiteX8" fmla="*/ 153748 w 351868"/>
                  <a:gd name="connsiteY8" fmla="*/ 493395 h 731520"/>
                  <a:gd name="connsiteX9" fmla="*/ 216613 w 351868"/>
                  <a:gd name="connsiteY9" fmla="*/ 577215 h 731520"/>
                  <a:gd name="connsiteX10" fmla="*/ 311863 w 351868"/>
                  <a:gd name="connsiteY10" fmla="*/ 731520 h 731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51868" h="731520">
                    <a:moveTo>
                      <a:pt x="351868" y="123825"/>
                    </a:moveTo>
                    <a:cubicBezTo>
                      <a:pt x="334882" y="107632"/>
                      <a:pt x="317896" y="91440"/>
                      <a:pt x="285193" y="74295"/>
                    </a:cubicBezTo>
                    <a:cubicBezTo>
                      <a:pt x="252490" y="57150"/>
                      <a:pt x="194706" y="33338"/>
                      <a:pt x="155653" y="20955"/>
                    </a:cubicBezTo>
                    <a:cubicBezTo>
                      <a:pt x="116600" y="8572"/>
                      <a:pt x="75643" y="0"/>
                      <a:pt x="50878" y="0"/>
                    </a:cubicBezTo>
                    <a:cubicBezTo>
                      <a:pt x="26113" y="0"/>
                      <a:pt x="15318" y="4445"/>
                      <a:pt x="7063" y="20955"/>
                    </a:cubicBezTo>
                    <a:cubicBezTo>
                      <a:pt x="-1192" y="37465"/>
                      <a:pt x="-874" y="70168"/>
                      <a:pt x="1348" y="99060"/>
                    </a:cubicBezTo>
                    <a:cubicBezTo>
                      <a:pt x="3570" y="127952"/>
                      <a:pt x="5158" y="147955"/>
                      <a:pt x="20398" y="194310"/>
                    </a:cubicBezTo>
                    <a:cubicBezTo>
                      <a:pt x="35638" y="240665"/>
                      <a:pt x="70563" y="327343"/>
                      <a:pt x="92788" y="377190"/>
                    </a:cubicBezTo>
                    <a:cubicBezTo>
                      <a:pt x="115013" y="427037"/>
                      <a:pt x="133110" y="460058"/>
                      <a:pt x="153748" y="493395"/>
                    </a:cubicBezTo>
                    <a:cubicBezTo>
                      <a:pt x="174385" y="526733"/>
                      <a:pt x="190260" y="537528"/>
                      <a:pt x="216613" y="577215"/>
                    </a:cubicBezTo>
                    <a:cubicBezTo>
                      <a:pt x="242965" y="616903"/>
                      <a:pt x="277414" y="674211"/>
                      <a:pt x="311863" y="731520"/>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6" name="Freeform: Shape 45">
                <a:extLst>
                  <a:ext uri="{FF2B5EF4-FFF2-40B4-BE49-F238E27FC236}">
                    <a16:creationId xmlns:a16="http://schemas.microsoft.com/office/drawing/2014/main" id="{F08DF3CD-9826-4DE8-996C-2D46154E3B4B}"/>
                  </a:ext>
                </a:extLst>
              </p:cNvPr>
              <p:cNvSpPr/>
              <p:nvPr/>
            </p:nvSpPr>
            <p:spPr bwMode="auto">
              <a:xfrm>
                <a:off x="7246620" y="2954655"/>
                <a:ext cx="236380" cy="563838"/>
              </a:xfrm>
              <a:custGeom>
                <a:avLst/>
                <a:gdLst>
                  <a:gd name="connsiteX0" fmla="*/ 150495 w 236380"/>
                  <a:gd name="connsiteY0" fmla="*/ 421005 h 563838"/>
                  <a:gd name="connsiteX1" fmla="*/ 158115 w 236380"/>
                  <a:gd name="connsiteY1" fmla="*/ 358140 h 563838"/>
                  <a:gd name="connsiteX2" fmla="*/ 203835 w 236380"/>
                  <a:gd name="connsiteY2" fmla="*/ 373380 h 563838"/>
                  <a:gd name="connsiteX3" fmla="*/ 217170 w 236380"/>
                  <a:gd name="connsiteY3" fmla="*/ 421005 h 563838"/>
                  <a:gd name="connsiteX4" fmla="*/ 236220 w 236380"/>
                  <a:gd name="connsiteY4" fmla="*/ 560070 h 563838"/>
                  <a:gd name="connsiteX5" fmla="*/ 205740 w 236380"/>
                  <a:gd name="connsiteY5" fmla="*/ 520065 h 563838"/>
                  <a:gd name="connsiteX6" fmla="*/ 137160 w 236380"/>
                  <a:gd name="connsiteY6" fmla="*/ 474345 h 563838"/>
                  <a:gd name="connsiteX7" fmla="*/ 83820 w 236380"/>
                  <a:gd name="connsiteY7" fmla="*/ 434340 h 563838"/>
                  <a:gd name="connsiteX8" fmla="*/ 72390 w 236380"/>
                  <a:gd name="connsiteY8" fmla="*/ 382905 h 563838"/>
                  <a:gd name="connsiteX9" fmla="*/ 137160 w 236380"/>
                  <a:gd name="connsiteY9" fmla="*/ 262890 h 563838"/>
                  <a:gd name="connsiteX10" fmla="*/ 137160 w 236380"/>
                  <a:gd name="connsiteY10" fmla="*/ 215265 h 563838"/>
                  <a:gd name="connsiteX11" fmla="*/ 0 w 236380"/>
                  <a:gd name="connsiteY11" fmla="*/ 0 h 5638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36380" h="563838">
                    <a:moveTo>
                      <a:pt x="150495" y="421005"/>
                    </a:moveTo>
                    <a:cubicBezTo>
                      <a:pt x="149860" y="393541"/>
                      <a:pt x="149225" y="366077"/>
                      <a:pt x="158115" y="358140"/>
                    </a:cubicBezTo>
                    <a:cubicBezTo>
                      <a:pt x="167005" y="350202"/>
                      <a:pt x="193993" y="362903"/>
                      <a:pt x="203835" y="373380"/>
                    </a:cubicBezTo>
                    <a:cubicBezTo>
                      <a:pt x="213677" y="383857"/>
                      <a:pt x="211773" y="389890"/>
                      <a:pt x="217170" y="421005"/>
                    </a:cubicBezTo>
                    <a:cubicBezTo>
                      <a:pt x="222567" y="452120"/>
                      <a:pt x="238125" y="543560"/>
                      <a:pt x="236220" y="560070"/>
                    </a:cubicBezTo>
                    <a:cubicBezTo>
                      <a:pt x="234315" y="576580"/>
                      <a:pt x="222250" y="534353"/>
                      <a:pt x="205740" y="520065"/>
                    </a:cubicBezTo>
                    <a:cubicBezTo>
                      <a:pt x="189230" y="505778"/>
                      <a:pt x="157480" y="488632"/>
                      <a:pt x="137160" y="474345"/>
                    </a:cubicBezTo>
                    <a:cubicBezTo>
                      <a:pt x="116840" y="460058"/>
                      <a:pt x="94615" y="449580"/>
                      <a:pt x="83820" y="434340"/>
                    </a:cubicBezTo>
                    <a:cubicBezTo>
                      <a:pt x="73025" y="419100"/>
                      <a:pt x="63500" y="411480"/>
                      <a:pt x="72390" y="382905"/>
                    </a:cubicBezTo>
                    <a:cubicBezTo>
                      <a:pt x="81280" y="354330"/>
                      <a:pt x="126365" y="290830"/>
                      <a:pt x="137160" y="262890"/>
                    </a:cubicBezTo>
                    <a:cubicBezTo>
                      <a:pt x="147955" y="234950"/>
                      <a:pt x="160020" y="259080"/>
                      <a:pt x="137160" y="215265"/>
                    </a:cubicBezTo>
                    <a:cubicBezTo>
                      <a:pt x="114300" y="171450"/>
                      <a:pt x="57150" y="85725"/>
                      <a:pt x="0" y="0"/>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7" name="Freeform: Shape 46">
                <a:extLst>
                  <a:ext uri="{FF2B5EF4-FFF2-40B4-BE49-F238E27FC236}">
                    <a16:creationId xmlns:a16="http://schemas.microsoft.com/office/drawing/2014/main" id="{DAFD1610-4A01-4645-B845-7CF411372381}"/>
                  </a:ext>
                </a:extLst>
              </p:cNvPr>
              <p:cNvSpPr/>
              <p:nvPr/>
            </p:nvSpPr>
            <p:spPr bwMode="auto">
              <a:xfrm>
                <a:off x="6627495" y="2775585"/>
                <a:ext cx="154305" cy="253365"/>
              </a:xfrm>
              <a:custGeom>
                <a:avLst/>
                <a:gdLst>
                  <a:gd name="connsiteX0" fmla="*/ 0 w 154305"/>
                  <a:gd name="connsiteY0" fmla="*/ 0 h 253365"/>
                  <a:gd name="connsiteX1" fmla="*/ 49530 w 154305"/>
                  <a:gd name="connsiteY1" fmla="*/ 59055 h 253365"/>
                  <a:gd name="connsiteX2" fmla="*/ 66675 w 154305"/>
                  <a:gd name="connsiteY2" fmla="*/ 121920 h 253365"/>
                  <a:gd name="connsiteX3" fmla="*/ 106680 w 154305"/>
                  <a:gd name="connsiteY3" fmla="*/ 201930 h 253365"/>
                  <a:gd name="connsiteX4" fmla="*/ 154305 w 154305"/>
                  <a:gd name="connsiteY4" fmla="*/ 253365 h 25336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4305" h="253365">
                    <a:moveTo>
                      <a:pt x="0" y="0"/>
                    </a:moveTo>
                    <a:cubicBezTo>
                      <a:pt x="19209" y="19367"/>
                      <a:pt x="38418" y="38735"/>
                      <a:pt x="49530" y="59055"/>
                    </a:cubicBezTo>
                    <a:cubicBezTo>
                      <a:pt x="60643" y="79375"/>
                      <a:pt x="57150" y="98108"/>
                      <a:pt x="66675" y="121920"/>
                    </a:cubicBezTo>
                    <a:cubicBezTo>
                      <a:pt x="76200" y="145733"/>
                      <a:pt x="92075" y="180023"/>
                      <a:pt x="106680" y="201930"/>
                    </a:cubicBezTo>
                    <a:cubicBezTo>
                      <a:pt x="121285" y="223837"/>
                      <a:pt x="137795" y="238601"/>
                      <a:pt x="154305" y="253365"/>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8" name="Freeform: Shape 47">
                <a:extLst>
                  <a:ext uri="{FF2B5EF4-FFF2-40B4-BE49-F238E27FC236}">
                    <a16:creationId xmlns:a16="http://schemas.microsoft.com/office/drawing/2014/main" id="{C5A682B4-7756-4940-992D-2E34FCE6A2FC}"/>
                  </a:ext>
                </a:extLst>
              </p:cNvPr>
              <p:cNvSpPr/>
              <p:nvPr/>
            </p:nvSpPr>
            <p:spPr bwMode="auto">
              <a:xfrm>
                <a:off x="6343650" y="2675141"/>
                <a:ext cx="947062" cy="477634"/>
              </a:xfrm>
              <a:custGeom>
                <a:avLst/>
                <a:gdLst>
                  <a:gd name="connsiteX0" fmla="*/ 0 w 947062"/>
                  <a:gd name="connsiteY0" fmla="*/ 7099 h 477634"/>
                  <a:gd name="connsiteX1" fmla="*/ 76200 w 947062"/>
                  <a:gd name="connsiteY1" fmla="*/ 1384 h 477634"/>
                  <a:gd name="connsiteX2" fmla="*/ 140970 w 947062"/>
                  <a:gd name="connsiteY2" fmla="*/ 29959 h 477634"/>
                  <a:gd name="connsiteX3" fmla="*/ 201930 w 947062"/>
                  <a:gd name="connsiteY3" fmla="*/ 111874 h 477634"/>
                  <a:gd name="connsiteX4" fmla="*/ 297180 w 947062"/>
                  <a:gd name="connsiteY4" fmla="*/ 174739 h 477634"/>
                  <a:gd name="connsiteX5" fmla="*/ 434340 w 947062"/>
                  <a:gd name="connsiteY5" fmla="*/ 176644 h 477634"/>
                  <a:gd name="connsiteX6" fmla="*/ 567690 w 947062"/>
                  <a:gd name="connsiteY6" fmla="*/ 186169 h 477634"/>
                  <a:gd name="connsiteX7" fmla="*/ 670560 w 947062"/>
                  <a:gd name="connsiteY7" fmla="*/ 224269 h 477634"/>
                  <a:gd name="connsiteX8" fmla="*/ 760095 w 947062"/>
                  <a:gd name="connsiteY8" fmla="*/ 287134 h 477634"/>
                  <a:gd name="connsiteX9" fmla="*/ 870585 w 947062"/>
                  <a:gd name="connsiteY9" fmla="*/ 376669 h 477634"/>
                  <a:gd name="connsiteX10" fmla="*/ 935355 w 947062"/>
                  <a:gd name="connsiteY10" fmla="*/ 445249 h 477634"/>
                  <a:gd name="connsiteX11" fmla="*/ 946785 w 947062"/>
                  <a:gd name="connsiteY11" fmla="*/ 477634 h 4776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47062" h="477634">
                    <a:moveTo>
                      <a:pt x="0" y="7099"/>
                    </a:moveTo>
                    <a:cubicBezTo>
                      <a:pt x="26352" y="2336"/>
                      <a:pt x="52705" y="-2426"/>
                      <a:pt x="76200" y="1384"/>
                    </a:cubicBezTo>
                    <a:cubicBezTo>
                      <a:pt x="99695" y="5194"/>
                      <a:pt x="120015" y="11544"/>
                      <a:pt x="140970" y="29959"/>
                    </a:cubicBezTo>
                    <a:cubicBezTo>
                      <a:pt x="161925" y="48374"/>
                      <a:pt x="175895" y="87744"/>
                      <a:pt x="201930" y="111874"/>
                    </a:cubicBezTo>
                    <a:cubicBezTo>
                      <a:pt x="227965" y="136004"/>
                      <a:pt x="258445" y="163944"/>
                      <a:pt x="297180" y="174739"/>
                    </a:cubicBezTo>
                    <a:cubicBezTo>
                      <a:pt x="335915" y="185534"/>
                      <a:pt x="389255" y="174739"/>
                      <a:pt x="434340" y="176644"/>
                    </a:cubicBezTo>
                    <a:cubicBezTo>
                      <a:pt x="479425" y="178549"/>
                      <a:pt x="528320" y="178232"/>
                      <a:pt x="567690" y="186169"/>
                    </a:cubicBezTo>
                    <a:cubicBezTo>
                      <a:pt x="607060" y="194106"/>
                      <a:pt x="638493" y="207442"/>
                      <a:pt x="670560" y="224269"/>
                    </a:cubicBezTo>
                    <a:cubicBezTo>
                      <a:pt x="702627" y="241096"/>
                      <a:pt x="726758" y="261734"/>
                      <a:pt x="760095" y="287134"/>
                    </a:cubicBezTo>
                    <a:cubicBezTo>
                      <a:pt x="793432" y="312534"/>
                      <a:pt x="841375" y="350317"/>
                      <a:pt x="870585" y="376669"/>
                    </a:cubicBezTo>
                    <a:cubicBezTo>
                      <a:pt x="899795" y="403021"/>
                      <a:pt x="922655" y="428422"/>
                      <a:pt x="935355" y="445249"/>
                    </a:cubicBezTo>
                    <a:cubicBezTo>
                      <a:pt x="948055" y="462077"/>
                      <a:pt x="947420" y="469855"/>
                      <a:pt x="946785" y="477634"/>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49" name="Freeform: Shape 48">
                <a:extLst>
                  <a:ext uri="{FF2B5EF4-FFF2-40B4-BE49-F238E27FC236}">
                    <a16:creationId xmlns:a16="http://schemas.microsoft.com/office/drawing/2014/main" id="{FA90963D-840A-43C9-9506-176924A784FA}"/>
                  </a:ext>
                </a:extLst>
              </p:cNvPr>
              <p:cNvSpPr/>
              <p:nvPr/>
            </p:nvSpPr>
            <p:spPr bwMode="auto">
              <a:xfrm>
                <a:off x="5911215" y="2322991"/>
                <a:ext cx="552450" cy="329076"/>
              </a:xfrm>
              <a:custGeom>
                <a:avLst/>
                <a:gdLst>
                  <a:gd name="connsiteX0" fmla="*/ 552450 w 552450"/>
                  <a:gd name="connsiteY0" fmla="*/ 71594 h 329076"/>
                  <a:gd name="connsiteX1" fmla="*/ 430530 w 552450"/>
                  <a:gd name="connsiteY1" fmla="*/ 31589 h 329076"/>
                  <a:gd name="connsiteX2" fmla="*/ 379095 w 552450"/>
                  <a:gd name="connsiteY2" fmla="*/ 14444 h 329076"/>
                  <a:gd name="connsiteX3" fmla="*/ 302895 w 552450"/>
                  <a:gd name="connsiteY3" fmla="*/ 8729 h 329076"/>
                  <a:gd name="connsiteX4" fmla="*/ 276225 w 552450"/>
                  <a:gd name="connsiteY4" fmla="*/ 140174 h 329076"/>
                  <a:gd name="connsiteX5" fmla="*/ 264795 w 552450"/>
                  <a:gd name="connsiteY5" fmla="*/ 199229 h 329076"/>
                  <a:gd name="connsiteX6" fmla="*/ 230505 w 552450"/>
                  <a:gd name="connsiteY6" fmla="*/ 244949 h 329076"/>
                  <a:gd name="connsiteX7" fmla="*/ 209550 w 552450"/>
                  <a:gd name="connsiteY7" fmla="*/ 290669 h 329076"/>
                  <a:gd name="connsiteX8" fmla="*/ 165735 w 552450"/>
                  <a:gd name="connsiteY8" fmla="*/ 319244 h 329076"/>
                  <a:gd name="connsiteX9" fmla="*/ 93345 w 552450"/>
                  <a:gd name="connsiteY9" fmla="*/ 328769 h 329076"/>
                  <a:gd name="connsiteX10" fmla="*/ 0 w 552450"/>
                  <a:gd name="connsiteY10" fmla="*/ 309719 h 329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52450" h="329076">
                    <a:moveTo>
                      <a:pt x="552450" y="71594"/>
                    </a:moveTo>
                    <a:lnTo>
                      <a:pt x="430530" y="31589"/>
                    </a:lnTo>
                    <a:cubicBezTo>
                      <a:pt x="401637" y="22064"/>
                      <a:pt x="400367" y="18254"/>
                      <a:pt x="379095" y="14444"/>
                    </a:cubicBezTo>
                    <a:cubicBezTo>
                      <a:pt x="357823" y="10634"/>
                      <a:pt x="320040" y="-12226"/>
                      <a:pt x="302895" y="8729"/>
                    </a:cubicBezTo>
                    <a:cubicBezTo>
                      <a:pt x="285750" y="29684"/>
                      <a:pt x="282575" y="108424"/>
                      <a:pt x="276225" y="140174"/>
                    </a:cubicBezTo>
                    <a:cubicBezTo>
                      <a:pt x="269875" y="171924"/>
                      <a:pt x="272415" y="181767"/>
                      <a:pt x="264795" y="199229"/>
                    </a:cubicBezTo>
                    <a:cubicBezTo>
                      <a:pt x="257175" y="216691"/>
                      <a:pt x="239713" y="229709"/>
                      <a:pt x="230505" y="244949"/>
                    </a:cubicBezTo>
                    <a:cubicBezTo>
                      <a:pt x="221297" y="260189"/>
                      <a:pt x="220345" y="278287"/>
                      <a:pt x="209550" y="290669"/>
                    </a:cubicBezTo>
                    <a:cubicBezTo>
                      <a:pt x="198755" y="303051"/>
                      <a:pt x="185102" y="312894"/>
                      <a:pt x="165735" y="319244"/>
                    </a:cubicBezTo>
                    <a:cubicBezTo>
                      <a:pt x="146367" y="325594"/>
                      <a:pt x="120967" y="330356"/>
                      <a:pt x="93345" y="328769"/>
                    </a:cubicBezTo>
                    <a:cubicBezTo>
                      <a:pt x="65723" y="327182"/>
                      <a:pt x="32861" y="318450"/>
                      <a:pt x="0" y="309719"/>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0" name="Freeform: Shape 49">
                <a:extLst>
                  <a:ext uri="{FF2B5EF4-FFF2-40B4-BE49-F238E27FC236}">
                    <a16:creationId xmlns:a16="http://schemas.microsoft.com/office/drawing/2014/main" id="{39B739DF-2F02-45E8-A45F-679E340DBD01}"/>
                  </a:ext>
                </a:extLst>
              </p:cNvPr>
              <p:cNvSpPr/>
              <p:nvPr/>
            </p:nvSpPr>
            <p:spPr bwMode="auto">
              <a:xfrm>
                <a:off x="5534025" y="2303062"/>
                <a:ext cx="337317" cy="369653"/>
              </a:xfrm>
              <a:custGeom>
                <a:avLst/>
                <a:gdLst>
                  <a:gd name="connsiteX0" fmla="*/ 45720 w 337317"/>
                  <a:gd name="connsiteY0" fmla="*/ 24848 h 369653"/>
                  <a:gd name="connsiteX1" fmla="*/ 180975 w 337317"/>
                  <a:gd name="connsiteY1" fmla="*/ 28658 h 369653"/>
                  <a:gd name="connsiteX2" fmla="*/ 240030 w 337317"/>
                  <a:gd name="connsiteY2" fmla="*/ 22943 h 369653"/>
                  <a:gd name="connsiteX3" fmla="*/ 310515 w 337317"/>
                  <a:gd name="connsiteY3" fmla="*/ 83 h 369653"/>
                  <a:gd name="connsiteX4" fmla="*/ 337185 w 337317"/>
                  <a:gd name="connsiteY4" fmla="*/ 17228 h 369653"/>
                  <a:gd name="connsiteX5" fmla="*/ 318135 w 337317"/>
                  <a:gd name="connsiteY5" fmla="*/ 64853 h 369653"/>
                  <a:gd name="connsiteX6" fmla="*/ 262890 w 337317"/>
                  <a:gd name="connsiteY6" fmla="*/ 118193 h 369653"/>
                  <a:gd name="connsiteX7" fmla="*/ 200025 w 337317"/>
                  <a:gd name="connsiteY7" fmla="*/ 171533 h 369653"/>
                  <a:gd name="connsiteX8" fmla="*/ 173355 w 337317"/>
                  <a:gd name="connsiteY8" fmla="*/ 221063 h 369653"/>
                  <a:gd name="connsiteX9" fmla="*/ 104775 w 337317"/>
                  <a:gd name="connsiteY9" fmla="*/ 297263 h 369653"/>
                  <a:gd name="connsiteX10" fmla="*/ 0 w 337317"/>
                  <a:gd name="connsiteY10" fmla="*/ 369653 h 36965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37317" h="369653">
                    <a:moveTo>
                      <a:pt x="45720" y="24848"/>
                    </a:moveTo>
                    <a:cubicBezTo>
                      <a:pt x="97155" y="26911"/>
                      <a:pt x="148590" y="28975"/>
                      <a:pt x="180975" y="28658"/>
                    </a:cubicBezTo>
                    <a:cubicBezTo>
                      <a:pt x="213360" y="28341"/>
                      <a:pt x="218440" y="27706"/>
                      <a:pt x="240030" y="22943"/>
                    </a:cubicBezTo>
                    <a:cubicBezTo>
                      <a:pt x="261620" y="18180"/>
                      <a:pt x="294323" y="1035"/>
                      <a:pt x="310515" y="83"/>
                    </a:cubicBezTo>
                    <a:cubicBezTo>
                      <a:pt x="326707" y="-869"/>
                      <a:pt x="335915" y="6433"/>
                      <a:pt x="337185" y="17228"/>
                    </a:cubicBezTo>
                    <a:cubicBezTo>
                      <a:pt x="338455" y="28023"/>
                      <a:pt x="330517" y="48026"/>
                      <a:pt x="318135" y="64853"/>
                    </a:cubicBezTo>
                    <a:cubicBezTo>
                      <a:pt x="305753" y="81680"/>
                      <a:pt x="282575" y="100413"/>
                      <a:pt x="262890" y="118193"/>
                    </a:cubicBezTo>
                    <a:cubicBezTo>
                      <a:pt x="243205" y="135973"/>
                      <a:pt x="214948" y="154388"/>
                      <a:pt x="200025" y="171533"/>
                    </a:cubicBezTo>
                    <a:cubicBezTo>
                      <a:pt x="185103" y="188678"/>
                      <a:pt x="189230" y="200108"/>
                      <a:pt x="173355" y="221063"/>
                    </a:cubicBezTo>
                    <a:cubicBezTo>
                      <a:pt x="157480" y="242018"/>
                      <a:pt x="133667" y="272498"/>
                      <a:pt x="104775" y="297263"/>
                    </a:cubicBezTo>
                    <a:cubicBezTo>
                      <a:pt x="75883" y="322028"/>
                      <a:pt x="37941" y="345840"/>
                      <a:pt x="0" y="369653"/>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1" name="Freeform: Shape 50">
                <a:extLst>
                  <a:ext uri="{FF2B5EF4-FFF2-40B4-BE49-F238E27FC236}">
                    <a16:creationId xmlns:a16="http://schemas.microsoft.com/office/drawing/2014/main" id="{22242A2A-C218-47DA-86C7-7958349B42F2}"/>
                  </a:ext>
                </a:extLst>
              </p:cNvPr>
              <p:cNvSpPr/>
              <p:nvPr/>
            </p:nvSpPr>
            <p:spPr bwMode="auto">
              <a:xfrm>
                <a:off x="6202598" y="2434590"/>
                <a:ext cx="99142" cy="247650"/>
              </a:xfrm>
              <a:custGeom>
                <a:avLst/>
                <a:gdLst>
                  <a:gd name="connsiteX0" fmla="*/ 99142 w 99142"/>
                  <a:gd name="connsiteY0" fmla="*/ 0 h 247650"/>
                  <a:gd name="connsiteX1" fmla="*/ 22942 w 99142"/>
                  <a:gd name="connsiteY1" fmla="*/ 102870 h 247650"/>
                  <a:gd name="connsiteX2" fmla="*/ 82 w 99142"/>
                  <a:gd name="connsiteY2" fmla="*/ 203835 h 247650"/>
                  <a:gd name="connsiteX3" fmla="*/ 28657 w 99142"/>
                  <a:gd name="connsiteY3" fmla="*/ 247650 h 247650"/>
                </a:gdLst>
                <a:ahLst/>
                <a:cxnLst>
                  <a:cxn ang="0">
                    <a:pos x="connsiteX0" y="connsiteY0"/>
                  </a:cxn>
                  <a:cxn ang="0">
                    <a:pos x="connsiteX1" y="connsiteY1"/>
                  </a:cxn>
                  <a:cxn ang="0">
                    <a:pos x="connsiteX2" y="connsiteY2"/>
                  </a:cxn>
                  <a:cxn ang="0">
                    <a:pos x="connsiteX3" y="connsiteY3"/>
                  </a:cxn>
                </a:cxnLst>
                <a:rect l="l" t="t" r="r" b="b"/>
                <a:pathLst>
                  <a:path w="99142" h="247650">
                    <a:moveTo>
                      <a:pt x="99142" y="0"/>
                    </a:moveTo>
                    <a:cubicBezTo>
                      <a:pt x="69297" y="34449"/>
                      <a:pt x="39452" y="68898"/>
                      <a:pt x="22942" y="102870"/>
                    </a:cubicBezTo>
                    <a:cubicBezTo>
                      <a:pt x="6432" y="136843"/>
                      <a:pt x="-870" y="179705"/>
                      <a:pt x="82" y="203835"/>
                    </a:cubicBezTo>
                    <a:cubicBezTo>
                      <a:pt x="1034" y="227965"/>
                      <a:pt x="14845" y="237807"/>
                      <a:pt x="28657" y="247650"/>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2" name="Freeform: Shape 51">
                <a:extLst>
                  <a:ext uri="{FF2B5EF4-FFF2-40B4-BE49-F238E27FC236}">
                    <a16:creationId xmlns:a16="http://schemas.microsoft.com/office/drawing/2014/main" id="{BC834725-FD12-49E8-8E8E-59D71D6A9E88}"/>
                  </a:ext>
                </a:extLst>
              </p:cNvPr>
              <p:cNvSpPr/>
              <p:nvPr/>
            </p:nvSpPr>
            <p:spPr bwMode="auto">
              <a:xfrm>
                <a:off x="5663565" y="2222355"/>
                <a:ext cx="1011555" cy="193185"/>
              </a:xfrm>
              <a:custGeom>
                <a:avLst/>
                <a:gdLst>
                  <a:gd name="connsiteX0" fmla="*/ 1011555 w 1011555"/>
                  <a:gd name="connsiteY0" fmla="*/ 193185 h 193185"/>
                  <a:gd name="connsiteX1" fmla="*/ 897255 w 1011555"/>
                  <a:gd name="connsiteY1" fmla="*/ 143655 h 193185"/>
                  <a:gd name="connsiteX2" fmla="*/ 718185 w 1011555"/>
                  <a:gd name="connsiteY2" fmla="*/ 82695 h 193185"/>
                  <a:gd name="connsiteX3" fmla="*/ 598170 w 1011555"/>
                  <a:gd name="connsiteY3" fmla="*/ 48405 h 193185"/>
                  <a:gd name="connsiteX4" fmla="*/ 476250 w 1011555"/>
                  <a:gd name="connsiteY4" fmla="*/ 25545 h 193185"/>
                  <a:gd name="connsiteX5" fmla="*/ 350520 w 1011555"/>
                  <a:gd name="connsiteY5" fmla="*/ 6495 h 193185"/>
                  <a:gd name="connsiteX6" fmla="*/ 245745 w 1011555"/>
                  <a:gd name="connsiteY6" fmla="*/ 780 h 193185"/>
                  <a:gd name="connsiteX7" fmla="*/ 152400 w 1011555"/>
                  <a:gd name="connsiteY7" fmla="*/ 21735 h 193185"/>
                  <a:gd name="connsiteX8" fmla="*/ 64770 w 1011555"/>
                  <a:gd name="connsiteY8" fmla="*/ 61740 h 193185"/>
                  <a:gd name="connsiteX9" fmla="*/ 32385 w 1011555"/>
                  <a:gd name="connsiteY9" fmla="*/ 143655 h 193185"/>
                  <a:gd name="connsiteX10" fmla="*/ 0 w 1011555"/>
                  <a:gd name="connsiteY10" fmla="*/ 166515 h 1931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1555" h="193185">
                    <a:moveTo>
                      <a:pt x="1011555" y="193185"/>
                    </a:moveTo>
                    <a:cubicBezTo>
                      <a:pt x="978852" y="177627"/>
                      <a:pt x="946150" y="162070"/>
                      <a:pt x="897255" y="143655"/>
                    </a:cubicBezTo>
                    <a:cubicBezTo>
                      <a:pt x="848360" y="125240"/>
                      <a:pt x="768032" y="98570"/>
                      <a:pt x="718185" y="82695"/>
                    </a:cubicBezTo>
                    <a:cubicBezTo>
                      <a:pt x="668338" y="66820"/>
                      <a:pt x="638492" y="57930"/>
                      <a:pt x="598170" y="48405"/>
                    </a:cubicBezTo>
                    <a:cubicBezTo>
                      <a:pt x="557847" y="38880"/>
                      <a:pt x="517525" y="32530"/>
                      <a:pt x="476250" y="25545"/>
                    </a:cubicBezTo>
                    <a:cubicBezTo>
                      <a:pt x="434975" y="18560"/>
                      <a:pt x="388937" y="10622"/>
                      <a:pt x="350520" y="6495"/>
                    </a:cubicBezTo>
                    <a:cubicBezTo>
                      <a:pt x="312102" y="2367"/>
                      <a:pt x="278765" y="-1760"/>
                      <a:pt x="245745" y="780"/>
                    </a:cubicBezTo>
                    <a:cubicBezTo>
                      <a:pt x="212725" y="3320"/>
                      <a:pt x="182562" y="11575"/>
                      <a:pt x="152400" y="21735"/>
                    </a:cubicBezTo>
                    <a:cubicBezTo>
                      <a:pt x="122237" y="31895"/>
                      <a:pt x="84772" y="41420"/>
                      <a:pt x="64770" y="61740"/>
                    </a:cubicBezTo>
                    <a:cubicBezTo>
                      <a:pt x="44768" y="82060"/>
                      <a:pt x="43180" y="126193"/>
                      <a:pt x="32385" y="143655"/>
                    </a:cubicBezTo>
                    <a:cubicBezTo>
                      <a:pt x="21590" y="161117"/>
                      <a:pt x="10795" y="163816"/>
                      <a:pt x="0" y="166515"/>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3" name="Freeform: Shape 52">
                <a:extLst>
                  <a:ext uri="{FF2B5EF4-FFF2-40B4-BE49-F238E27FC236}">
                    <a16:creationId xmlns:a16="http://schemas.microsoft.com/office/drawing/2014/main" id="{B3E77967-DC83-462B-A80A-52E455831B33}"/>
                  </a:ext>
                </a:extLst>
              </p:cNvPr>
              <p:cNvSpPr/>
              <p:nvPr/>
            </p:nvSpPr>
            <p:spPr bwMode="auto">
              <a:xfrm>
                <a:off x="5709285" y="2510790"/>
                <a:ext cx="316230" cy="131445"/>
              </a:xfrm>
              <a:custGeom>
                <a:avLst/>
                <a:gdLst>
                  <a:gd name="connsiteX0" fmla="*/ 316230 w 316230"/>
                  <a:gd name="connsiteY0" fmla="*/ 89535 h 131445"/>
                  <a:gd name="connsiteX1" fmla="*/ 255270 w 316230"/>
                  <a:gd name="connsiteY1" fmla="*/ 83820 h 131445"/>
                  <a:gd name="connsiteX2" fmla="*/ 203835 w 316230"/>
                  <a:gd name="connsiteY2" fmla="*/ 66675 h 131445"/>
                  <a:gd name="connsiteX3" fmla="*/ 156210 w 316230"/>
                  <a:gd name="connsiteY3" fmla="*/ 38100 h 131445"/>
                  <a:gd name="connsiteX4" fmla="*/ 121920 w 316230"/>
                  <a:gd name="connsiteY4" fmla="*/ 11430 h 131445"/>
                  <a:gd name="connsiteX5" fmla="*/ 95250 w 316230"/>
                  <a:gd name="connsiteY5" fmla="*/ 0 h 131445"/>
                  <a:gd name="connsiteX6" fmla="*/ 60960 w 316230"/>
                  <a:gd name="connsiteY6" fmla="*/ 22860 h 131445"/>
                  <a:gd name="connsiteX7" fmla="*/ 24765 w 316230"/>
                  <a:gd name="connsiteY7" fmla="*/ 68580 h 131445"/>
                  <a:gd name="connsiteX8" fmla="*/ 0 w 316230"/>
                  <a:gd name="connsiteY8" fmla="*/ 102870 h 131445"/>
                  <a:gd name="connsiteX9" fmla="*/ 5715 w 316230"/>
                  <a:gd name="connsiteY9" fmla="*/ 120015 h 131445"/>
                  <a:gd name="connsiteX10" fmla="*/ 28575 w 316230"/>
                  <a:gd name="connsiteY10" fmla="*/ 131445 h 1314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316230" h="131445">
                    <a:moveTo>
                      <a:pt x="316230" y="89535"/>
                    </a:moveTo>
                    <a:lnTo>
                      <a:pt x="255270" y="83820"/>
                    </a:lnTo>
                    <a:lnTo>
                      <a:pt x="203835" y="66675"/>
                    </a:lnTo>
                    <a:lnTo>
                      <a:pt x="156210" y="38100"/>
                    </a:lnTo>
                    <a:lnTo>
                      <a:pt x="121920" y="11430"/>
                    </a:lnTo>
                    <a:lnTo>
                      <a:pt x="95250" y="0"/>
                    </a:lnTo>
                    <a:lnTo>
                      <a:pt x="60960" y="22860"/>
                    </a:lnTo>
                    <a:lnTo>
                      <a:pt x="24765" y="68580"/>
                    </a:lnTo>
                    <a:lnTo>
                      <a:pt x="0" y="102870"/>
                    </a:lnTo>
                    <a:lnTo>
                      <a:pt x="5715" y="120015"/>
                    </a:lnTo>
                    <a:lnTo>
                      <a:pt x="28575" y="131445"/>
                    </a:ln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4" name="Freeform: Shape 53">
                <a:extLst>
                  <a:ext uri="{FF2B5EF4-FFF2-40B4-BE49-F238E27FC236}">
                    <a16:creationId xmlns:a16="http://schemas.microsoft.com/office/drawing/2014/main" id="{0F39ADA3-ED6A-42F5-A9E3-398E4062D45B}"/>
                  </a:ext>
                </a:extLst>
              </p:cNvPr>
              <p:cNvSpPr/>
              <p:nvPr/>
            </p:nvSpPr>
            <p:spPr bwMode="auto">
              <a:xfrm>
                <a:off x="4981575" y="2748915"/>
                <a:ext cx="226695" cy="321945"/>
              </a:xfrm>
              <a:custGeom>
                <a:avLst/>
                <a:gdLst>
                  <a:gd name="connsiteX0" fmla="*/ 226695 w 226695"/>
                  <a:gd name="connsiteY0" fmla="*/ 0 h 321945"/>
                  <a:gd name="connsiteX1" fmla="*/ 175260 w 226695"/>
                  <a:gd name="connsiteY1" fmla="*/ 26670 h 321945"/>
                  <a:gd name="connsiteX2" fmla="*/ 139065 w 226695"/>
                  <a:gd name="connsiteY2" fmla="*/ 68580 h 321945"/>
                  <a:gd name="connsiteX3" fmla="*/ 114300 w 226695"/>
                  <a:gd name="connsiteY3" fmla="*/ 135255 h 321945"/>
                  <a:gd name="connsiteX4" fmla="*/ 81915 w 226695"/>
                  <a:gd name="connsiteY4" fmla="*/ 228600 h 321945"/>
                  <a:gd name="connsiteX5" fmla="*/ 45720 w 226695"/>
                  <a:gd name="connsiteY5" fmla="*/ 281940 h 321945"/>
                  <a:gd name="connsiteX6" fmla="*/ 0 w 226695"/>
                  <a:gd name="connsiteY6" fmla="*/ 321945 h 321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26695" h="321945">
                    <a:moveTo>
                      <a:pt x="226695" y="0"/>
                    </a:moveTo>
                    <a:cubicBezTo>
                      <a:pt x="208280" y="7620"/>
                      <a:pt x="189865" y="15240"/>
                      <a:pt x="175260" y="26670"/>
                    </a:cubicBezTo>
                    <a:cubicBezTo>
                      <a:pt x="160655" y="38100"/>
                      <a:pt x="149225" y="50483"/>
                      <a:pt x="139065" y="68580"/>
                    </a:cubicBezTo>
                    <a:cubicBezTo>
                      <a:pt x="128905" y="86677"/>
                      <a:pt x="123825" y="108585"/>
                      <a:pt x="114300" y="135255"/>
                    </a:cubicBezTo>
                    <a:cubicBezTo>
                      <a:pt x="104775" y="161925"/>
                      <a:pt x="93345" y="204153"/>
                      <a:pt x="81915" y="228600"/>
                    </a:cubicBezTo>
                    <a:cubicBezTo>
                      <a:pt x="70485" y="253047"/>
                      <a:pt x="59372" y="266383"/>
                      <a:pt x="45720" y="281940"/>
                    </a:cubicBezTo>
                    <a:cubicBezTo>
                      <a:pt x="32068" y="297497"/>
                      <a:pt x="16034" y="309721"/>
                      <a:pt x="0" y="321945"/>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5" name="Freeform: Shape 54">
                <a:extLst>
                  <a:ext uri="{FF2B5EF4-FFF2-40B4-BE49-F238E27FC236}">
                    <a16:creationId xmlns:a16="http://schemas.microsoft.com/office/drawing/2014/main" id="{C49728ED-ABD4-4010-AEDB-F5796B15368F}"/>
                  </a:ext>
                </a:extLst>
              </p:cNvPr>
              <p:cNvSpPr/>
              <p:nvPr/>
            </p:nvSpPr>
            <p:spPr bwMode="auto">
              <a:xfrm>
                <a:off x="4608195" y="2766792"/>
                <a:ext cx="600075" cy="284258"/>
              </a:xfrm>
              <a:custGeom>
                <a:avLst/>
                <a:gdLst>
                  <a:gd name="connsiteX0" fmla="*/ 0 w 600075"/>
                  <a:gd name="connsiteY0" fmla="*/ 212628 h 284258"/>
                  <a:gd name="connsiteX1" fmla="*/ 64770 w 600075"/>
                  <a:gd name="connsiteY1" fmla="*/ 144048 h 284258"/>
                  <a:gd name="connsiteX2" fmla="*/ 152400 w 600075"/>
                  <a:gd name="connsiteY2" fmla="*/ 25938 h 284258"/>
                  <a:gd name="connsiteX3" fmla="*/ 180975 w 600075"/>
                  <a:gd name="connsiteY3" fmla="*/ 1173 h 284258"/>
                  <a:gd name="connsiteX4" fmla="*/ 194310 w 600075"/>
                  <a:gd name="connsiteY4" fmla="*/ 48798 h 284258"/>
                  <a:gd name="connsiteX5" fmla="*/ 188595 w 600075"/>
                  <a:gd name="connsiteY5" fmla="*/ 163098 h 284258"/>
                  <a:gd name="connsiteX6" fmla="*/ 182880 w 600075"/>
                  <a:gd name="connsiteY6" fmla="*/ 241203 h 284258"/>
                  <a:gd name="connsiteX7" fmla="*/ 194310 w 600075"/>
                  <a:gd name="connsiteY7" fmla="*/ 283113 h 284258"/>
                  <a:gd name="connsiteX8" fmla="*/ 230505 w 600075"/>
                  <a:gd name="connsiteY8" fmla="*/ 267873 h 284258"/>
                  <a:gd name="connsiteX9" fmla="*/ 293370 w 600075"/>
                  <a:gd name="connsiteY9" fmla="*/ 220248 h 284258"/>
                  <a:gd name="connsiteX10" fmla="*/ 361950 w 600075"/>
                  <a:gd name="connsiteY10" fmla="*/ 185958 h 284258"/>
                  <a:gd name="connsiteX11" fmla="*/ 445770 w 600075"/>
                  <a:gd name="connsiteY11" fmla="*/ 176433 h 284258"/>
                  <a:gd name="connsiteX12" fmla="*/ 521970 w 600075"/>
                  <a:gd name="connsiteY12" fmla="*/ 145953 h 284258"/>
                  <a:gd name="connsiteX13" fmla="*/ 579120 w 600075"/>
                  <a:gd name="connsiteY13" fmla="*/ 113568 h 284258"/>
                  <a:gd name="connsiteX14" fmla="*/ 600075 w 600075"/>
                  <a:gd name="connsiteY14" fmla="*/ 90708 h 2842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00075" h="284258">
                    <a:moveTo>
                      <a:pt x="0" y="212628"/>
                    </a:moveTo>
                    <a:cubicBezTo>
                      <a:pt x="19685" y="193895"/>
                      <a:pt x="39370" y="175163"/>
                      <a:pt x="64770" y="144048"/>
                    </a:cubicBezTo>
                    <a:cubicBezTo>
                      <a:pt x="90170" y="112933"/>
                      <a:pt x="133033" y="49750"/>
                      <a:pt x="152400" y="25938"/>
                    </a:cubicBezTo>
                    <a:cubicBezTo>
                      <a:pt x="171767" y="2126"/>
                      <a:pt x="173990" y="-2637"/>
                      <a:pt x="180975" y="1173"/>
                    </a:cubicBezTo>
                    <a:cubicBezTo>
                      <a:pt x="187960" y="4983"/>
                      <a:pt x="193040" y="21811"/>
                      <a:pt x="194310" y="48798"/>
                    </a:cubicBezTo>
                    <a:cubicBezTo>
                      <a:pt x="195580" y="75785"/>
                      <a:pt x="190500" y="131030"/>
                      <a:pt x="188595" y="163098"/>
                    </a:cubicBezTo>
                    <a:cubicBezTo>
                      <a:pt x="186690" y="195165"/>
                      <a:pt x="181928" y="221201"/>
                      <a:pt x="182880" y="241203"/>
                    </a:cubicBezTo>
                    <a:cubicBezTo>
                      <a:pt x="183832" y="261205"/>
                      <a:pt x="186373" y="278668"/>
                      <a:pt x="194310" y="283113"/>
                    </a:cubicBezTo>
                    <a:cubicBezTo>
                      <a:pt x="202247" y="287558"/>
                      <a:pt x="213995" y="278350"/>
                      <a:pt x="230505" y="267873"/>
                    </a:cubicBezTo>
                    <a:cubicBezTo>
                      <a:pt x="247015" y="257396"/>
                      <a:pt x="271462" y="233901"/>
                      <a:pt x="293370" y="220248"/>
                    </a:cubicBezTo>
                    <a:cubicBezTo>
                      <a:pt x="315278" y="206595"/>
                      <a:pt x="336550" y="193260"/>
                      <a:pt x="361950" y="185958"/>
                    </a:cubicBezTo>
                    <a:cubicBezTo>
                      <a:pt x="387350" y="178655"/>
                      <a:pt x="419100" y="183100"/>
                      <a:pt x="445770" y="176433"/>
                    </a:cubicBezTo>
                    <a:cubicBezTo>
                      <a:pt x="472440" y="169766"/>
                      <a:pt x="499745" y="156430"/>
                      <a:pt x="521970" y="145953"/>
                    </a:cubicBezTo>
                    <a:cubicBezTo>
                      <a:pt x="544195" y="135475"/>
                      <a:pt x="566103" y="122775"/>
                      <a:pt x="579120" y="113568"/>
                    </a:cubicBezTo>
                    <a:cubicBezTo>
                      <a:pt x="592137" y="104361"/>
                      <a:pt x="596106" y="97534"/>
                      <a:pt x="600075" y="90708"/>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6" name="Freeform: Shape 55">
                <a:extLst>
                  <a:ext uri="{FF2B5EF4-FFF2-40B4-BE49-F238E27FC236}">
                    <a16:creationId xmlns:a16="http://schemas.microsoft.com/office/drawing/2014/main" id="{6B3893E5-9CDC-4C20-9C85-2186870B12BE}"/>
                  </a:ext>
                </a:extLst>
              </p:cNvPr>
              <p:cNvSpPr/>
              <p:nvPr/>
            </p:nvSpPr>
            <p:spPr bwMode="auto">
              <a:xfrm>
                <a:off x="4673949" y="3006090"/>
                <a:ext cx="303816" cy="571670"/>
              </a:xfrm>
              <a:custGeom>
                <a:avLst/>
                <a:gdLst>
                  <a:gd name="connsiteX0" fmla="*/ 303816 w 303816"/>
                  <a:gd name="connsiteY0" fmla="*/ 0 h 571670"/>
                  <a:gd name="connsiteX1" fmla="*/ 244761 w 303816"/>
                  <a:gd name="connsiteY1" fmla="*/ 57150 h 571670"/>
                  <a:gd name="connsiteX2" fmla="*/ 200946 w 303816"/>
                  <a:gd name="connsiteY2" fmla="*/ 97155 h 571670"/>
                  <a:gd name="connsiteX3" fmla="*/ 168561 w 303816"/>
                  <a:gd name="connsiteY3" fmla="*/ 161925 h 571670"/>
                  <a:gd name="connsiteX4" fmla="*/ 166656 w 303816"/>
                  <a:gd name="connsiteY4" fmla="*/ 207645 h 571670"/>
                  <a:gd name="connsiteX5" fmla="*/ 138081 w 303816"/>
                  <a:gd name="connsiteY5" fmla="*/ 280035 h 571670"/>
                  <a:gd name="connsiteX6" fmla="*/ 80931 w 303816"/>
                  <a:gd name="connsiteY6" fmla="*/ 321945 h 571670"/>
                  <a:gd name="connsiteX7" fmla="*/ 29496 w 303816"/>
                  <a:gd name="connsiteY7" fmla="*/ 371475 h 571670"/>
                  <a:gd name="connsiteX8" fmla="*/ 12351 w 303816"/>
                  <a:gd name="connsiteY8" fmla="*/ 434340 h 571670"/>
                  <a:gd name="connsiteX9" fmla="*/ 921 w 303816"/>
                  <a:gd name="connsiteY9" fmla="*/ 518160 h 571670"/>
                  <a:gd name="connsiteX10" fmla="*/ 37116 w 303816"/>
                  <a:gd name="connsiteY10" fmla="*/ 561975 h 571670"/>
                  <a:gd name="connsiteX11" fmla="*/ 67596 w 303816"/>
                  <a:gd name="connsiteY11" fmla="*/ 569595 h 571670"/>
                  <a:gd name="connsiteX12" fmla="*/ 84741 w 303816"/>
                  <a:gd name="connsiteY12" fmla="*/ 533400 h 571670"/>
                  <a:gd name="connsiteX13" fmla="*/ 82836 w 303816"/>
                  <a:gd name="connsiteY13" fmla="*/ 470535 h 571670"/>
                  <a:gd name="connsiteX14" fmla="*/ 119031 w 303816"/>
                  <a:gd name="connsiteY14" fmla="*/ 375285 h 5716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03816" h="571670">
                    <a:moveTo>
                      <a:pt x="303816" y="0"/>
                    </a:moveTo>
                    <a:lnTo>
                      <a:pt x="244761" y="57150"/>
                    </a:lnTo>
                    <a:cubicBezTo>
                      <a:pt x="227616" y="73343"/>
                      <a:pt x="213646" y="79693"/>
                      <a:pt x="200946" y="97155"/>
                    </a:cubicBezTo>
                    <a:cubicBezTo>
                      <a:pt x="188246" y="114618"/>
                      <a:pt x="174276" y="143510"/>
                      <a:pt x="168561" y="161925"/>
                    </a:cubicBezTo>
                    <a:cubicBezTo>
                      <a:pt x="162846" y="180340"/>
                      <a:pt x="171736" y="187960"/>
                      <a:pt x="166656" y="207645"/>
                    </a:cubicBezTo>
                    <a:cubicBezTo>
                      <a:pt x="161576" y="227330"/>
                      <a:pt x="152368" y="260985"/>
                      <a:pt x="138081" y="280035"/>
                    </a:cubicBezTo>
                    <a:cubicBezTo>
                      <a:pt x="123793" y="299085"/>
                      <a:pt x="99028" y="306705"/>
                      <a:pt x="80931" y="321945"/>
                    </a:cubicBezTo>
                    <a:cubicBezTo>
                      <a:pt x="62834" y="337185"/>
                      <a:pt x="40926" y="352743"/>
                      <a:pt x="29496" y="371475"/>
                    </a:cubicBezTo>
                    <a:cubicBezTo>
                      <a:pt x="18066" y="390207"/>
                      <a:pt x="17113" y="409893"/>
                      <a:pt x="12351" y="434340"/>
                    </a:cubicBezTo>
                    <a:cubicBezTo>
                      <a:pt x="7589" y="458787"/>
                      <a:pt x="-3207" y="496888"/>
                      <a:pt x="921" y="518160"/>
                    </a:cubicBezTo>
                    <a:cubicBezTo>
                      <a:pt x="5048" y="539433"/>
                      <a:pt x="26003" y="553403"/>
                      <a:pt x="37116" y="561975"/>
                    </a:cubicBezTo>
                    <a:cubicBezTo>
                      <a:pt x="48228" y="570548"/>
                      <a:pt x="59658" y="574358"/>
                      <a:pt x="67596" y="569595"/>
                    </a:cubicBezTo>
                    <a:cubicBezTo>
                      <a:pt x="75533" y="564833"/>
                      <a:pt x="82201" y="549910"/>
                      <a:pt x="84741" y="533400"/>
                    </a:cubicBezTo>
                    <a:cubicBezTo>
                      <a:pt x="87281" y="516890"/>
                      <a:pt x="77121" y="496888"/>
                      <a:pt x="82836" y="470535"/>
                    </a:cubicBezTo>
                    <a:cubicBezTo>
                      <a:pt x="88551" y="444183"/>
                      <a:pt x="103791" y="409734"/>
                      <a:pt x="119031" y="375285"/>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7" name="Freeform: Shape 56">
                <a:extLst>
                  <a:ext uri="{FF2B5EF4-FFF2-40B4-BE49-F238E27FC236}">
                    <a16:creationId xmlns:a16="http://schemas.microsoft.com/office/drawing/2014/main" id="{4A4D0F4A-86F2-4650-8C7F-BDB64AC7DFD2}"/>
                  </a:ext>
                </a:extLst>
              </p:cNvPr>
              <p:cNvSpPr/>
              <p:nvPr/>
            </p:nvSpPr>
            <p:spPr bwMode="auto">
              <a:xfrm>
                <a:off x="4649655" y="3918585"/>
                <a:ext cx="296741" cy="629205"/>
              </a:xfrm>
              <a:custGeom>
                <a:avLst/>
                <a:gdLst>
                  <a:gd name="connsiteX0" fmla="*/ 80460 w 296741"/>
                  <a:gd name="connsiteY0" fmla="*/ 0 h 629205"/>
                  <a:gd name="connsiteX1" fmla="*/ 34740 w 296741"/>
                  <a:gd name="connsiteY1" fmla="*/ 32385 h 629205"/>
                  <a:gd name="connsiteX2" fmla="*/ 6165 w 296741"/>
                  <a:gd name="connsiteY2" fmla="*/ 93345 h 629205"/>
                  <a:gd name="connsiteX3" fmla="*/ 450 w 296741"/>
                  <a:gd name="connsiteY3" fmla="*/ 140970 h 629205"/>
                  <a:gd name="connsiteX4" fmla="*/ 13785 w 296741"/>
                  <a:gd name="connsiteY4" fmla="*/ 243840 h 629205"/>
                  <a:gd name="connsiteX5" fmla="*/ 30930 w 296741"/>
                  <a:gd name="connsiteY5" fmla="*/ 335280 h 629205"/>
                  <a:gd name="connsiteX6" fmla="*/ 25215 w 296741"/>
                  <a:gd name="connsiteY6" fmla="*/ 411480 h 629205"/>
                  <a:gd name="connsiteX7" fmla="*/ 34740 w 296741"/>
                  <a:gd name="connsiteY7" fmla="*/ 493395 h 629205"/>
                  <a:gd name="connsiteX8" fmla="*/ 63315 w 296741"/>
                  <a:gd name="connsiteY8" fmla="*/ 541020 h 629205"/>
                  <a:gd name="connsiteX9" fmla="*/ 120465 w 296741"/>
                  <a:gd name="connsiteY9" fmla="*/ 560070 h 629205"/>
                  <a:gd name="connsiteX10" fmla="*/ 183330 w 296741"/>
                  <a:gd name="connsiteY10" fmla="*/ 573405 h 629205"/>
                  <a:gd name="connsiteX11" fmla="*/ 286200 w 296741"/>
                  <a:gd name="connsiteY11" fmla="*/ 624840 h 629205"/>
                  <a:gd name="connsiteX12" fmla="*/ 288105 w 296741"/>
                  <a:gd name="connsiteY12" fmla="*/ 622935 h 62920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96741" h="629205">
                    <a:moveTo>
                      <a:pt x="80460" y="0"/>
                    </a:moveTo>
                    <a:cubicBezTo>
                      <a:pt x="63791" y="8414"/>
                      <a:pt x="47122" y="16828"/>
                      <a:pt x="34740" y="32385"/>
                    </a:cubicBezTo>
                    <a:cubicBezTo>
                      <a:pt x="22357" y="47943"/>
                      <a:pt x="11880" y="75248"/>
                      <a:pt x="6165" y="93345"/>
                    </a:cubicBezTo>
                    <a:cubicBezTo>
                      <a:pt x="450" y="111442"/>
                      <a:pt x="-820" y="115888"/>
                      <a:pt x="450" y="140970"/>
                    </a:cubicBezTo>
                    <a:cubicBezTo>
                      <a:pt x="1720" y="166052"/>
                      <a:pt x="8705" y="211455"/>
                      <a:pt x="13785" y="243840"/>
                    </a:cubicBezTo>
                    <a:cubicBezTo>
                      <a:pt x="18865" y="276225"/>
                      <a:pt x="29025" y="307340"/>
                      <a:pt x="30930" y="335280"/>
                    </a:cubicBezTo>
                    <a:cubicBezTo>
                      <a:pt x="32835" y="363220"/>
                      <a:pt x="24580" y="385128"/>
                      <a:pt x="25215" y="411480"/>
                    </a:cubicBezTo>
                    <a:cubicBezTo>
                      <a:pt x="25850" y="437832"/>
                      <a:pt x="28390" y="471805"/>
                      <a:pt x="34740" y="493395"/>
                    </a:cubicBezTo>
                    <a:cubicBezTo>
                      <a:pt x="41090" y="514985"/>
                      <a:pt x="49027" y="529908"/>
                      <a:pt x="63315" y="541020"/>
                    </a:cubicBezTo>
                    <a:cubicBezTo>
                      <a:pt x="77602" y="552133"/>
                      <a:pt x="100463" y="554673"/>
                      <a:pt x="120465" y="560070"/>
                    </a:cubicBezTo>
                    <a:cubicBezTo>
                      <a:pt x="140467" y="565467"/>
                      <a:pt x="155708" y="562610"/>
                      <a:pt x="183330" y="573405"/>
                    </a:cubicBezTo>
                    <a:cubicBezTo>
                      <a:pt x="210953" y="584200"/>
                      <a:pt x="286200" y="624840"/>
                      <a:pt x="286200" y="624840"/>
                    </a:cubicBezTo>
                    <a:cubicBezTo>
                      <a:pt x="303662" y="633095"/>
                      <a:pt x="295883" y="628015"/>
                      <a:pt x="288105" y="622935"/>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8" name="Freeform: Shape 57">
                <a:extLst>
                  <a:ext uri="{FF2B5EF4-FFF2-40B4-BE49-F238E27FC236}">
                    <a16:creationId xmlns:a16="http://schemas.microsoft.com/office/drawing/2014/main" id="{B31C447C-7699-4C3B-B96B-8AB63415AE89}"/>
                  </a:ext>
                </a:extLst>
              </p:cNvPr>
              <p:cNvSpPr/>
              <p:nvPr/>
            </p:nvSpPr>
            <p:spPr bwMode="auto">
              <a:xfrm>
                <a:off x="4394835" y="4333875"/>
                <a:ext cx="355344" cy="550986"/>
              </a:xfrm>
              <a:custGeom>
                <a:avLst/>
                <a:gdLst>
                  <a:gd name="connsiteX0" fmla="*/ 0 w 355344"/>
                  <a:gd name="connsiteY0" fmla="*/ 0 h 550986"/>
                  <a:gd name="connsiteX1" fmla="*/ 49530 w 355344"/>
                  <a:gd name="connsiteY1" fmla="*/ 62865 h 550986"/>
                  <a:gd name="connsiteX2" fmla="*/ 99060 w 355344"/>
                  <a:gd name="connsiteY2" fmla="*/ 156210 h 550986"/>
                  <a:gd name="connsiteX3" fmla="*/ 99060 w 355344"/>
                  <a:gd name="connsiteY3" fmla="*/ 222885 h 550986"/>
                  <a:gd name="connsiteX4" fmla="*/ 118110 w 355344"/>
                  <a:gd name="connsiteY4" fmla="*/ 283845 h 550986"/>
                  <a:gd name="connsiteX5" fmla="*/ 190500 w 355344"/>
                  <a:gd name="connsiteY5" fmla="*/ 422910 h 550986"/>
                  <a:gd name="connsiteX6" fmla="*/ 268605 w 355344"/>
                  <a:gd name="connsiteY6" fmla="*/ 518160 h 550986"/>
                  <a:gd name="connsiteX7" fmla="*/ 335280 w 355344"/>
                  <a:gd name="connsiteY7" fmla="*/ 550545 h 550986"/>
                  <a:gd name="connsiteX8" fmla="*/ 354330 w 355344"/>
                  <a:gd name="connsiteY8" fmla="*/ 499110 h 550986"/>
                  <a:gd name="connsiteX9" fmla="*/ 310515 w 355344"/>
                  <a:gd name="connsiteY9" fmla="*/ 430530 h 550986"/>
                  <a:gd name="connsiteX10" fmla="*/ 247650 w 355344"/>
                  <a:gd name="connsiteY10" fmla="*/ 390525 h 550986"/>
                  <a:gd name="connsiteX11" fmla="*/ 224790 w 355344"/>
                  <a:gd name="connsiteY11" fmla="*/ 384810 h 550986"/>
                  <a:gd name="connsiteX12" fmla="*/ 228600 w 355344"/>
                  <a:gd name="connsiteY12" fmla="*/ 413385 h 5509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55344" h="550986">
                    <a:moveTo>
                      <a:pt x="0" y="0"/>
                    </a:moveTo>
                    <a:cubicBezTo>
                      <a:pt x="16510" y="18415"/>
                      <a:pt x="33020" y="36830"/>
                      <a:pt x="49530" y="62865"/>
                    </a:cubicBezTo>
                    <a:cubicBezTo>
                      <a:pt x="66040" y="88900"/>
                      <a:pt x="90805" y="129540"/>
                      <a:pt x="99060" y="156210"/>
                    </a:cubicBezTo>
                    <a:cubicBezTo>
                      <a:pt x="107315" y="182880"/>
                      <a:pt x="95885" y="201613"/>
                      <a:pt x="99060" y="222885"/>
                    </a:cubicBezTo>
                    <a:cubicBezTo>
                      <a:pt x="102235" y="244157"/>
                      <a:pt x="102870" y="250508"/>
                      <a:pt x="118110" y="283845"/>
                    </a:cubicBezTo>
                    <a:cubicBezTo>
                      <a:pt x="133350" y="317182"/>
                      <a:pt x="165418" y="383858"/>
                      <a:pt x="190500" y="422910"/>
                    </a:cubicBezTo>
                    <a:cubicBezTo>
                      <a:pt x="215583" y="461963"/>
                      <a:pt x="244475" y="496888"/>
                      <a:pt x="268605" y="518160"/>
                    </a:cubicBezTo>
                    <a:cubicBezTo>
                      <a:pt x="292735" y="539433"/>
                      <a:pt x="320993" y="553720"/>
                      <a:pt x="335280" y="550545"/>
                    </a:cubicBezTo>
                    <a:cubicBezTo>
                      <a:pt x="349567" y="547370"/>
                      <a:pt x="358458" y="519113"/>
                      <a:pt x="354330" y="499110"/>
                    </a:cubicBezTo>
                    <a:cubicBezTo>
                      <a:pt x="350203" y="479108"/>
                      <a:pt x="328295" y="448628"/>
                      <a:pt x="310515" y="430530"/>
                    </a:cubicBezTo>
                    <a:cubicBezTo>
                      <a:pt x="292735" y="412433"/>
                      <a:pt x="261938" y="398145"/>
                      <a:pt x="247650" y="390525"/>
                    </a:cubicBezTo>
                    <a:cubicBezTo>
                      <a:pt x="233363" y="382905"/>
                      <a:pt x="227965" y="381000"/>
                      <a:pt x="224790" y="384810"/>
                    </a:cubicBezTo>
                    <a:cubicBezTo>
                      <a:pt x="221615" y="388620"/>
                      <a:pt x="225107" y="401002"/>
                      <a:pt x="228600" y="413385"/>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9" name="Freeform: Shape 58">
                <a:extLst>
                  <a:ext uri="{FF2B5EF4-FFF2-40B4-BE49-F238E27FC236}">
                    <a16:creationId xmlns:a16="http://schemas.microsoft.com/office/drawing/2014/main" id="{A7148F35-B60E-4F2A-977A-844088003AAC}"/>
                  </a:ext>
                </a:extLst>
              </p:cNvPr>
              <p:cNvSpPr/>
              <p:nvPr/>
            </p:nvSpPr>
            <p:spPr bwMode="auto">
              <a:xfrm>
                <a:off x="4554855" y="4130040"/>
                <a:ext cx="179183" cy="432435"/>
              </a:xfrm>
              <a:custGeom>
                <a:avLst/>
                <a:gdLst>
                  <a:gd name="connsiteX0" fmla="*/ 169545 w 179183"/>
                  <a:gd name="connsiteY0" fmla="*/ 0 h 432435"/>
                  <a:gd name="connsiteX1" fmla="*/ 179070 w 179183"/>
                  <a:gd name="connsiteY1" fmla="*/ 66675 h 432435"/>
                  <a:gd name="connsiteX2" fmla="*/ 163830 w 179183"/>
                  <a:gd name="connsiteY2" fmla="*/ 156210 h 432435"/>
                  <a:gd name="connsiteX3" fmla="*/ 131445 w 179183"/>
                  <a:gd name="connsiteY3" fmla="*/ 220980 h 432435"/>
                  <a:gd name="connsiteX4" fmla="*/ 74295 w 179183"/>
                  <a:gd name="connsiteY4" fmla="*/ 280035 h 432435"/>
                  <a:gd name="connsiteX5" fmla="*/ 19050 w 179183"/>
                  <a:gd name="connsiteY5" fmla="*/ 356235 h 432435"/>
                  <a:gd name="connsiteX6" fmla="*/ 0 w 179183"/>
                  <a:gd name="connsiteY6" fmla="*/ 432435 h 4324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79183" h="432435">
                    <a:moveTo>
                      <a:pt x="169545" y="0"/>
                    </a:moveTo>
                    <a:cubicBezTo>
                      <a:pt x="174784" y="20320"/>
                      <a:pt x="180023" y="40640"/>
                      <a:pt x="179070" y="66675"/>
                    </a:cubicBezTo>
                    <a:cubicBezTo>
                      <a:pt x="178118" y="92710"/>
                      <a:pt x="171767" y="130493"/>
                      <a:pt x="163830" y="156210"/>
                    </a:cubicBezTo>
                    <a:cubicBezTo>
                      <a:pt x="155893" y="181927"/>
                      <a:pt x="146367" y="200343"/>
                      <a:pt x="131445" y="220980"/>
                    </a:cubicBezTo>
                    <a:cubicBezTo>
                      <a:pt x="116522" y="241618"/>
                      <a:pt x="93027" y="257493"/>
                      <a:pt x="74295" y="280035"/>
                    </a:cubicBezTo>
                    <a:cubicBezTo>
                      <a:pt x="55562" y="302578"/>
                      <a:pt x="31432" y="330835"/>
                      <a:pt x="19050" y="356235"/>
                    </a:cubicBezTo>
                    <a:cubicBezTo>
                      <a:pt x="6668" y="381635"/>
                      <a:pt x="3334" y="407035"/>
                      <a:pt x="0" y="432435"/>
                    </a:cubicBezTo>
                  </a:path>
                </a:pathLst>
              </a:custGeom>
              <a:noFill/>
              <a:ln w="12700" cap="flat" cmpd="sng" algn="ctr">
                <a:solidFill>
                  <a:schemeClr val="accent4"/>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grpSp>
            <p:nvGrpSpPr>
              <p:cNvPr id="60" name="Group 59">
                <a:extLst>
                  <a:ext uri="{FF2B5EF4-FFF2-40B4-BE49-F238E27FC236}">
                    <a16:creationId xmlns:a16="http://schemas.microsoft.com/office/drawing/2014/main" id="{12F5887E-02C5-461F-ACAF-A0494D696747}"/>
                  </a:ext>
                </a:extLst>
              </p:cNvPr>
              <p:cNvGrpSpPr/>
              <p:nvPr/>
            </p:nvGrpSpPr>
            <p:grpSpPr>
              <a:xfrm>
                <a:off x="6062502" y="3249417"/>
                <a:ext cx="444073" cy="424765"/>
                <a:chOff x="6062502" y="3249417"/>
                <a:chExt cx="444073" cy="424765"/>
              </a:xfrm>
            </p:grpSpPr>
            <p:sp>
              <p:nvSpPr>
                <p:cNvPr id="213" name="Freeform: Shape 212">
                  <a:extLst>
                    <a:ext uri="{FF2B5EF4-FFF2-40B4-BE49-F238E27FC236}">
                      <a16:creationId xmlns:a16="http://schemas.microsoft.com/office/drawing/2014/main" id="{FEE15F19-3769-4538-8268-CDFC2B709918}"/>
                    </a:ext>
                  </a:extLst>
                </p:cNvPr>
                <p:cNvSpPr/>
                <p:nvPr/>
              </p:nvSpPr>
              <p:spPr bwMode="auto">
                <a:xfrm>
                  <a:off x="6062502" y="3249417"/>
                  <a:ext cx="444073" cy="424765"/>
                </a:xfrm>
                <a:custGeom>
                  <a:avLst/>
                  <a:gdLst>
                    <a:gd name="connsiteX0" fmla="*/ 20163 w 444073"/>
                    <a:gd name="connsiteY0" fmla="*/ 513 h 424765"/>
                    <a:gd name="connsiteX1" fmla="*/ 8733 w 444073"/>
                    <a:gd name="connsiteY1" fmla="*/ 65283 h 424765"/>
                    <a:gd name="connsiteX2" fmla="*/ 105888 w 444073"/>
                    <a:gd name="connsiteY2" fmla="*/ 114813 h 424765"/>
                    <a:gd name="connsiteX3" fmla="*/ 164943 w 444073"/>
                    <a:gd name="connsiteY3" fmla="*/ 149103 h 424765"/>
                    <a:gd name="connsiteX4" fmla="*/ 185898 w 444073"/>
                    <a:gd name="connsiteY4" fmla="*/ 200538 h 424765"/>
                    <a:gd name="connsiteX5" fmla="*/ 246858 w 444073"/>
                    <a:gd name="connsiteY5" fmla="*/ 255783 h 424765"/>
                    <a:gd name="connsiteX6" fmla="*/ 286863 w 444073"/>
                    <a:gd name="connsiteY6" fmla="*/ 271023 h 424765"/>
                    <a:gd name="connsiteX7" fmla="*/ 334488 w 444073"/>
                    <a:gd name="connsiteY7" fmla="*/ 337698 h 424765"/>
                    <a:gd name="connsiteX8" fmla="*/ 376398 w 444073"/>
                    <a:gd name="connsiteY8" fmla="*/ 417708 h 424765"/>
                    <a:gd name="connsiteX9" fmla="*/ 439263 w 444073"/>
                    <a:gd name="connsiteY9" fmla="*/ 415803 h 424765"/>
                    <a:gd name="connsiteX10" fmla="*/ 435453 w 444073"/>
                    <a:gd name="connsiteY10" fmla="*/ 373893 h 424765"/>
                    <a:gd name="connsiteX11" fmla="*/ 401163 w 444073"/>
                    <a:gd name="connsiteY11" fmla="*/ 297693 h 424765"/>
                    <a:gd name="connsiteX12" fmla="*/ 311628 w 444073"/>
                    <a:gd name="connsiteY12" fmla="*/ 170058 h 424765"/>
                    <a:gd name="connsiteX13" fmla="*/ 225903 w 444073"/>
                    <a:gd name="connsiteY13" fmla="*/ 103383 h 424765"/>
                    <a:gd name="connsiteX14" fmla="*/ 145893 w 444073"/>
                    <a:gd name="connsiteY14" fmla="*/ 38613 h 424765"/>
                    <a:gd name="connsiteX15" fmla="*/ 20163 w 444073"/>
                    <a:gd name="connsiteY15" fmla="*/ 513 h 42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4073" h="424765">
                      <a:moveTo>
                        <a:pt x="20163" y="513"/>
                      </a:moveTo>
                      <a:cubicBezTo>
                        <a:pt x="-2697" y="4958"/>
                        <a:pt x="-5555" y="46233"/>
                        <a:pt x="8733" y="65283"/>
                      </a:cubicBezTo>
                      <a:cubicBezTo>
                        <a:pt x="23021" y="84333"/>
                        <a:pt x="79853" y="100843"/>
                        <a:pt x="105888" y="114813"/>
                      </a:cubicBezTo>
                      <a:cubicBezTo>
                        <a:pt x="131923" y="128783"/>
                        <a:pt x="151608" y="134816"/>
                        <a:pt x="164943" y="149103"/>
                      </a:cubicBezTo>
                      <a:cubicBezTo>
                        <a:pt x="178278" y="163390"/>
                        <a:pt x="172246" y="182758"/>
                        <a:pt x="185898" y="200538"/>
                      </a:cubicBezTo>
                      <a:cubicBezTo>
                        <a:pt x="199550" y="218318"/>
                        <a:pt x="230031" y="244036"/>
                        <a:pt x="246858" y="255783"/>
                      </a:cubicBezTo>
                      <a:cubicBezTo>
                        <a:pt x="263685" y="267530"/>
                        <a:pt x="272258" y="257371"/>
                        <a:pt x="286863" y="271023"/>
                      </a:cubicBezTo>
                      <a:cubicBezTo>
                        <a:pt x="301468" y="284675"/>
                        <a:pt x="319565" y="313250"/>
                        <a:pt x="334488" y="337698"/>
                      </a:cubicBezTo>
                      <a:cubicBezTo>
                        <a:pt x="349411" y="362146"/>
                        <a:pt x="358935" y="404690"/>
                        <a:pt x="376398" y="417708"/>
                      </a:cubicBezTo>
                      <a:cubicBezTo>
                        <a:pt x="393861" y="430726"/>
                        <a:pt x="429420" y="423106"/>
                        <a:pt x="439263" y="415803"/>
                      </a:cubicBezTo>
                      <a:cubicBezTo>
                        <a:pt x="449106" y="408500"/>
                        <a:pt x="441803" y="393578"/>
                        <a:pt x="435453" y="373893"/>
                      </a:cubicBezTo>
                      <a:cubicBezTo>
                        <a:pt x="429103" y="354208"/>
                        <a:pt x="421801" y="331666"/>
                        <a:pt x="401163" y="297693"/>
                      </a:cubicBezTo>
                      <a:cubicBezTo>
                        <a:pt x="380525" y="263720"/>
                        <a:pt x="340838" y="202443"/>
                        <a:pt x="311628" y="170058"/>
                      </a:cubicBezTo>
                      <a:cubicBezTo>
                        <a:pt x="282418" y="137673"/>
                        <a:pt x="253526" y="125291"/>
                        <a:pt x="225903" y="103383"/>
                      </a:cubicBezTo>
                      <a:cubicBezTo>
                        <a:pt x="198280" y="81475"/>
                        <a:pt x="175420" y="55758"/>
                        <a:pt x="145893" y="38613"/>
                      </a:cubicBezTo>
                      <a:cubicBezTo>
                        <a:pt x="116366" y="21468"/>
                        <a:pt x="43023" y="-3932"/>
                        <a:pt x="20163" y="51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14" name="Freeform 50">
                  <a:extLst>
                    <a:ext uri="{FF2B5EF4-FFF2-40B4-BE49-F238E27FC236}">
                      <a16:creationId xmlns:a16="http://schemas.microsoft.com/office/drawing/2014/main" id="{94415B0F-0768-4838-87CF-804F1A255EBD}"/>
                    </a:ext>
                  </a:extLst>
                </p:cNvPr>
                <p:cNvSpPr>
                  <a:spLocks/>
                </p:cNvSpPr>
                <p:nvPr/>
              </p:nvSpPr>
              <p:spPr bwMode="auto">
                <a:xfrm rot="21233883">
                  <a:off x="6267442" y="3392039"/>
                  <a:ext cx="82065" cy="87295"/>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61" name="Group 60">
                <a:extLst>
                  <a:ext uri="{FF2B5EF4-FFF2-40B4-BE49-F238E27FC236}">
                    <a16:creationId xmlns:a16="http://schemas.microsoft.com/office/drawing/2014/main" id="{5B5763CD-764A-437E-A1BC-228B72F62C3C}"/>
                  </a:ext>
                </a:extLst>
              </p:cNvPr>
              <p:cNvGrpSpPr/>
              <p:nvPr/>
            </p:nvGrpSpPr>
            <p:grpSpPr>
              <a:xfrm rot="3695183">
                <a:off x="6208798" y="3756801"/>
                <a:ext cx="444073" cy="424765"/>
                <a:chOff x="6062502" y="3249417"/>
                <a:chExt cx="444073" cy="424765"/>
              </a:xfrm>
            </p:grpSpPr>
            <p:sp>
              <p:nvSpPr>
                <p:cNvPr id="211" name="Freeform: Shape 210">
                  <a:extLst>
                    <a:ext uri="{FF2B5EF4-FFF2-40B4-BE49-F238E27FC236}">
                      <a16:creationId xmlns:a16="http://schemas.microsoft.com/office/drawing/2014/main" id="{DB32D3D9-8298-494D-ADC8-ABB20FE0BFED}"/>
                    </a:ext>
                  </a:extLst>
                </p:cNvPr>
                <p:cNvSpPr/>
                <p:nvPr/>
              </p:nvSpPr>
              <p:spPr bwMode="auto">
                <a:xfrm>
                  <a:off x="6062502" y="3249417"/>
                  <a:ext cx="444073" cy="424765"/>
                </a:xfrm>
                <a:custGeom>
                  <a:avLst/>
                  <a:gdLst>
                    <a:gd name="connsiteX0" fmla="*/ 20163 w 444073"/>
                    <a:gd name="connsiteY0" fmla="*/ 513 h 424765"/>
                    <a:gd name="connsiteX1" fmla="*/ 8733 w 444073"/>
                    <a:gd name="connsiteY1" fmla="*/ 65283 h 424765"/>
                    <a:gd name="connsiteX2" fmla="*/ 105888 w 444073"/>
                    <a:gd name="connsiteY2" fmla="*/ 114813 h 424765"/>
                    <a:gd name="connsiteX3" fmla="*/ 164943 w 444073"/>
                    <a:gd name="connsiteY3" fmla="*/ 149103 h 424765"/>
                    <a:gd name="connsiteX4" fmla="*/ 185898 w 444073"/>
                    <a:gd name="connsiteY4" fmla="*/ 200538 h 424765"/>
                    <a:gd name="connsiteX5" fmla="*/ 246858 w 444073"/>
                    <a:gd name="connsiteY5" fmla="*/ 255783 h 424765"/>
                    <a:gd name="connsiteX6" fmla="*/ 286863 w 444073"/>
                    <a:gd name="connsiteY6" fmla="*/ 271023 h 424765"/>
                    <a:gd name="connsiteX7" fmla="*/ 334488 w 444073"/>
                    <a:gd name="connsiteY7" fmla="*/ 337698 h 424765"/>
                    <a:gd name="connsiteX8" fmla="*/ 376398 w 444073"/>
                    <a:gd name="connsiteY8" fmla="*/ 417708 h 424765"/>
                    <a:gd name="connsiteX9" fmla="*/ 439263 w 444073"/>
                    <a:gd name="connsiteY9" fmla="*/ 415803 h 424765"/>
                    <a:gd name="connsiteX10" fmla="*/ 435453 w 444073"/>
                    <a:gd name="connsiteY10" fmla="*/ 373893 h 424765"/>
                    <a:gd name="connsiteX11" fmla="*/ 401163 w 444073"/>
                    <a:gd name="connsiteY11" fmla="*/ 297693 h 424765"/>
                    <a:gd name="connsiteX12" fmla="*/ 311628 w 444073"/>
                    <a:gd name="connsiteY12" fmla="*/ 170058 h 424765"/>
                    <a:gd name="connsiteX13" fmla="*/ 225903 w 444073"/>
                    <a:gd name="connsiteY13" fmla="*/ 103383 h 424765"/>
                    <a:gd name="connsiteX14" fmla="*/ 145893 w 444073"/>
                    <a:gd name="connsiteY14" fmla="*/ 38613 h 424765"/>
                    <a:gd name="connsiteX15" fmla="*/ 20163 w 444073"/>
                    <a:gd name="connsiteY15" fmla="*/ 513 h 42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4073" h="424765">
                      <a:moveTo>
                        <a:pt x="20163" y="513"/>
                      </a:moveTo>
                      <a:cubicBezTo>
                        <a:pt x="-2697" y="4958"/>
                        <a:pt x="-5555" y="46233"/>
                        <a:pt x="8733" y="65283"/>
                      </a:cubicBezTo>
                      <a:cubicBezTo>
                        <a:pt x="23021" y="84333"/>
                        <a:pt x="79853" y="100843"/>
                        <a:pt x="105888" y="114813"/>
                      </a:cubicBezTo>
                      <a:cubicBezTo>
                        <a:pt x="131923" y="128783"/>
                        <a:pt x="151608" y="134816"/>
                        <a:pt x="164943" y="149103"/>
                      </a:cubicBezTo>
                      <a:cubicBezTo>
                        <a:pt x="178278" y="163390"/>
                        <a:pt x="172246" y="182758"/>
                        <a:pt x="185898" y="200538"/>
                      </a:cubicBezTo>
                      <a:cubicBezTo>
                        <a:pt x="199550" y="218318"/>
                        <a:pt x="230031" y="244036"/>
                        <a:pt x="246858" y="255783"/>
                      </a:cubicBezTo>
                      <a:cubicBezTo>
                        <a:pt x="263685" y="267530"/>
                        <a:pt x="272258" y="257371"/>
                        <a:pt x="286863" y="271023"/>
                      </a:cubicBezTo>
                      <a:cubicBezTo>
                        <a:pt x="301468" y="284675"/>
                        <a:pt x="319565" y="313250"/>
                        <a:pt x="334488" y="337698"/>
                      </a:cubicBezTo>
                      <a:cubicBezTo>
                        <a:pt x="349411" y="362146"/>
                        <a:pt x="358935" y="404690"/>
                        <a:pt x="376398" y="417708"/>
                      </a:cubicBezTo>
                      <a:cubicBezTo>
                        <a:pt x="393861" y="430726"/>
                        <a:pt x="429420" y="423106"/>
                        <a:pt x="439263" y="415803"/>
                      </a:cubicBezTo>
                      <a:cubicBezTo>
                        <a:pt x="449106" y="408500"/>
                        <a:pt x="441803" y="393578"/>
                        <a:pt x="435453" y="373893"/>
                      </a:cubicBezTo>
                      <a:cubicBezTo>
                        <a:pt x="429103" y="354208"/>
                        <a:pt x="421801" y="331666"/>
                        <a:pt x="401163" y="297693"/>
                      </a:cubicBezTo>
                      <a:cubicBezTo>
                        <a:pt x="380525" y="263720"/>
                        <a:pt x="340838" y="202443"/>
                        <a:pt x="311628" y="170058"/>
                      </a:cubicBezTo>
                      <a:cubicBezTo>
                        <a:pt x="282418" y="137673"/>
                        <a:pt x="253526" y="125291"/>
                        <a:pt x="225903" y="103383"/>
                      </a:cubicBezTo>
                      <a:cubicBezTo>
                        <a:pt x="198280" y="81475"/>
                        <a:pt x="175420" y="55758"/>
                        <a:pt x="145893" y="38613"/>
                      </a:cubicBezTo>
                      <a:cubicBezTo>
                        <a:pt x="116366" y="21468"/>
                        <a:pt x="43023" y="-3932"/>
                        <a:pt x="20163" y="51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12" name="Freeform 50">
                  <a:extLst>
                    <a:ext uri="{FF2B5EF4-FFF2-40B4-BE49-F238E27FC236}">
                      <a16:creationId xmlns:a16="http://schemas.microsoft.com/office/drawing/2014/main" id="{317073EE-E93A-4499-BCA7-781F16EC6B92}"/>
                    </a:ext>
                  </a:extLst>
                </p:cNvPr>
                <p:cNvSpPr>
                  <a:spLocks/>
                </p:cNvSpPr>
                <p:nvPr/>
              </p:nvSpPr>
              <p:spPr bwMode="auto">
                <a:xfrm rot="21233883">
                  <a:off x="6267442" y="3392039"/>
                  <a:ext cx="82065" cy="87295"/>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62" name="Group 61">
                <a:extLst>
                  <a:ext uri="{FF2B5EF4-FFF2-40B4-BE49-F238E27FC236}">
                    <a16:creationId xmlns:a16="http://schemas.microsoft.com/office/drawing/2014/main" id="{713BE1AB-477A-450C-BD54-30A0F5A7CEC4}"/>
                  </a:ext>
                </a:extLst>
              </p:cNvPr>
              <p:cNvGrpSpPr/>
              <p:nvPr/>
            </p:nvGrpSpPr>
            <p:grpSpPr>
              <a:xfrm rot="7128824">
                <a:off x="5844451" y="4124439"/>
                <a:ext cx="444073" cy="424765"/>
                <a:chOff x="6062502" y="3249417"/>
                <a:chExt cx="444073" cy="424765"/>
              </a:xfrm>
            </p:grpSpPr>
            <p:sp>
              <p:nvSpPr>
                <p:cNvPr id="209" name="Freeform: Shape 208">
                  <a:extLst>
                    <a:ext uri="{FF2B5EF4-FFF2-40B4-BE49-F238E27FC236}">
                      <a16:creationId xmlns:a16="http://schemas.microsoft.com/office/drawing/2014/main" id="{6E981F24-473A-4449-B527-7E0D756DA207}"/>
                    </a:ext>
                  </a:extLst>
                </p:cNvPr>
                <p:cNvSpPr/>
                <p:nvPr/>
              </p:nvSpPr>
              <p:spPr bwMode="auto">
                <a:xfrm>
                  <a:off x="6062502" y="3249417"/>
                  <a:ext cx="444073" cy="424765"/>
                </a:xfrm>
                <a:custGeom>
                  <a:avLst/>
                  <a:gdLst>
                    <a:gd name="connsiteX0" fmla="*/ 20163 w 444073"/>
                    <a:gd name="connsiteY0" fmla="*/ 513 h 424765"/>
                    <a:gd name="connsiteX1" fmla="*/ 8733 w 444073"/>
                    <a:gd name="connsiteY1" fmla="*/ 65283 h 424765"/>
                    <a:gd name="connsiteX2" fmla="*/ 105888 w 444073"/>
                    <a:gd name="connsiteY2" fmla="*/ 114813 h 424765"/>
                    <a:gd name="connsiteX3" fmla="*/ 164943 w 444073"/>
                    <a:gd name="connsiteY3" fmla="*/ 149103 h 424765"/>
                    <a:gd name="connsiteX4" fmla="*/ 185898 w 444073"/>
                    <a:gd name="connsiteY4" fmla="*/ 200538 h 424765"/>
                    <a:gd name="connsiteX5" fmla="*/ 246858 w 444073"/>
                    <a:gd name="connsiteY5" fmla="*/ 255783 h 424765"/>
                    <a:gd name="connsiteX6" fmla="*/ 286863 w 444073"/>
                    <a:gd name="connsiteY6" fmla="*/ 271023 h 424765"/>
                    <a:gd name="connsiteX7" fmla="*/ 334488 w 444073"/>
                    <a:gd name="connsiteY7" fmla="*/ 337698 h 424765"/>
                    <a:gd name="connsiteX8" fmla="*/ 376398 w 444073"/>
                    <a:gd name="connsiteY8" fmla="*/ 417708 h 424765"/>
                    <a:gd name="connsiteX9" fmla="*/ 439263 w 444073"/>
                    <a:gd name="connsiteY9" fmla="*/ 415803 h 424765"/>
                    <a:gd name="connsiteX10" fmla="*/ 435453 w 444073"/>
                    <a:gd name="connsiteY10" fmla="*/ 373893 h 424765"/>
                    <a:gd name="connsiteX11" fmla="*/ 401163 w 444073"/>
                    <a:gd name="connsiteY11" fmla="*/ 297693 h 424765"/>
                    <a:gd name="connsiteX12" fmla="*/ 311628 w 444073"/>
                    <a:gd name="connsiteY12" fmla="*/ 170058 h 424765"/>
                    <a:gd name="connsiteX13" fmla="*/ 225903 w 444073"/>
                    <a:gd name="connsiteY13" fmla="*/ 103383 h 424765"/>
                    <a:gd name="connsiteX14" fmla="*/ 145893 w 444073"/>
                    <a:gd name="connsiteY14" fmla="*/ 38613 h 424765"/>
                    <a:gd name="connsiteX15" fmla="*/ 20163 w 444073"/>
                    <a:gd name="connsiteY15" fmla="*/ 513 h 42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4073" h="424765">
                      <a:moveTo>
                        <a:pt x="20163" y="513"/>
                      </a:moveTo>
                      <a:cubicBezTo>
                        <a:pt x="-2697" y="4958"/>
                        <a:pt x="-5555" y="46233"/>
                        <a:pt x="8733" y="65283"/>
                      </a:cubicBezTo>
                      <a:cubicBezTo>
                        <a:pt x="23021" y="84333"/>
                        <a:pt x="79853" y="100843"/>
                        <a:pt x="105888" y="114813"/>
                      </a:cubicBezTo>
                      <a:cubicBezTo>
                        <a:pt x="131923" y="128783"/>
                        <a:pt x="151608" y="134816"/>
                        <a:pt x="164943" y="149103"/>
                      </a:cubicBezTo>
                      <a:cubicBezTo>
                        <a:pt x="178278" y="163390"/>
                        <a:pt x="172246" y="182758"/>
                        <a:pt x="185898" y="200538"/>
                      </a:cubicBezTo>
                      <a:cubicBezTo>
                        <a:pt x="199550" y="218318"/>
                        <a:pt x="230031" y="244036"/>
                        <a:pt x="246858" y="255783"/>
                      </a:cubicBezTo>
                      <a:cubicBezTo>
                        <a:pt x="263685" y="267530"/>
                        <a:pt x="272258" y="257371"/>
                        <a:pt x="286863" y="271023"/>
                      </a:cubicBezTo>
                      <a:cubicBezTo>
                        <a:pt x="301468" y="284675"/>
                        <a:pt x="319565" y="313250"/>
                        <a:pt x="334488" y="337698"/>
                      </a:cubicBezTo>
                      <a:cubicBezTo>
                        <a:pt x="349411" y="362146"/>
                        <a:pt x="358935" y="404690"/>
                        <a:pt x="376398" y="417708"/>
                      </a:cubicBezTo>
                      <a:cubicBezTo>
                        <a:pt x="393861" y="430726"/>
                        <a:pt x="429420" y="423106"/>
                        <a:pt x="439263" y="415803"/>
                      </a:cubicBezTo>
                      <a:cubicBezTo>
                        <a:pt x="449106" y="408500"/>
                        <a:pt x="441803" y="393578"/>
                        <a:pt x="435453" y="373893"/>
                      </a:cubicBezTo>
                      <a:cubicBezTo>
                        <a:pt x="429103" y="354208"/>
                        <a:pt x="421801" y="331666"/>
                        <a:pt x="401163" y="297693"/>
                      </a:cubicBezTo>
                      <a:cubicBezTo>
                        <a:pt x="380525" y="263720"/>
                        <a:pt x="340838" y="202443"/>
                        <a:pt x="311628" y="170058"/>
                      </a:cubicBezTo>
                      <a:cubicBezTo>
                        <a:pt x="282418" y="137673"/>
                        <a:pt x="253526" y="125291"/>
                        <a:pt x="225903" y="103383"/>
                      </a:cubicBezTo>
                      <a:cubicBezTo>
                        <a:pt x="198280" y="81475"/>
                        <a:pt x="175420" y="55758"/>
                        <a:pt x="145893" y="38613"/>
                      </a:cubicBezTo>
                      <a:cubicBezTo>
                        <a:pt x="116366" y="21468"/>
                        <a:pt x="43023" y="-3932"/>
                        <a:pt x="20163" y="51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10" name="Freeform 50">
                  <a:extLst>
                    <a:ext uri="{FF2B5EF4-FFF2-40B4-BE49-F238E27FC236}">
                      <a16:creationId xmlns:a16="http://schemas.microsoft.com/office/drawing/2014/main" id="{470FA87F-BF83-4834-8595-0FAD0E86717E}"/>
                    </a:ext>
                  </a:extLst>
                </p:cNvPr>
                <p:cNvSpPr>
                  <a:spLocks/>
                </p:cNvSpPr>
                <p:nvPr/>
              </p:nvSpPr>
              <p:spPr bwMode="auto">
                <a:xfrm rot="21233883">
                  <a:off x="6267442" y="3392039"/>
                  <a:ext cx="82065" cy="87295"/>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63" name="Group 62">
                <a:extLst>
                  <a:ext uri="{FF2B5EF4-FFF2-40B4-BE49-F238E27FC236}">
                    <a16:creationId xmlns:a16="http://schemas.microsoft.com/office/drawing/2014/main" id="{45120D35-B292-4EAF-9A03-8A2460E37E69}"/>
                  </a:ext>
                </a:extLst>
              </p:cNvPr>
              <p:cNvGrpSpPr/>
              <p:nvPr/>
            </p:nvGrpSpPr>
            <p:grpSpPr>
              <a:xfrm rot="10800000">
                <a:off x="5332673" y="4002317"/>
                <a:ext cx="444073" cy="424765"/>
                <a:chOff x="6062502" y="3249417"/>
                <a:chExt cx="444073" cy="424765"/>
              </a:xfrm>
            </p:grpSpPr>
            <p:sp>
              <p:nvSpPr>
                <p:cNvPr id="207" name="Freeform: Shape 206">
                  <a:extLst>
                    <a:ext uri="{FF2B5EF4-FFF2-40B4-BE49-F238E27FC236}">
                      <a16:creationId xmlns:a16="http://schemas.microsoft.com/office/drawing/2014/main" id="{ABBA8E83-9A58-43CC-B2C1-54618D3E9163}"/>
                    </a:ext>
                  </a:extLst>
                </p:cNvPr>
                <p:cNvSpPr/>
                <p:nvPr/>
              </p:nvSpPr>
              <p:spPr bwMode="auto">
                <a:xfrm>
                  <a:off x="6062502" y="3249417"/>
                  <a:ext cx="444073" cy="424765"/>
                </a:xfrm>
                <a:custGeom>
                  <a:avLst/>
                  <a:gdLst>
                    <a:gd name="connsiteX0" fmla="*/ 20163 w 444073"/>
                    <a:gd name="connsiteY0" fmla="*/ 513 h 424765"/>
                    <a:gd name="connsiteX1" fmla="*/ 8733 w 444073"/>
                    <a:gd name="connsiteY1" fmla="*/ 65283 h 424765"/>
                    <a:gd name="connsiteX2" fmla="*/ 105888 w 444073"/>
                    <a:gd name="connsiteY2" fmla="*/ 114813 h 424765"/>
                    <a:gd name="connsiteX3" fmla="*/ 164943 w 444073"/>
                    <a:gd name="connsiteY3" fmla="*/ 149103 h 424765"/>
                    <a:gd name="connsiteX4" fmla="*/ 185898 w 444073"/>
                    <a:gd name="connsiteY4" fmla="*/ 200538 h 424765"/>
                    <a:gd name="connsiteX5" fmla="*/ 246858 w 444073"/>
                    <a:gd name="connsiteY5" fmla="*/ 255783 h 424765"/>
                    <a:gd name="connsiteX6" fmla="*/ 286863 w 444073"/>
                    <a:gd name="connsiteY6" fmla="*/ 271023 h 424765"/>
                    <a:gd name="connsiteX7" fmla="*/ 334488 w 444073"/>
                    <a:gd name="connsiteY7" fmla="*/ 337698 h 424765"/>
                    <a:gd name="connsiteX8" fmla="*/ 376398 w 444073"/>
                    <a:gd name="connsiteY8" fmla="*/ 417708 h 424765"/>
                    <a:gd name="connsiteX9" fmla="*/ 439263 w 444073"/>
                    <a:gd name="connsiteY9" fmla="*/ 415803 h 424765"/>
                    <a:gd name="connsiteX10" fmla="*/ 435453 w 444073"/>
                    <a:gd name="connsiteY10" fmla="*/ 373893 h 424765"/>
                    <a:gd name="connsiteX11" fmla="*/ 401163 w 444073"/>
                    <a:gd name="connsiteY11" fmla="*/ 297693 h 424765"/>
                    <a:gd name="connsiteX12" fmla="*/ 311628 w 444073"/>
                    <a:gd name="connsiteY12" fmla="*/ 170058 h 424765"/>
                    <a:gd name="connsiteX13" fmla="*/ 225903 w 444073"/>
                    <a:gd name="connsiteY13" fmla="*/ 103383 h 424765"/>
                    <a:gd name="connsiteX14" fmla="*/ 145893 w 444073"/>
                    <a:gd name="connsiteY14" fmla="*/ 38613 h 424765"/>
                    <a:gd name="connsiteX15" fmla="*/ 20163 w 444073"/>
                    <a:gd name="connsiteY15" fmla="*/ 513 h 42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4073" h="424765">
                      <a:moveTo>
                        <a:pt x="20163" y="513"/>
                      </a:moveTo>
                      <a:cubicBezTo>
                        <a:pt x="-2697" y="4958"/>
                        <a:pt x="-5555" y="46233"/>
                        <a:pt x="8733" y="65283"/>
                      </a:cubicBezTo>
                      <a:cubicBezTo>
                        <a:pt x="23021" y="84333"/>
                        <a:pt x="79853" y="100843"/>
                        <a:pt x="105888" y="114813"/>
                      </a:cubicBezTo>
                      <a:cubicBezTo>
                        <a:pt x="131923" y="128783"/>
                        <a:pt x="151608" y="134816"/>
                        <a:pt x="164943" y="149103"/>
                      </a:cubicBezTo>
                      <a:cubicBezTo>
                        <a:pt x="178278" y="163390"/>
                        <a:pt x="172246" y="182758"/>
                        <a:pt x="185898" y="200538"/>
                      </a:cubicBezTo>
                      <a:cubicBezTo>
                        <a:pt x="199550" y="218318"/>
                        <a:pt x="230031" y="244036"/>
                        <a:pt x="246858" y="255783"/>
                      </a:cubicBezTo>
                      <a:cubicBezTo>
                        <a:pt x="263685" y="267530"/>
                        <a:pt x="272258" y="257371"/>
                        <a:pt x="286863" y="271023"/>
                      </a:cubicBezTo>
                      <a:cubicBezTo>
                        <a:pt x="301468" y="284675"/>
                        <a:pt x="319565" y="313250"/>
                        <a:pt x="334488" y="337698"/>
                      </a:cubicBezTo>
                      <a:cubicBezTo>
                        <a:pt x="349411" y="362146"/>
                        <a:pt x="358935" y="404690"/>
                        <a:pt x="376398" y="417708"/>
                      </a:cubicBezTo>
                      <a:cubicBezTo>
                        <a:pt x="393861" y="430726"/>
                        <a:pt x="429420" y="423106"/>
                        <a:pt x="439263" y="415803"/>
                      </a:cubicBezTo>
                      <a:cubicBezTo>
                        <a:pt x="449106" y="408500"/>
                        <a:pt x="441803" y="393578"/>
                        <a:pt x="435453" y="373893"/>
                      </a:cubicBezTo>
                      <a:cubicBezTo>
                        <a:pt x="429103" y="354208"/>
                        <a:pt x="421801" y="331666"/>
                        <a:pt x="401163" y="297693"/>
                      </a:cubicBezTo>
                      <a:cubicBezTo>
                        <a:pt x="380525" y="263720"/>
                        <a:pt x="340838" y="202443"/>
                        <a:pt x="311628" y="170058"/>
                      </a:cubicBezTo>
                      <a:cubicBezTo>
                        <a:pt x="282418" y="137673"/>
                        <a:pt x="253526" y="125291"/>
                        <a:pt x="225903" y="103383"/>
                      </a:cubicBezTo>
                      <a:cubicBezTo>
                        <a:pt x="198280" y="81475"/>
                        <a:pt x="175420" y="55758"/>
                        <a:pt x="145893" y="38613"/>
                      </a:cubicBezTo>
                      <a:cubicBezTo>
                        <a:pt x="116366" y="21468"/>
                        <a:pt x="43023" y="-3932"/>
                        <a:pt x="20163" y="51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08" name="Freeform 50">
                  <a:extLst>
                    <a:ext uri="{FF2B5EF4-FFF2-40B4-BE49-F238E27FC236}">
                      <a16:creationId xmlns:a16="http://schemas.microsoft.com/office/drawing/2014/main" id="{60D7666C-5532-434F-A6FA-30B977369E65}"/>
                    </a:ext>
                  </a:extLst>
                </p:cNvPr>
                <p:cNvSpPr>
                  <a:spLocks/>
                </p:cNvSpPr>
                <p:nvPr/>
              </p:nvSpPr>
              <p:spPr bwMode="auto">
                <a:xfrm rot="21233883">
                  <a:off x="6267442" y="3392039"/>
                  <a:ext cx="82065" cy="87295"/>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64" name="Group 63">
                <a:extLst>
                  <a:ext uri="{FF2B5EF4-FFF2-40B4-BE49-F238E27FC236}">
                    <a16:creationId xmlns:a16="http://schemas.microsoft.com/office/drawing/2014/main" id="{B936CDF3-A963-4D8F-8399-D46172F9F4ED}"/>
                  </a:ext>
                </a:extLst>
              </p:cNvPr>
              <p:cNvGrpSpPr/>
              <p:nvPr/>
            </p:nvGrpSpPr>
            <p:grpSpPr>
              <a:xfrm rot="14437873">
                <a:off x="5185969" y="3499150"/>
                <a:ext cx="444073" cy="424765"/>
                <a:chOff x="6062502" y="3249417"/>
                <a:chExt cx="444073" cy="424765"/>
              </a:xfrm>
            </p:grpSpPr>
            <p:sp>
              <p:nvSpPr>
                <p:cNvPr id="205" name="Freeform: Shape 204">
                  <a:extLst>
                    <a:ext uri="{FF2B5EF4-FFF2-40B4-BE49-F238E27FC236}">
                      <a16:creationId xmlns:a16="http://schemas.microsoft.com/office/drawing/2014/main" id="{A98C5535-966B-4A9B-9BA8-7D4515B76466}"/>
                    </a:ext>
                  </a:extLst>
                </p:cNvPr>
                <p:cNvSpPr/>
                <p:nvPr/>
              </p:nvSpPr>
              <p:spPr bwMode="auto">
                <a:xfrm>
                  <a:off x="6062502" y="3249417"/>
                  <a:ext cx="444073" cy="424765"/>
                </a:xfrm>
                <a:custGeom>
                  <a:avLst/>
                  <a:gdLst>
                    <a:gd name="connsiteX0" fmla="*/ 20163 w 444073"/>
                    <a:gd name="connsiteY0" fmla="*/ 513 h 424765"/>
                    <a:gd name="connsiteX1" fmla="*/ 8733 w 444073"/>
                    <a:gd name="connsiteY1" fmla="*/ 65283 h 424765"/>
                    <a:gd name="connsiteX2" fmla="*/ 105888 w 444073"/>
                    <a:gd name="connsiteY2" fmla="*/ 114813 h 424765"/>
                    <a:gd name="connsiteX3" fmla="*/ 164943 w 444073"/>
                    <a:gd name="connsiteY3" fmla="*/ 149103 h 424765"/>
                    <a:gd name="connsiteX4" fmla="*/ 185898 w 444073"/>
                    <a:gd name="connsiteY4" fmla="*/ 200538 h 424765"/>
                    <a:gd name="connsiteX5" fmla="*/ 246858 w 444073"/>
                    <a:gd name="connsiteY5" fmla="*/ 255783 h 424765"/>
                    <a:gd name="connsiteX6" fmla="*/ 286863 w 444073"/>
                    <a:gd name="connsiteY6" fmla="*/ 271023 h 424765"/>
                    <a:gd name="connsiteX7" fmla="*/ 334488 w 444073"/>
                    <a:gd name="connsiteY7" fmla="*/ 337698 h 424765"/>
                    <a:gd name="connsiteX8" fmla="*/ 376398 w 444073"/>
                    <a:gd name="connsiteY8" fmla="*/ 417708 h 424765"/>
                    <a:gd name="connsiteX9" fmla="*/ 439263 w 444073"/>
                    <a:gd name="connsiteY9" fmla="*/ 415803 h 424765"/>
                    <a:gd name="connsiteX10" fmla="*/ 435453 w 444073"/>
                    <a:gd name="connsiteY10" fmla="*/ 373893 h 424765"/>
                    <a:gd name="connsiteX11" fmla="*/ 401163 w 444073"/>
                    <a:gd name="connsiteY11" fmla="*/ 297693 h 424765"/>
                    <a:gd name="connsiteX12" fmla="*/ 311628 w 444073"/>
                    <a:gd name="connsiteY12" fmla="*/ 170058 h 424765"/>
                    <a:gd name="connsiteX13" fmla="*/ 225903 w 444073"/>
                    <a:gd name="connsiteY13" fmla="*/ 103383 h 424765"/>
                    <a:gd name="connsiteX14" fmla="*/ 145893 w 444073"/>
                    <a:gd name="connsiteY14" fmla="*/ 38613 h 424765"/>
                    <a:gd name="connsiteX15" fmla="*/ 20163 w 444073"/>
                    <a:gd name="connsiteY15" fmla="*/ 513 h 42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4073" h="424765">
                      <a:moveTo>
                        <a:pt x="20163" y="513"/>
                      </a:moveTo>
                      <a:cubicBezTo>
                        <a:pt x="-2697" y="4958"/>
                        <a:pt x="-5555" y="46233"/>
                        <a:pt x="8733" y="65283"/>
                      </a:cubicBezTo>
                      <a:cubicBezTo>
                        <a:pt x="23021" y="84333"/>
                        <a:pt x="79853" y="100843"/>
                        <a:pt x="105888" y="114813"/>
                      </a:cubicBezTo>
                      <a:cubicBezTo>
                        <a:pt x="131923" y="128783"/>
                        <a:pt x="151608" y="134816"/>
                        <a:pt x="164943" y="149103"/>
                      </a:cubicBezTo>
                      <a:cubicBezTo>
                        <a:pt x="178278" y="163390"/>
                        <a:pt x="172246" y="182758"/>
                        <a:pt x="185898" y="200538"/>
                      </a:cubicBezTo>
                      <a:cubicBezTo>
                        <a:pt x="199550" y="218318"/>
                        <a:pt x="230031" y="244036"/>
                        <a:pt x="246858" y="255783"/>
                      </a:cubicBezTo>
                      <a:cubicBezTo>
                        <a:pt x="263685" y="267530"/>
                        <a:pt x="272258" y="257371"/>
                        <a:pt x="286863" y="271023"/>
                      </a:cubicBezTo>
                      <a:cubicBezTo>
                        <a:pt x="301468" y="284675"/>
                        <a:pt x="319565" y="313250"/>
                        <a:pt x="334488" y="337698"/>
                      </a:cubicBezTo>
                      <a:cubicBezTo>
                        <a:pt x="349411" y="362146"/>
                        <a:pt x="358935" y="404690"/>
                        <a:pt x="376398" y="417708"/>
                      </a:cubicBezTo>
                      <a:cubicBezTo>
                        <a:pt x="393861" y="430726"/>
                        <a:pt x="429420" y="423106"/>
                        <a:pt x="439263" y="415803"/>
                      </a:cubicBezTo>
                      <a:cubicBezTo>
                        <a:pt x="449106" y="408500"/>
                        <a:pt x="441803" y="393578"/>
                        <a:pt x="435453" y="373893"/>
                      </a:cubicBezTo>
                      <a:cubicBezTo>
                        <a:pt x="429103" y="354208"/>
                        <a:pt x="421801" y="331666"/>
                        <a:pt x="401163" y="297693"/>
                      </a:cubicBezTo>
                      <a:cubicBezTo>
                        <a:pt x="380525" y="263720"/>
                        <a:pt x="340838" y="202443"/>
                        <a:pt x="311628" y="170058"/>
                      </a:cubicBezTo>
                      <a:cubicBezTo>
                        <a:pt x="282418" y="137673"/>
                        <a:pt x="253526" y="125291"/>
                        <a:pt x="225903" y="103383"/>
                      </a:cubicBezTo>
                      <a:cubicBezTo>
                        <a:pt x="198280" y="81475"/>
                        <a:pt x="175420" y="55758"/>
                        <a:pt x="145893" y="38613"/>
                      </a:cubicBezTo>
                      <a:cubicBezTo>
                        <a:pt x="116366" y="21468"/>
                        <a:pt x="43023" y="-3932"/>
                        <a:pt x="20163" y="51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06" name="Freeform 50">
                  <a:extLst>
                    <a:ext uri="{FF2B5EF4-FFF2-40B4-BE49-F238E27FC236}">
                      <a16:creationId xmlns:a16="http://schemas.microsoft.com/office/drawing/2014/main" id="{189BB8A5-61CB-426D-A307-375A8CD5D1E1}"/>
                    </a:ext>
                  </a:extLst>
                </p:cNvPr>
                <p:cNvSpPr>
                  <a:spLocks/>
                </p:cNvSpPr>
                <p:nvPr/>
              </p:nvSpPr>
              <p:spPr bwMode="auto">
                <a:xfrm rot="21233883">
                  <a:off x="6267442" y="3392039"/>
                  <a:ext cx="82065" cy="87295"/>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65" name="Group 64">
                <a:extLst>
                  <a:ext uri="{FF2B5EF4-FFF2-40B4-BE49-F238E27FC236}">
                    <a16:creationId xmlns:a16="http://schemas.microsoft.com/office/drawing/2014/main" id="{DA2DCF4F-BE8A-4904-BCA6-0853331CD118}"/>
                  </a:ext>
                </a:extLst>
              </p:cNvPr>
              <p:cNvGrpSpPr/>
              <p:nvPr/>
            </p:nvGrpSpPr>
            <p:grpSpPr>
              <a:xfrm rot="18039707">
                <a:off x="5557011" y="3120557"/>
                <a:ext cx="444073" cy="424765"/>
                <a:chOff x="6062502" y="3249417"/>
                <a:chExt cx="444073" cy="424765"/>
              </a:xfrm>
            </p:grpSpPr>
            <p:sp>
              <p:nvSpPr>
                <p:cNvPr id="203" name="Freeform: Shape 202">
                  <a:extLst>
                    <a:ext uri="{FF2B5EF4-FFF2-40B4-BE49-F238E27FC236}">
                      <a16:creationId xmlns:a16="http://schemas.microsoft.com/office/drawing/2014/main" id="{9CF1B7EC-2330-492C-BCE3-7B6C7B92B4F1}"/>
                    </a:ext>
                  </a:extLst>
                </p:cNvPr>
                <p:cNvSpPr/>
                <p:nvPr/>
              </p:nvSpPr>
              <p:spPr bwMode="auto">
                <a:xfrm>
                  <a:off x="6062502" y="3249417"/>
                  <a:ext cx="444073" cy="424765"/>
                </a:xfrm>
                <a:custGeom>
                  <a:avLst/>
                  <a:gdLst>
                    <a:gd name="connsiteX0" fmla="*/ 20163 w 444073"/>
                    <a:gd name="connsiteY0" fmla="*/ 513 h 424765"/>
                    <a:gd name="connsiteX1" fmla="*/ 8733 w 444073"/>
                    <a:gd name="connsiteY1" fmla="*/ 65283 h 424765"/>
                    <a:gd name="connsiteX2" fmla="*/ 105888 w 444073"/>
                    <a:gd name="connsiteY2" fmla="*/ 114813 h 424765"/>
                    <a:gd name="connsiteX3" fmla="*/ 164943 w 444073"/>
                    <a:gd name="connsiteY3" fmla="*/ 149103 h 424765"/>
                    <a:gd name="connsiteX4" fmla="*/ 185898 w 444073"/>
                    <a:gd name="connsiteY4" fmla="*/ 200538 h 424765"/>
                    <a:gd name="connsiteX5" fmla="*/ 246858 w 444073"/>
                    <a:gd name="connsiteY5" fmla="*/ 255783 h 424765"/>
                    <a:gd name="connsiteX6" fmla="*/ 286863 w 444073"/>
                    <a:gd name="connsiteY6" fmla="*/ 271023 h 424765"/>
                    <a:gd name="connsiteX7" fmla="*/ 334488 w 444073"/>
                    <a:gd name="connsiteY7" fmla="*/ 337698 h 424765"/>
                    <a:gd name="connsiteX8" fmla="*/ 376398 w 444073"/>
                    <a:gd name="connsiteY8" fmla="*/ 417708 h 424765"/>
                    <a:gd name="connsiteX9" fmla="*/ 439263 w 444073"/>
                    <a:gd name="connsiteY9" fmla="*/ 415803 h 424765"/>
                    <a:gd name="connsiteX10" fmla="*/ 435453 w 444073"/>
                    <a:gd name="connsiteY10" fmla="*/ 373893 h 424765"/>
                    <a:gd name="connsiteX11" fmla="*/ 401163 w 444073"/>
                    <a:gd name="connsiteY11" fmla="*/ 297693 h 424765"/>
                    <a:gd name="connsiteX12" fmla="*/ 311628 w 444073"/>
                    <a:gd name="connsiteY12" fmla="*/ 170058 h 424765"/>
                    <a:gd name="connsiteX13" fmla="*/ 225903 w 444073"/>
                    <a:gd name="connsiteY13" fmla="*/ 103383 h 424765"/>
                    <a:gd name="connsiteX14" fmla="*/ 145893 w 444073"/>
                    <a:gd name="connsiteY14" fmla="*/ 38613 h 424765"/>
                    <a:gd name="connsiteX15" fmla="*/ 20163 w 444073"/>
                    <a:gd name="connsiteY15" fmla="*/ 513 h 4247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44073" h="424765">
                      <a:moveTo>
                        <a:pt x="20163" y="513"/>
                      </a:moveTo>
                      <a:cubicBezTo>
                        <a:pt x="-2697" y="4958"/>
                        <a:pt x="-5555" y="46233"/>
                        <a:pt x="8733" y="65283"/>
                      </a:cubicBezTo>
                      <a:cubicBezTo>
                        <a:pt x="23021" y="84333"/>
                        <a:pt x="79853" y="100843"/>
                        <a:pt x="105888" y="114813"/>
                      </a:cubicBezTo>
                      <a:cubicBezTo>
                        <a:pt x="131923" y="128783"/>
                        <a:pt x="151608" y="134816"/>
                        <a:pt x="164943" y="149103"/>
                      </a:cubicBezTo>
                      <a:cubicBezTo>
                        <a:pt x="178278" y="163390"/>
                        <a:pt x="172246" y="182758"/>
                        <a:pt x="185898" y="200538"/>
                      </a:cubicBezTo>
                      <a:cubicBezTo>
                        <a:pt x="199550" y="218318"/>
                        <a:pt x="230031" y="244036"/>
                        <a:pt x="246858" y="255783"/>
                      </a:cubicBezTo>
                      <a:cubicBezTo>
                        <a:pt x="263685" y="267530"/>
                        <a:pt x="272258" y="257371"/>
                        <a:pt x="286863" y="271023"/>
                      </a:cubicBezTo>
                      <a:cubicBezTo>
                        <a:pt x="301468" y="284675"/>
                        <a:pt x="319565" y="313250"/>
                        <a:pt x="334488" y="337698"/>
                      </a:cubicBezTo>
                      <a:cubicBezTo>
                        <a:pt x="349411" y="362146"/>
                        <a:pt x="358935" y="404690"/>
                        <a:pt x="376398" y="417708"/>
                      </a:cubicBezTo>
                      <a:cubicBezTo>
                        <a:pt x="393861" y="430726"/>
                        <a:pt x="429420" y="423106"/>
                        <a:pt x="439263" y="415803"/>
                      </a:cubicBezTo>
                      <a:cubicBezTo>
                        <a:pt x="449106" y="408500"/>
                        <a:pt x="441803" y="393578"/>
                        <a:pt x="435453" y="373893"/>
                      </a:cubicBezTo>
                      <a:cubicBezTo>
                        <a:pt x="429103" y="354208"/>
                        <a:pt x="421801" y="331666"/>
                        <a:pt x="401163" y="297693"/>
                      </a:cubicBezTo>
                      <a:cubicBezTo>
                        <a:pt x="380525" y="263720"/>
                        <a:pt x="340838" y="202443"/>
                        <a:pt x="311628" y="170058"/>
                      </a:cubicBezTo>
                      <a:cubicBezTo>
                        <a:pt x="282418" y="137673"/>
                        <a:pt x="253526" y="125291"/>
                        <a:pt x="225903" y="103383"/>
                      </a:cubicBezTo>
                      <a:cubicBezTo>
                        <a:pt x="198280" y="81475"/>
                        <a:pt x="175420" y="55758"/>
                        <a:pt x="145893" y="38613"/>
                      </a:cubicBezTo>
                      <a:cubicBezTo>
                        <a:pt x="116366" y="21468"/>
                        <a:pt x="43023" y="-3932"/>
                        <a:pt x="20163" y="51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04" name="Freeform 50">
                  <a:extLst>
                    <a:ext uri="{FF2B5EF4-FFF2-40B4-BE49-F238E27FC236}">
                      <a16:creationId xmlns:a16="http://schemas.microsoft.com/office/drawing/2014/main" id="{69EAAAA5-9788-42AD-86FE-46957362EE41}"/>
                    </a:ext>
                  </a:extLst>
                </p:cNvPr>
                <p:cNvSpPr>
                  <a:spLocks/>
                </p:cNvSpPr>
                <p:nvPr/>
              </p:nvSpPr>
              <p:spPr bwMode="auto">
                <a:xfrm rot="21233883">
                  <a:off x="6267442" y="3392039"/>
                  <a:ext cx="82065" cy="87295"/>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sp>
            <p:nvSpPr>
              <p:cNvPr id="66" name="Oval 65">
                <a:extLst>
                  <a:ext uri="{FF2B5EF4-FFF2-40B4-BE49-F238E27FC236}">
                    <a16:creationId xmlns:a16="http://schemas.microsoft.com/office/drawing/2014/main" id="{9DF6ACE2-F133-4E31-AD2B-3F8896F40433}"/>
                  </a:ext>
                </a:extLst>
              </p:cNvPr>
              <p:cNvSpPr/>
              <p:nvPr/>
            </p:nvSpPr>
            <p:spPr bwMode="auto">
              <a:xfrm rot="19190004">
                <a:off x="5576214" y="3524016"/>
                <a:ext cx="232698" cy="176549"/>
              </a:xfrm>
              <a:prstGeom prst="ellipse">
                <a:avLst/>
              </a:prstGeom>
              <a:solidFill>
                <a:srgbClr val="CC3300"/>
              </a:solidFill>
              <a:ln w="12700" cap="flat" cmpd="sng" algn="ctr">
                <a:solidFill>
                  <a:srgbClr val="9933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67" name="Oval 66">
                <a:extLst>
                  <a:ext uri="{FF2B5EF4-FFF2-40B4-BE49-F238E27FC236}">
                    <a16:creationId xmlns:a16="http://schemas.microsoft.com/office/drawing/2014/main" id="{4220A2AA-A457-43A9-BC65-8E554B3C1ED0}"/>
                  </a:ext>
                </a:extLst>
              </p:cNvPr>
              <p:cNvSpPr/>
              <p:nvPr/>
            </p:nvSpPr>
            <p:spPr bwMode="auto">
              <a:xfrm>
                <a:off x="5575030" y="3883693"/>
                <a:ext cx="232698" cy="176549"/>
              </a:xfrm>
              <a:prstGeom prst="ellipse">
                <a:avLst/>
              </a:prstGeom>
              <a:solidFill>
                <a:srgbClr val="CC3300"/>
              </a:solidFill>
              <a:ln w="12700" cap="flat" cmpd="sng" algn="ctr">
                <a:solidFill>
                  <a:srgbClr val="9933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68" name="Oval 67">
                <a:extLst>
                  <a:ext uri="{FF2B5EF4-FFF2-40B4-BE49-F238E27FC236}">
                    <a16:creationId xmlns:a16="http://schemas.microsoft.com/office/drawing/2014/main" id="{71BEAB88-D627-485A-B2E2-417FF7AEBE49}"/>
                  </a:ext>
                </a:extLst>
              </p:cNvPr>
              <p:cNvSpPr/>
              <p:nvPr/>
            </p:nvSpPr>
            <p:spPr bwMode="auto">
              <a:xfrm rot="19146350">
                <a:off x="5914845" y="3635566"/>
                <a:ext cx="232698" cy="176549"/>
              </a:xfrm>
              <a:prstGeom prst="ellipse">
                <a:avLst/>
              </a:prstGeom>
              <a:solidFill>
                <a:srgbClr val="CC3300"/>
              </a:solidFill>
              <a:ln w="12700" cap="flat" cmpd="sng" algn="ctr">
                <a:solidFill>
                  <a:srgbClr val="9933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69" name="Oval 68">
                <a:extLst>
                  <a:ext uri="{FF2B5EF4-FFF2-40B4-BE49-F238E27FC236}">
                    <a16:creationId xmlns:a16="http://schemas.microsoft.com/office/drawing/2014/main" id="{B4D50C79-0ECB-4181-8F4E-965A4422ACBB}"/>
                  </a:ext>
                </a:extLst>
              </p:cNvPr>
              <p:cNvSpPr/>
              <p:nvPr/>
            </p:nvSpPr>
            <p:spPr bwMode="auto">
              <a:xfrm rot="191975">
                <a:off x="5945087" y="3437440"/>
                <a:ext cx="219046" cy="197054"/>
              </a:xfrm>
              <a:prstGeom prst="ellipse">
                <a:avLst/>
              </a:prstGeom>
              <a:solidFill>
                <a:srgbClr val="CC3300"/>
              </a:solidFill>
              <a:ln w="12700" cap="flat" cmpd="sng" algn="ctr">
                <a:solidFill>
                  <a:srgbClr val="9933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70" name="Oval 69">
                <a:extLst>
                  <a:ext uri="{FF2B5EF4-FFF2-40B4-BE49-F238E27FC236}">
                    <a16:creationId xmlns:a16="http://schemas.microsoft.com/office/drawing/2014/main" id="{4A72CD2D-860B-4DE3-99B1-795D966D3444}"/>
                  </a:ext>
                </a:extLst>
              </p:cNvPr>
              <p:cNvSpPr/>
              <p:nvPr/>
            </p:nvSpPr>
            <p:spPr bwMode="auto">
              <a:xfrm rot="191975">
                <a:off x="5921670" y="3999788"/>
                <a:ext cx="210889" cy="197054"/>
              </a:xfrm>
              <a:prstGeom prst="ellipse">
                <a:avLst/>
              </a:prstGeom>
              <a:solidFill>
                <a:srgbClr val="CC3300"/>
              </a:solidFill>
              <a:ln w="12700" cap="flat" cmpd="sng" algn="ctr">
                <a:solidFill>
                  <a:srgbClr val="9933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71" name="Oval 70">
                <a:extLst>
                  <a:ext uri="{FF2B5EF4-FFF2-40B4-BE49-F238E27FC236}">
                    <a16:creationId xmlns:a16="http://schemas.microsoft.com/office/drawing/2014/main" id="{067FD5DC-1EA3-415F-B94A-DD05EB4323D9}"/>
                  </a:ext>
                </a:extLst>
              </p:cNvPr>
              <p:cNvSpPr/>
              <p:nvPr/>
            </p:nvSpPr>
            <p:spPr bwMode="auto">
              <a:xfrm rot="18360347">
                <a:off x="6083537" y="3924079"/>
                <a:ext cx="232698" cy="176549"/>
              </a:xfrm>
              <a:prstGeom prst="ellipse">
                <a:avLst/>
              </a:prstGeom>
              <a:solidFill>
                <a:srgbClr val="CC3300"/>
              </a:solidFill>
              <a:ln w="12700" cap="flat" cmpd="sng" algn="ctr">
                <a:solidFill>
                  <a:srgbClr val="993300"/>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72" name="Freeform: Shape 71">
                <a:extLst>
                  <a:ext uri="{FF2B5EF4-FFF2-40B4-BE49-F238E27FC236}">
                    <a16:creationId xmlns:a16="http://schemas.microsoft.com/office/drawing/2014/main" id="{ADC36CAA-1855-49F2-AC77-BC43F122AB28}"/>
                  </a:ext>
                </a:extLst>
              </p:cNvPr>
              <p:cNvSpPr/>
              <p:nvPr/>
            </p:nvSpPr>
            <p:spPr bwMode="auto">
              <a:xfrm>
                <a:off x="5615940" y="3535680"/>
                <a:ext cx="93345" cy="93345"/>
              </a:xfrm>
              <a:custGeom>
                <a:avLst/>
                <a:gdLst>
                  <a:gd name="connsiteX0" fmla="*/ 93345 w 93345"/>
                  <a:gd name="connsiteY0" fmla="*/ 0 h 93345"/>
                  <a:gd name="connsiteX1" fmla="*/ 38100 w 93345"/>
                  <a:gd name="connsiteY1" fmla="*/ 32385 h 93345"/>
                  <a:gd name="connsiteX2" fmla="*/ 0 w 93345"/>
                  <a:gd name="connsiteY2" fmla="*/ 93345 h 93345"/>
                  <a:gd name="connsiteX0" fmla="*/ 93345 w 93345"/>
                  <a:gd name="connsiteY0" fmla="*/ 0 h 93345"/>
                  <a:gd name="connsiteX1" fmla="*/ 38100 w 93345"/>
                  <a:gd name="connsiteY1" fmla="*/ 32385 h 93345"/>
                  <a:gd name="connsiteX2" fmla="*/ 0 w 93345"/>
                  <a:gd name="connsiteY2" fmla="*/ 93345 h 93345"/>
                </a:gdLst>
                <a:ahLst/>
                <a:cxnLst>
                  <a:cxn ang="0">
                    <a:pos x="connsiteX0" y="connsiteY0"/>
                  </a:cxn>
                  <a:cxn ang="0">
                    <a:pos x="connsiteX1" y="connsiteY1"/>
                  </a:cxn>
                  <a:cxn ang="0">
                    <a:pos x="connsiteX2" y="connsiteY2"/>
                  </a:cxn>
                </a:cxnLst>
                <a:rect l="l" t="t" r="r" b="b"/>
                <a:pathLst>
                  <a:path w="93345" h="93345">
                    <a:moveTo>
                      <a:pt x="93345" y="0"/>
                    </a:moveTo>
                    <a:cubicBezTo>
                      <a:pt x="73501" y="8414"/>
                      <a:pt x="53657" y="16828"/>
                      <a:pt x="38100" y="32385"/>
                    </a:cubicBezTo>
                    <a:cubicBezTo>
                      <a:pt x="22543" y="47942"/>
                      <a:pt x="11271" y="70643"/>
                      <a:pt x="0" y="93345"/>
                    </a:cubicBezTo>
                  </a:path>
                </a:pathLst>
              </a:custGeom>
              <a:noFill/>
              <a:ln w="12700" cap="flat" cmpd="sng" algn="ctr">
                <a:solidFill>
                  <a:srgbClr val="EAEAEA"/>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73" name="Freeform: Shape 72">
                <a:extLst>
                  <a:ext uri="{FF2B5EF4-FFF2-40B4-BE49-F238E27FC236}">
                    <a16:creationId xmlns:a16="http://schemas.microsoft.com/office/drawing/2014/main" id="{FCBBA43C-8538-4732-8303-4DEAC81447F8}"/>
                  </a:ext>
                </a:extLst>
              </p:cNvPr>
              <p:cNvSpPr/>
              <p:nvPr/>
            </p:nvSpPr>
            <p:spPr bwMode="auto">
              <a:xfrm rot="161900">
                <a:off x="5977579" y="3453545"/>
                <a:ext cx="69247" cy="73978"/>
              </a:xfrm>
              <a:custGeom>
                <a:avLst/>
                <a:gdLst>
                  <a:gd name="connsiteX0" fmla="*/ 93345 w 93345"/>
                  <a:gd name="connsiteY0" fmla="*/ 0 h 93345"/>
                  <a:gd name="connsiteX1" fmla="*/ 38100 w 93345"/>
                  <a:gd name="connsiteY1" fmla="*/ 32385 h 93345"/>
                  <a:gd name="connsiteX2" fmla="*/ 0 w 93345"/>
                  <a:gd name="connsiteY2" fmla="*/ 93345 h 93345"/>
                  <a:gd name="connsiteX0" fmla="*/ 93345 w 93345"/>
                  <a:gd name="connsiteY0" fmla="*/ 0 h 93345"/>
                  <a:gd name="connsiteX1" fmla="*/ 38100 w 93345"/>
                  <a:gd name="connsiteY1" fmla="*/ 32385 h 93345"/>
                  <a:gd name="connsiteX2" fmla="*/ 0 w 93345"/>
                  <a:gd name="connsiteY2" fmla="*/ 93345 h 93345"/>
                </a:gdLst>
                <a:ahLst/>
                <a:cxnLst>
                  <a:cxn ang="0">
                    <a:pos x="connsiteX0" y="connsiteY0"/>
                  </a:cxn>
                  <a:cxn ang="0">
                    <a:pos x="connsiteX1" y="connsiteY1"/>
                  </a:cxn>
                  <a:cxn ang="0">
                    <a:pos x="connsiteX2" y="connsiteY2"/>
                  </a:cxn>
                </a:cxnLst>
                <a:rect l="l" t="t" r="r" b="b"/>
                <a:pathLst>
                  <a:path w="93345" h="93345">
                    <a:moveTo>
                      <a:pt x="93345" y="0"/>
                    </a:moveTo>
                    <a:cubicBezTo>
                      <a:pt x="73501" y="8414"/>
                      <a:pt x="53657" y="16828"/>
                      <a:pt x="38100" y="32385"/>
                    </a:cubicBezTo>
                    <a:cubicBezTo>
                      <a:pt x="22543" y="47942"/>
                      <a:pt x="11271" y="70643"/>
                      <a:pt x="0" y="93345"/>
                    </a:cubicBezTo>
                  </a:path>
                </a:pathLst>
              </a:custGeom>
              <a:noFill/>
              <a:ln w="12700" cap="flat" cmpd="sng" algn="ctr">
                <a:solidFill>
                  <a:srgbClr val="EAEAEA"/>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74" name="Freeform: Shape 73">
                <a:extLst>
                  <a:ext uri="{FF2B5EF4-FFF2-40B4-BE49-F238E27FC236}">
                    <a16:creationId xmlns:a16="http://schemas.microsoft.com/office/drawing/2014/main" id="{D4D4ECE5-8755-4E83-9DE9-DF2E21756ACB}"/>
                  </a:ext>
                </a:extLst>
              </p:cNvPr>
              <p:cNvSpPr/>
              <p:nvPr/>
            </p:nvSpPr>
            <p:spPr bwMode="auto">
              <a:xfrm rot="5612462">
                <a:off x="6063622" y="3653774"/>
                <a:ext cx="61091" cy="45719"/>
              </a:xfrm>
              <a:custGeom>
                <a:avLst/>
                <a:gdLst>
                  <a:gd name="connsiteX0" fmla="*/ 93345 w 93345"/>
                  <a:gd name="connsiteY0" fmla="*/ 0 h 93345"/>
                  <a:gd name="connsiteX1" fmla="*/ 38100 w 93345"/>
                  <a:gd name="connsiteY1" fmla="*/ 32385 h 93345"/>
                  <a:gd name="connsiteX2" fmla="*/ 0 w 93345"/>
                  <a:gd name="connsiteY2" fmla="*/ 93345 h 93345"/>
                  <a:gd name="connsiteX0" fmla="*/ 93345 w 93345"/>
                  <a:gd name="connsiteY0" fmla="*/ 0 h 93345"/>
                  <a:gd name="connsiteX1" fmla="*/ 38100 w 93345"/>
                  <a:gd name="connsiteY1" fmla="*/ 32385 h 93345"/>
                  <a:gd name="connsiteX2" fmla="*/ 0 w 93345"/>
                  <a:gd name="connsiteY2" fmla="*/ 93345 h 93345"/>
                </a:gdLst>
                <a:ahLst/>
                <a:cxnLst>
                  <a:cxn ang="0">
                    <a:pos x="connsiteX0" y="connsiteY0"/>
                  </a:cxn>
                  <a:cxn ang="0">
                    <a:pos x="connsiteX1" y="connsiteY1"/>
                  </a:cxn>
                  <a:cxn ang="0">
                    <a:pos x="connsiteX2" y="connsiteY2"/>
                  </a:cxn>
                </a:cxnLst>
                <a:rect l="l" t="t" r="r" b="b"/>
                <a:pathLst>
                  <a:path w="93345" h="93345">
                    <a:moveTo>
                      <a:pt x="93345" y="0"/>
                    </a:moveTo>
                    <a:cubicBezTo>
                      <a:pt x="73501" y="8414"/>
                      <a:pt x="53657" y="16828"/>
                      <a:pt x="38100" y="32385"/>
                    </a:cubicBezTo>
                    <a:cubicBezTo>
                      <a:pt x="22543" y="47942"/>
                      <a:pt x="11271" y="70643"/>
                      <a:pt x="0" y="93345"/>
                    </a:cubicBezTo>
                  </a:path>
                </a:pathLst>
              </a:custGeom>
              <a:noFill/>
              <a:ln w="12700" cap="flat" cmpd="sng" algn="ctr">
                <a:solidFill>
                  <a:srgbClr val="EAEAEA"/>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75" name="Freeform: Shape 74">
                <a:extLst>
                  <a:ext uri="{FF2B5EF4-FFF2-40B4-BE49-F238E27FC236}">
                    <a16:creationId xmlns:a16="http://schemas.microsoft.com/office/drawing/2014/main" id="{85237499-9595-4B95-98FE-EDCF3FE11BF1}"/>
                  </a:ext>
                </a:extLst>
              </p:cNvPr>
              <p:cNvSpPr/>
              <p:nvPr/>
            </p:nvSpPr>
            <p:spPr bwMode="auto">
              <a:xfrm rot="11793601">
                <a:off x="5684737" y="3952132"/>
                <a:ext cx="93345" cy="93345"/>
              </a:xfrm>
              <a:custGeom>
                <a:avLst/>
                <a:gdLst>
                  <a:gd name="connsiteX0" fmla="*/ 93345 w 93345"/>
                  <a:gd name="connsiteY0" fmla="*/ 0 h 93345"/>
                  <a:gd name="connsiteX1" fmla="*/ 38100 w 93345"/>
                  <a:gd name="connsiteY1" fmla="*/ 32385 h 93345"/>
                  <a:gd name="connsiteX2" fmla="*/ 0 w 93345"/>
                  <a:gd name="connsiteY2" fmla="*/ 93345 h 93345"/>
                  <a:gd name="connsiteX0" fmla="*/ 93345 w 93345"/>
                  <a:gd name="connsiteY0" fmla="*/ 0 h 93345"/>
                  <a:gd name="connsiteX1" fmla="*/ 38100 w 93345"/>
                  <a:gd name="connsiteY1" fmla="*/ 32385 h 93345"/>
                  <a:gd name="connsiteX2" fmla="*/ 0 w 93345"/>
                  <a:gd name="connsiteY2" fmla="*/ 93345 h 93345"/>
                </a:gdLst>
                <a:ahLst/>
                <a:cxnLst>
                  <a:cxn ang="0">
                    <a:pos x="connsiteX0" y="connsiteY0"/>
                  </a:cxn>
                  <a:cxn ang="0">
                    <a:pos x="connsiteX1" y="connsiteY1"/>
                  </a:cxn>
                  <a:cxn ang="0">
                    <a:pos x="connsiteX2" y="connsiteY2"/>
                  </a:cxn>
                </a:cxnLst>
                <a:rect l="l" t="t" r="r" b="b"/>
                <a:pathLst>
                  <a:path w="93345" h="93345">
                    <a:moveTo>
                      <a:pt x="93345" y="0"/>
                    </a:moveTo>
                    <a:cubicBezTo>
                      <a:pt x="73501" y="8414"/>
                      <a:pt x="53657" y="16828"/>
                      <a:pt x="38100" y="32385"/>
                    </a:cubicBezTo>
                    <a:cubicBezTo>
                      <a:pt x="22543" y="47942"/>
                      <a:pt x="11271" y="70643"/>
                      <a:pt x="0" y="93345"/>
                    </a:cubicBezTo>
                  </a:path>
                </a:pathLst>
              </a:custGeom>
              <a:noFill/>
              <a:ln w="12700" cap="flat" cmpd="sng" algn="ctr">
                <a:solidFill>
                  <a:srgbClr val="EAEAEA"/>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76" name="Freeform: Shape 75">
                <a:extLst>
                  <a:ext uri="{FF2B5EF4-FFF2-40B4-BE49-F238E27FC236}">
                    <a16:creationId xmlns:a16="http://schemas.microsoft.com/office/drawing/2014/main" id="{EF768BE2-7A5E-4E3D-B86B-C815324CE35B}"/>
                  </a:ext>
                </a:extLst>
              </p:cNvPr>
              <p:cNvSpPr/>
              <p:nvPr/>
            </p:nvSpPr>
            <p:spPr bwMode="auto">
              <a:xfrm>
                <a:off x="5956212" y="4019933"/>
                <a:ext cx="76342" cy="47925"/>
              </a:xfrm>
              <a:custGeom>
                <a:avLst/>
                <a:gdLst>
                  <a:gd name="connsiteX0" fmla="*/ 93345 w 93345"/>
                  <a:gd name="connsiteY0" fmla="*/ 0 h 93345"/>
                  <a:gd name="connsiteX1" fmla="*/ 38100 w 93345"/>
                  <a:gd name="connsiteY1" fmla="*/ 32385 h 93345"/>
                  <a:gd name="connsiteX2" fmla="*/ 0 w 93345"/>
                  <a:gd name="connsiteY2" fmla="*/ 93345 h 93345"/>
                  <a:gd name="connsiteX0" fmla="*/ 93345 w 93345"/>
                  <a:gd name="connsiteY0" fmla="*/ 0 h 93345"/>
                  <a:gd name="connsiteX1" fmla="*/ 38100 w 93345"/>
                  <a:gd name="connsiteY1" fmla="*/ 32385 h 93345"/>
                  <a:gd name="connsiteX2" fmla="*/ 0 w 93345"/>
                  <a:gd name="connsiteY2" fmla="*/ 93345 h 93345"/>
                </a:gdLst>
                <a:ahLst/>
                <a:cxnLst>
                  <a:cxn ang="0">
                    <a:pos x="connsiteX0" y="connsiteY0"/>
                  </a:cxn>
                  <a:cxn ang="0">
                    <a:pos x="connsiteX1" y="connsiteY1"/>
                  </a:cxn>
                  <a:cxn ang="0">
                    <a:pos x="connsiteX2" y="connsiteY2"/>
                  </a:cxn>
                </a:cxnLst>
                <a:rect l="l" t="t" r="r" b="b"/>
                <a:pathLst>
                  <a:path w="93345" h="93345">
                    <a:moveTo>
                      <a:pt x="93345" y="0"/>
                    </a:moveTo>
                    <a:cubicBezTo>
                      <a:pt x="73501" y="8414"/>
                      <a:pt x="53657" y="16828"/>
                      <a:pt x="38100" y="32385"/>
                    </a:cubicBezTo>
                    <a:cubicBezTo>
                      <a:pt x="22543" y="47942"/>
                      <a:pt x="11271" y="70643"/>
                      <a:pt x="0" y="93345"/>
                    </a:cubicBezTo>
                  </a:path>
                </a:pathLst>
              </a:custGeom>
              <a:noFill/>
              <a:ln w="12700" cap="flat" cmpd="sng" algn="ctr">
                <a:solidFill>
                  <a:srgbClr val="EAEAEA"/>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77" name="Freeform: Shape 76">
                <a:extLst>
                  <a:ext uri="{FF2B5EF4-FFF2-40B4-BE49-F238E27FC236}">
                    <a16:creationId xmlns:a16="http://schemas.microsoft.com/office/drawing/2014/main" id="{929791A6-3580-445F-93F5-F73DC25C7A5E}"/>
                  </a:ext>
                </a:extLst>
              </p:cNvPr>
              <p:cNvSpPr/>
              <p:nvPr/>
            </p:nvSpPr>
            <p:spPr bwMode="auto">
              <a:xfrm rot="11098541">
                <a:off x="6176784" y="4001944"/>
                <a:ext cx="93345" cy="93345"/>
              </a:xfrm>
              <a:custGeom>
                <a:avLst/>
                <a:gdLst>
                  <a:gd name="connsiteX0" fmla="*/ 93345 w 93345"/>
                  <a:gd name="connsiteY0" fmla="*/ 0 h 93345"/>
                  <a:gd name="connsiteX1" fmla="*/ 38100 w 93345"/>
                  <a:gd name="connsiteY1" fmla="*/ 32385 h 93345"/>
                  <a:gd name="connsiteX2" fmla="*/ 0 w 93345"/>
                  <a:gd name="connsiteY2" fmla="*/ 93345 h 93345"/>
                  <a:gd name="connsiteX0" fmla="*/ 93345 w 93345"/>
                  <a:gd name="connsiteY0" fmla="*/ 0 h 93345"/>
                  <a:gd name="connsiteX1" fmla="*/ 38100 w 93345"/>
                  <a:gd name="connsiteY1" fmla="*/ 32385 h 93345"/>
                  <a:gd name="connsiteX2" fmla="*/ 0 w 93345"/>
                  <a:gd name="connsiteY2" fmla="*/ 93345 h 93345"/>
                </a:gdLst>
                <a:ahLst/>
                <a:cxnLst>
                  <a:cxn ang="0">
                    <a:pos x="connsiteX0" y="connsiteY0"/>
                  </a:cxn>
                  <a:cxn ang="0">
                    <a:pos x="connsiteX1" y="connsiteY1"/>
                  </a:cxn>
                  <a:cxn ang="0">
                    <a:pos x="connsiteX2" y="connsiteY2"/>
                  </a:cxn>
                </a:cxnLst>
                <a:rect l="l" t="t" r="r" b="b"/>
                <a:pathLst>
                  <a:path w="93345" h="93345">
                    <a:moveTo>
                      <a:pt x="93345" y="0"/>
                    </a:moveTo>
                    <a:cubicBezTo>
                      <a:pt x="73501" y="8414"/>
                      <a:pt x="53657" y="16828"/>
                      <a:pt x="38100" y="32385"/>
                    </a:cubicBezTo>
                    <a:cubicBezTo>
                      <a:pt x="22543" y="47942"/>
                      <a:pt x="11271" y="70643"/>
                      <a:pt x="0" y="93345"/>
                    </a:cubicBezTo>
                  </a:path>
                </a:pathLst>
              </a:custGeom>
              <a:noFill/>
              <a:ln w="12700" cap="flat" cmpd="sng" algn="ctr">
                <a:solidFill>
                  <a:srgbClr val="EAEAEA"/>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lvl="0" indent="0" algn="l"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777777"/>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grpSp>
            <p:nvGrpSpPr>
              <p:cNvPr id="78" name="Group 77">
                <a:extLst>
                  <a:ext uri="{FF2B5EF4-FFF2-40B4-BE49-F238E27FC236}">
                    <a16:creationId xmlns:a16="http://schemas.microsoft.com/office/drawing/2014/main" id="{402BABB2-45D8-448A-BB4B-5AEB0D56839D}"/>
                  </a:ext>
                </a:extLst>
              </p:cNvPr>
              <p:cNvGrpSpPr/>
              <p:nvPr/>
            </p:nvGrpSpPr>
            <p:grpSpPr>
              <a:xfrm>
                <a:off x="4528844" y="3062504"/>
                <a:ext cx="263793" cy="270889"/>
                <a:chOff x="4532530" y="3060827"/>
                <a:chExt cx="263793" cy="270889"/>
              </a:xfrm>
            </p:grpSpPr>
            <p:sp>
              <p:nvSpPr>
                <p:cNvPr id="196" name="Oval 195">
                  <a:extLst>
                    <a:ext uri="{FF2B5EF4-FFF2-40B4-BE49-F238E27FC236}">
                      <a16:creationId xmlns:a16="http://schemas.microsoft.com/office/drawing/2014/main" id="{501450F8-232F-4CAC-9430-BA9B25962002}"/>
                    </a:ext>
                  </a:extLst>
                </p:cNvPr>
                <p:cNvSpPr/>
                <p:nvPr/>
              </p:nvSpPr>
              <p:spPr bwMode="auto">
                <a:xfrm>
                  <a:off x="4537689" y="3064634"/>
                  <a:ext cx="258634" cy="244078"/>
                </a:xfrm>
                <a:prstGeom prst="ellipse">
                  <a:avLst/>
                </a:prstGeom>
                <a:solidFill>
                  <a:srgbClr val="CC33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97" name="Freeform: Shape 196">
                  <a:extLst>
                    <a:ext uri="{FF2B5EF4-FFF2-40B4-BE49-F238E27FC236}">
                      <a16:creationId xmlns:a16="http://schemas.microsoft.com/office/drawing/2014/main" id="{84927258-DA40-4EE8-9D7F-73D3AE5AEE07}"/>
                    </a:ext>
                  </a:extLst>
                </p:cNvPr>
                <p:cNvSpPr/>
                <p:nvPr/>
              </p:nvSpPr>
              <p:spPr bwMode="auto">
                <a:xfrm>
                  <a:off x="4608832" y="3060827"/>
                  <a:ext cx="184433" cy="158834"/>
                </a:xfrm>
                <a:custGeom>
                  <a:avLst/>
                  <a:gdLst>
                    <a:gd name="connsiteX0" fmla="*/ 521 w 177971"/>
                    <a:gd name="connsiteY0" fmla="*/ 10033 h 158834"/>
                    <a:gd name="connsiteX1" fmla="*/ 74816 w 177971"/>
                    <a:gd name="connsiteY1" fmla="*/ 508 h 158834"/>
                    <a:gd name="connsiteX2" fmla="*/ 126251 w 177971"/>
                    <a:gd name="connsiteY2" fmla="*/ 23368 h 158834"/>
                    <a:gd name="connsiteX3" fmla="*/ 160541 w 177971"/>
                    <a:gd name="connsiteY3" fmla="*/ 69088 h 158834"/>
                    <a:gd name="connsiteX4" fmla="*/ 171971 w 177971"/>
                    <a:gd name="connsiteY4" fmla="*/ 107188 h 158834"/>
                    <a:gd name="connsiteX5" fmla="*/ 175781 w 177971"/>
                    <a:gd name="connsiteY5" fmla="*/ 156718 h 158834"/>
                    <a:gd name="connsiteX6" fmla="*/ 137681 w 177971"/>
                    <a:gd name="connsiteY6" fmla="*/ 143383 h 158834"/>
                    <a:gd name="connsiteX7" fmla="*/ 133871 w 177971"/>
                    <a:gd name="connsiteY7" fmla="*/ 86233 h 158834"/>
                    <a:gd name="connsiteX8" fmla="*/ 111011 w 177971"/>
                    <a:gd name="connsiteY8" fmla="*/ 67183 h 158834"/>
                    <a:gd name="connsiteX9" fmla="*/ 82436 w 177971"/>
                    <a:gd name="connsiteY9" fmla="*/ 44323 h 158834"/>
                    <a:gd name="connsiteX10" fmla="*/ 71006 w 177971"/>
                    <a:gd name="connsiteY10" fmla="*/ 36703 h 158834"/>
                    <a:gd name="connsiteX11" fmla="*/ 42431 w 177971"/>
                    <a:gd name="connsiteY11" fmla="*/ 38608 h 158834"/>
                    <a:gd name="connsiteX12" fmla="*/ 521 w 177971"/>
                    <a:gd name="connsiteY12" fmla="*/ 10033 h 15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971" h="158834">
                      <a:moveTo>
                        <a:pt x="521" y="10033"/>
                      </a:moveTo>
                      <a:cubicBezTo>
                        <a:pt x="5918" y="3683"/>
                        <a:pt x="53861" y="-1714"/>
                        <a:pt x="74816" y="508"/>
                      </a:cubicBezTo>
                      <a:cubicBezTo>
                        <a:pt x="95771" y="2730"/>
                        <a:pt x="111963" y="11938"/>
                        <a:pt x="126251" y="23368"/>
                      </a:cubicBezTo>
                      <a:cubicBezTo>
                        <a:pt x="140539" y="34798"/>
                        <a:pt x="152921" y="55118"/>
                        <a:pt x="160541" y="69088"/>
                      </a:cubicBezTo>
                      <a:cubicBezTo>
                        <a:pt x="168161" y="83058"/>
                        <a:pt x="169431" y="92583"/>
                        <a:pt x="171971" y="107188"/>
                      </a:cubicBezTo>
                      <a:cubicBezTo>
                        <a:pt x="174511" y="121793"/>
                        <a:pt x="181496" y="150685"/>
                        <a:pt x="175781" y="156718"/>
                      </a:cubicBezTo>
                      <a:cubicBezTo>
                        <a:pt x="170066" y="162751"/>
                        <a:pt x="144666" y="155130"/>
                        <a:pt x="137681" y="143383"/>
                      </a:cubicBezTo>
                      <a:cubicBezTo>
                        <a:pt x="130696" y="131636"/>
                        <a:pt x="138316" y="98933"/>
                        <a:pt x="133871" y="86233"/>
                      </a:cubicBezTo>
                      <a:cubicBezTo>
                        <a:pt x="129426" y="73533"/>
                        <a:pt x="119583" y="74168"/>
                        <a:pt x="111011" y="67183"/>
                      </a:cubicBezTo>
                      <a:cubicBezTo>
                        <a:pt x="102439" y="60198"/>
                        <a:pt x="89103" y="49403"/>
                        <a:pt x="82436" y="44323"/>
                      </a:cubicBezTo>
                      <a:cubicBezTo>
                        <a:pt x="75769" y="39243"/>
                        <a:pt x="77674" y="37656"/>
                        <a:pt x="71006" y="36703"/>
                      </a:cubicBezTo>
                      <a:cubicBezTo>
                        <a:pt x="64339" y="35751"/>
                        <a:pt x="51638" y="37338"/>
                        <a:pt x="42431" y="38608"/>
                      </a:cubicBezTo>
                      <a:cubicBezTo>
                        <a:pt x="33224" y="39878"/>
                        <a:pt x="-4876" y="16383"/>
                        <a:pt x="521" y="1003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98" name="Freeform: Shape 197">
                  <a:extLst>
                    <a:ext uri="{FF2B5EF4-FFF2-40B4-BE49-F238E27FC236}">
                      <a16:creationId xmlns:a16="http://schemas.microsoft.com/office/drawing/2014/main" id="{C867F363-859B-4FB9-9D82-48DE83E756AD}"/>
                    </a:ext>
                  </a:extLst>
                </p:cNvPr>
                <p:cNvSpPr/>
                <p:nvPr/>
              </p:nvSpPr>
              <p:spPr bwMode="auto">
                <a:xfrm rot="7525021">
                  <a:off x="4586895" y="3160083"/>
                  <a:ext cx="184433" cy="158834"/>
                </a:xfrm>
                <a:custGeom>
                  <a:avLst/>
                  <a:gdLst>
                    <a:gd name="connsiteX0" fmla="*/ 521 w 177971"/>
                    <a:gd name="connsiteY0" fmla="*/ 10033 h 158834"/>
                    <a:gd name="connsiteX1" fmla="*/ 74816 w 177971"/>
                    <a:gd name="connsiteY1" fmla="*/ 508 h 158834"/>
                    <a:gd name="connsiteX2" fmla="*/ 126251 w 177971"/>
                    <a:gd name="connsiteY2" fmla="*/ 23368 h 158834"/>
                    <a:gd name="connsiteX3" fmla="*/ 160541 w 177971"/>
                    <a:gd name="connsiteY3" fmla="*/ 69088 h 158834"/>
                    <a:gd name="connsiteX4" fmla="*/ 171971 w 177971"/>
                    <a:gd name="connsiteY4" fmla="*/ 107188 h 158834"/>
                    <a:gd name="connsiteX5" fmla="*/ 175781 w 177971"/>
                    <a:gd name="connsiteY5" fmla="*/ 156718 h 158834"/>
                    <a:gd name="connsiteX6" fmla="*/ 137681 w 177971"/>
                    <a:gd name="connsiteY6" fmla="*/ 143383 h 158834"/>
                    <a:gd name="connsiteX7" fmla="*/ 133871 w 177971"/>
                    <a:gd name="connsiteY7" fmla="*/ 86233 h 158834"/>
                    <a:gd name="connsiteX8" fmla="*/ 111011 w 177971"/>
                    <a:gd name="connsiteY8" fmla="*/ 67183 h 158834"/>
                    <a:gd name="connsiteX9" fmla="*/ 82436 w 177971"/>
                    <a:gd name="connsiteY9" fmla="*/ 44323 h 158834"/>
                    <a:gd name="connsiteX10" fmla="*/ 71006 w 177971"/>
                    <a:gd name="connsiteY10" fmla="*/ 36703 h 158834"/>
                    <a:gd name="connsiteX11" fmla="*/ 42431 w 177971"/>
                    <a:gd name="connsiteY11" fmla="*/ 38608 h 158834"/>
                    <a:gd name="connsiteX12" fmla="*/ 521 w 177971"/>
                    <a:gd name="connsiteY12" fmla="*/ 10033 h 15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971" h="158834">
                      <a:moveTo>
                        <a:pt x="521" y="10033"/>
                      </a:moveTo>
                      <a:cubicBezTo>
                        <a:pt x="5918" y="3683"/>
                        <a:pt x="53861" y="-1714"/>
                        <a:pt x="74816" y="508"/>
                      </a:cubicBezTo>
                      <a:cubicBezTo>
                        <a:pt x="95771" y="2730"/>
                        <a:pt x="111963" y="11938"/>
                        <a:pt x="126251" y="23368"/>
                      </a:cubicBezTo>
                      <a:cubicBezTo>
                        <a:pt x="140539" y="34798"/>
                        <a:pt x="152921" y="55118"/>
                        <a:pt x="160541" y="69088"/>
                      </a:cubicBezTo>
                      <a:cubicBezTo>
                        <a:pt x="168161" y="83058"/>
                        <a:pt x="169431" y="92583"/>
                        <a:pt x="171971" y="107188"/>
                      </a:cubicBezTo>
                      <a:cubicBezTo>
                        <a:pt x="174511" y="121793"/>
                        <a:pt x="181496" y="150685"/>
                        <a:pt x="175781" y="156718"/>
                      </a:cubicBezTo>
                      <a:cubicBezTo>
                        <a:pt x="170066" y="162751"/>
                        <a:pt x="144666" y="155130"/>
                        <a:pt x="137681" y="143383"/>
                      </a:cubicBezTo>
                      <a:cubicBezTo>
                        <a:pt x="130696" y="131636"/>
                        <a:pt x="138316" y="98933"/>
                        <a:pt x="133871" y="86233"/>
                      </a:cubicBezTo>
                      <a:cubicBezTo>
                        <a:pt x="129426" y="73533"/>
                        <a:pt x="119583" y="74168"/>
                        <a:pt x="111011" y="67183"/>
                      </a:cubicBezTo>
                      <a:cubicBezTo>
                        <a:pt x="102439" y="60198"/>
                        <a:pt x="89103" y="49403"/>
                        <a:pt x="82436" y="44323"/>
                      </a:cubicBezTo>
                      <a:cubicBezTo>
                        <a:pt x="75769" y="39243"/>
                        <a:pt x="77674" y="37656"/>
                        <a:pt x="71006" y="36703"/>
                      </a:cubicBezTo>
                      <a:cubicBezTo>
                        <a:pt x="64339" y="35751"/>
                        <a:pt x="51638" y="37338"/>
                        <a:pt x="42431" y="38608"/>
                      </a:cubicBezTo>
                      <a:cubicBezTo>
                        <a:pt x="33224" y="39878"/>
                        <a:pt x="-4876" y="16383"/>
                        <a:pt x="521" y="1003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99" name="Freeform: Shape 198">
                  <a:extLst>
                    <a:ext uri="{FF2B5EF4-FFF2-40B4-BE49-F238E27FC236}">
                      <a16:creationId xmlns:a16="http://schemas.microsoft.com/office/drawing/2014/main" id="{6C12B0E3-F122-4E33-B2A7-35EAA49F855A}"/>
                    </a:ext>
                  </a:extLst>
                </p:cNvPr>
                <p:cNvSpPr/>
                <p:nvPr/>
              </p:nvSpPr>
              <p:spPr bwMode="auto">
                <a:xfrm rot="14994962">
                  <a:off x="4524296" y="3087063"/>
                  <a:ext cx="175302" cy="158834"/>
                </a:xfrm>
                <a:custGeom>
                  <a:avLst/>
                  <a:gdLst>
                    <a:gd name="connsiteX0" fmla="*/ 521 w 177971"/>
                    <a:gd name="connsiteY0" fmla="*/ 10033 h 158834"/>
                    <a:gd name="connsiteX1" fmla="*/ 74816 w 177971"/>
                    <a:gd name="connsiteY1" fmla="*/ 508 h 158834"/>
                    <a:gd name="connsiteX2" fmla="*/ 126251 w 177971"/>
                    <a:gd name="connsiteY2" fmla="*/ 23368 h 158834"/>
                    <a:gd name="connsiteX3" fmla="*/ 160541 w 177971"/>
                    <a:gd name="connsiteY3" fmla="*/ 69088 h 158834"/>
                    <a:gd name="connsiteX4" fmla="*/ 171971 w 177971"/>
                    <a:gd name="connsiteY4" fmla="*/ 107188 h 158834"/>
                    <a:gd name="connsiteX5" fmla="*/ 175781 w 177971"/>
                    <a:gd name="connsiteY5" fmla="*/ 156718 h 158834"/>
                    <a:gd name="connsiteX6" fmla="*/ 137681 w 177971"/>
                    <a:gd name="connsiteY6" fmla="*/ 143383 h 158834"/>
                    <a:gd name="connsiteX7" fmla="*/ 133871 w 177971"/>
                    <a:gd name="connsiteY7" fmla="*/ 86233 h 158834"/>
                    <a:gd name="connsiteX8" fmla="*/ 111011 w 177971"/>
                    <a:gd name="connsiteY8" fmla="*/ 67183 h 158834"/>
                    <a:gd name="connsiteX9" fmla="*/ 82436 w 177971"/>
                    <a:gd name="connsiteY9" fmla="*/ 44323 h 158834"/>
                    <a:gd name="connsiteX10" fmla="*/ 71006 w 177971"/>
                    <a:gd name="connsiteY10" fmla="*/ 36703 h 158834"/>
                    <a:gd name="connsiteX11" fmla="*/ 42431 w 177971"/>
                    <a:gd name="connsiteY11" fmla="*/ 38608 h 158834"/>
                    <a:gd name="connsiteX12" fmla="*/ 521 w 177971"/>
                    <a:gd name="connsiteY12" fmla="*/ 10033 h 15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971" h="158834">
                      <a:moveTo>
                        <a:pt x="521" y="10033"/>
                      </a:moveTo>
                      <a:cubicBezTo>
                        <a:pt x="5918" y="3683"/>
                        <a:pt x="53861" y="-1714"/>
                        <a:pt x="74816" y="508"/>
                      </a:cubicBezTo>
                      <a:cubicBezTo>
                        <a:pt x="95771" y="2730"/>
                        <a:pt x="111963" y="11938"/>
                        <a:pt x="126251" y="23368"/>
                      </a:cubicBezTo>
                      <a:cubicBezTo>
                        <a:pt x="140539" y="34798"/>
                        <a:pt x="152921" y="55118"/>
                        <a:pt x="160541" y="69088"/>
                      </a:cubicBezTo>
                      <a:cubicBezTo>
                        <a:pt x="168161" y="83058"/>
                        <a:pt x="169431" y="92583"/>
                        <a:pt x="171971" y="107188"/>
                      </a:cubicBezTo>
                      <a:cubicBezTo>
                        <a:pt x="174511" y="121793"/>
                        <a:pt x="181496" y="150685"/>
                        <a:pt x="175781" y="156718"/>
                      </a:cubicBezTo>
                      <a:cubicBezTo>
                        <a:pt x="170066" y="162751"/>
                        <a:pt x="144666" y="155130"/>
                        <a:pt x="137681" y="143383"/>
                      </a:cubicBezTo>
                      <a:cubicBezTo>
                        <a:pt x="130696" y="131636"/>
                        <a:pt x="138316" y="98933"/>
                        <a:pt x="133871" y="86233"/>
                      </a:cubicBezTo>
                      <a:cubicBezTo>
                        <a:pt x="129426" y="73533"/>
                        <a:pt x="119583" y="74168"/>
                        <a:pt x="111011" y="67183"/>
                      </a:cubicBezTo>
                      <a:cubicBezTo>
                        <a:pt x="102439" y="60198"/>
                        <a:pt x="89103" y="49403"/>
                        <a:pt x="82436" y="44323"/>
                      </a:cubicBezTo>
                      <a:cubicBezTo>
                        <a:pt x="75769" y="39243"/>
                        <a:pt x="77674" y="37656"/>
                        <a:pt x="71006" y="36703"/>
                      </a:cubicBezTo>
                      <a:cubicBezTo>
                        <a:pt x="64339" y="35751"/>
                        <a:pt x="51638" y="37338"/>
                        <a:pt x="42431" y="38608"/>
                      </a:cubicBezTo>
                      <a:cubicBezTo>
                        <a:pt x="33224" y="39878"/>
                        <a:pt x="-4876" y="16383"/>
                        <a:pt x="521" y="1003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00" name="Freeform 50">
                  <a:extLst>
                    <a:ext uri="{FF2B5EF4-FFF2-40B4-BE49-F238E27FC236}">
                      <a16:creationId xmlns:a16="http://schemas.microsoft.com/office/drawing/2014/main" id="{9689FC58-2337-4605-AC73-A661F5BDFE2A}"/>
                    </a:ext>
                  </a:extLst>
                </p:cNvPr>
                <p:cNvSpPr>
                  <a:spLocks/>
                </p:cNvSpPr>
                <p:nvPr/>
              </p:nvSpPr>
              <p:spPr bwMode="auto">
                <a:xfrm rot="20964333">
                  <a:off x="4705520" y="3085687"/>
                  <a:ext cx="45719" cy="45719"/>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01" name="Freeform 50">
                  <a:extLst>
                    <a:ext uri="{FF2B5EF4-FFF2-40B4-BE49-F238E27FC236}">
                      <a16:creationId xmlns:a16="http://schemas.microsoft.com/office/drawing/2014/main" id="{DAB87361-5679-4555-9AB8-30725BFD7CA6}"/>
                    </a:ext>
                  </a:extLst>
                </p:cNvPr>
                <p:cNvSpPr>
                  <a:spLocks/>
                </p:cNvSpPr>
                <p:nvPr/>
              </p:nvSpPr>
              <p:spPr bwMode="auto">
                <a:xfrm rot="17294481">
                  <a:off x="4677013" y="3258237"/>
                  <a:ext cx="45719" cy="45719"/>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202" name="Freeform 50">
                  <a:extLst>
                    <a:ext uri="{FF2B5EF4-FFF2-40B4-BE49-F238E27FC236}">
                      <a16:creationId xmlns:a16="http://schemas.microsoft.com/office/drawing/2014/main" id="{332C2A30-A03B-49E1-9EA5-8384FD47ED8D}"/>
                    </a:ext>
                  </a:extLst>
                </p:cNvPr>
                <p:cNvSpPr>
                  <a:spLocks/>
                </p:cNvSpPr>
                <p:nvPr/>
              </p:nvSpPr>
              <p:spPr bwMode="auto">
                <a:xfrm rot="14815092">
                  <a:off x="4550366" y="3129915"/>
                  <a:ext cx="45719" cy="45719"/>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79" name="Group 78">
                <a:extLst>
                  <a:ext uri="{FF2B5EF4-FFF2-40B4-BE49-F238E27FC236}">
                    <a16:creationId xmlns:a16="http://schemas.microsoft.com/office/drawing/2014/main" id="{EC098EB1-743E-4DD6-9598-4323AFAEF583}"/>
                  </a:ext>
                </a:extLst>
              </p:cNvPr>
              <p:cNvGrpSpPr/>
              <p:nvPr/>
            </p:nvGrpSpPr>
            <p:grpSpPr>
              <a:xfrm>
                <a:off x="5862562" y="2309736"/>
                <a:ext cx="263793" cy="270889"/>
                <a:chOff x="4532530" y="3060827"/>
                <a:chExt cx="263793" cy="270889"/>
              </a:xfrm>
            </p:grpSpPr>
            <p:sp>
              <p:nvSpPr>
                <p:cNvPr id="189" name="Oval 188">
                  <a:extLst>
                    <a:ext uri="{FF2B5EF4-FFF2-40B4-BE49-F238E27FC236}">
                      <a16:creationId xmlns:a16="http://schemas.microsoft.com/office/drawing/2014/main" id="{4A46EF78-0D65-476E-A0DF-934E1CE4C9AF}"/>
                    </a:ext>
                  </a:extLst>
                </p:cNvPr>
                <p:cNvSpPr/>
                <p:nvPr/>
              </p:nvSpPr>
              <p:spPr bwMode="auto">
                <a:xfrm>
                  <a:off x="4537689" y="3064634"/>
                  <a:ext cx="258634" cy="244078"/>
                </a:xfrm>
                <a:prstGeom prst="ellipse">
                  <a:avLst/>
                </a:prstGeom>
                <a:solidFill>
                  <a:srgbClr val="CC33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90" name="Freeform: Shape 189">
                  <a:extLst>
                    <a:ext uri="{FF2B5EF4-FFF2-40B4-BE49-F238E27FC236}">
                      <a16:creationId xmlns:a16="http://schemas.microsoft.com/office/drawing/2014/main" id="{94EA172A-CABE-437A-B0F6-BF5048765AFA}"/>
                    </a:ext>
                  </a:extLst>
                </p:cNvPr>
                <p:cNvSpPr/>
                <p:nvPr/>
              </p:nvSpPr>
              <p:spPr bwMode="auto">
                <a:xfrm>
                  <a:off x="4608832" y="3060827"/>
                  <a:ext cx="184433" cy="158834"/>
                </a:xfrm>
                <a:custGeom>
                  <a:avLst/>
                  <a:gdLst>
                    <a:gd name="connsiteX0" fmla="*/ 521 w 177971"/>
                    <a:gd name="connsiteY0" fmla="*/ 10033 h 158834"/>
                    <a:gd name="connsiteX1" fmla="*/ 74816 w 177971"/>
                    <a:gd name="connsiteY1" fmla="*/ 508 h 158834"/>
                    <a:gd name="connsiteX2" fmla="*/ 126251 w 177971"/>
                    <a:gd name="connsiteY2" fmla="*/ 23368 h 158834"/>
                    <a:gd name="connsiteX3" fmla="*/ 160541 w 177971"/>
                    <a:gd name="connsiteY3" fmla="*/ 69088 h 158834"/>
                    <a:gd name="connsiteX4" fmla="*/ 171971 w 177971"/>
                    <a:gd name="connsiteY4" fmla="*/ 107188 h 158834"/>
                    <a:gd name="connsiteX5" fmla="*/ 175781 w 177971"/>
                    <a:gd name="connsiteY5" fmla="*/ 156718 h 158834"/>
                    <a:gd name="connsiteX6" fmla="*/ 137681 w 177971"/>
                    <a:gd name="connsiteY6" fmla="*/ 143383 h 158834"/>
                    <a:gd name="connsiteX7" fmla="*/ 133871 w 177971"/>
                    <a:gd name="connsiteY7" fmla="*/ 86233 h 158834"/>
                    <a:gd name="connsiteX8" fmla="*/ 111011 w 177971"/>
                    <a:gd name="connsiteY8" fmla="*/ 67183 h 158834"/>
                    <a:gd name="connsiteX9" fmla="*/ 82436 w 177971"/>
                    <a:gd name="connsiteY9" fmla="*/ 44323 h 158834"/>
                    <a:gd name="connsiteX10" fmla="*/ 71006 w 177971"/>
                    <a:gd name="connsiteY10" fmla="*/ 36703 h 158834"/>
                    <a:gd name="connsiteX11" fmla="*/ 42431 w 177971"/>
                    <a:gd name="connsiteY11" fmla="*/ 38608 h 158834"/>
                    <a:gd name="connsiteX12" fmla="*/ 521 w 177971"/>
                    <a:gd name="connsiteY12" fmla="*/ 10033 h 15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971" h="158834">
                      <a:moveTo>
                        <a:pt x="521" y="10033"/>
                      </a:moveTo>
                      <a:cubicBezTo>
                        <a:pt x="5918" y="3683"/>
                        <a:pt x="53861" y="-1714"/>
                        <a:pt x="74816" y="508"/>
                      </a:cubicBezTo>
                      <a:cubicBezTo>
                        <a:pt x="95771" y="2730"/>
                        <a:pt x="111963" y="11938"/>
                        <a:pt x="126251" y="23368"/>
                      </a:cubicBezTo>
                      <a:cubicBezTo>
                        <a:pt x="140539" y="34798"/>
                        <a:pt x="152921" y="55118"/>
                        <a:pt x="160541" y="69088"/>
                      </a:cubicBezTo>
                      <a:cubicBezTo>
                        <a:pt x="168161" y="83058"/>
                        <a:pt x="169431" y="92583"/>
                        <a:pt x="171971" y="107188"/>
                      </a:cubicBezTo>
                      <a:cubicBezTo>
                        <a:pt x="174511" y="121793"/>
                        <a:pt x="181496" y="150685"/>
                        <a:pt x="175781" y="156718"/>
                      </a:cubicBezTo>
                      <a:cubicBezTo>
                        <a:pt x="170066" y="162751"/>
                        <a:pt x="144666" y="155130"/>
                        <a:pt x="137681" y="143383"/>
                      </a:cubicBezTo>
                      <a:cubicBezTo>
                        <a:pt x="130696" y="131636"/>
                        <a:pt x="138316" y="98933"/>
                        <a:pt x="133871" y="86233"/>
                      </a:cubicBezTo>
                      <a:cubicBezTo>
                        <a:pt x="129426" y="73533"/>
                        <a:pt x="119583" y="74168"/>
                        <a:pt x="111011" y="67183"/>
                      </a:cubicBezTo>
                      <a:cubicBezTo>
                        <a:pt x="102439" y="60198"/>
                        <a:pt x="89103" y="49403"/>
                        <a:pt x="82436" y="44323"/>
                      </a:cubicBezTo>
                      <a:cubicBezTo>
                        <a:pt x="75769" y="39243"/>
                        <a:pt x="77674" y="37656"/>
                        <a:pt x="71006" y="36703"/>
                      </a:cubicBezTo>
                      <a:cubicBezTo>
                        <a:pt x="64339" y="35751"/>
                        <a:pt x="51638" y="37338"/>
                        <a:pt x="42431" y="38608"/>
                      </a:cubicBezTo>
                      <a:cubicBezTo>
                        <a:pt x="33224" y="39878"/>
                        <a:pt x="-4876" y="16383"/>
                        <a:pt x="521" y="1003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91" name="Freeform: Shape 190">
                  <a:extLst>
                    <a:ext uri="{FF2B5EF4-FFF2-40B4-BE49-F238E27FC236}">
                      <a16:creationId xmlns:a16="http://schemas.microsoft.com/office/drawing/2014/main" id="{4977DDBD-BD4D-41C6-989C-E2F9EA12A723}"/>
                    </a:ext>
                  </a:extLst>
                </p:cNvPr>
                <p:cNvSpPr/>
                <p:nvPr/>
              </p:nvSpPr>
              <p:spPr bwMode="auto">
                <a:xfrm rot="7525021">
                  <a:off x="4586895" y="3160083"/>
                  <a:ext cx="184433" cy="158834"/>
                </a:xfrm>
                <a:custGeom>
                  <a:avLst/>
                  <a:gdLst>
                    <a:gd name="connsiteX0" fmla="*/ 521 w 177971"/>
                    <a:gd name="connsiteY0" fmla="*/ 10033 h 158834"/>
                    <a:gd name="connsiteX1" fmla="*/ 74816 w 177971"/>
                    <a:gd name="connsiteY1" fmla="*/ 508 h 158834"/>
                    <a:gd name="connsiteX2" fmla="*/ 126251 w 177971"/>
                    <a:gd name="connsiteY2" fmla="*/ 23368 h 158834"/>
                    <a:gd name="connsiteX3" fmla="*/ 160541 w 177971"/>
                    <a:gd name="connsiteY3" fmla="*/ 69088 h 158834"/>
                    <a:gd name="connsiteX4" fmla="*/ 171971 w 177971"/>
                    <a:gd name="connsiteY4" fmla="*/ 107188 h 158834"/>
                    <a:gd name="connsiteX5" fmla="*/ 175781 w 177971"/>
                    <a:gd name="connsiteY5" fmla="*/ 156718 h 158834"/>
                    <a:gd name="connsiteX6" fmla="*/ 137681 w 177971"/>
                    <a:gd name="connsiteY6" fmla="*/ 143383 h 158834"/>
                    <a:gd name="connsiteX7" fmla="*/ 133871 w 177971"/>
                    <a:gd name="connsiteY7" fmla="*/ 86233 h 158834"/>
                    <a:gd name="connsiteX8" fmla="*/ 111011 w 177971"/>
                    <a:gd name="connsiteY8" fmla="*/ 67183 h 158834"/>
                    <a:gd name="connsiteX9" fmla="*/ 82436 w 177971"/>
                    <a:gd name="connsiteY9" fmla="*/ 44323 h 158834"/>
                    <a:gd name="connsiteX10" fmla="*/ 71006 w 177971"/>
                    <a:gd name="connsiteY10" fmla="*/ 36703 h 158834"/>
                    <a:gd name="connsiteX11" fmla="*/ 42431 w 177971"/>
                    <a:gd name="connsiteY11" fmla="*/ 38608 h 158834"/>
                    <a:gd name="connsiteX12" fmla="*/ 521 w 177971"/>
                    <a:gd name="connsiteY12" fmla="*/ 10033 h 15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971" h="158834">
                      <a:moveTo>
                        <a:pt x="521" y="10033"/>
                      </a:moveTo>
                      <a:cubicBezTo>
                        <a:pt x="5918" y="3683"/>
                        <a:pt x="53861" y="-1714"/>
                        <a:pt x="74816" y="508"/>
                      </a:cubicBezTo>
                      <a:cubicBezTo>
                        <a:pt x="95771" y="2730"/>
                        <a:pt x="111963" y="11938"/>
                        <a:pt x="126251" y="23368"/>
                      </a:cubicBezTo>
                      <a:cubicBezTo>
                        <a:pt x="140539" y="34798"/>
                        <a:pt x="152921" y="55118"/>
                        <a:pt x="160541" y="69088"/>
                      </a:cubicBezTo>
                      <a:cubicBezTo>
                        <a:pt x="168161" y="83058"/>
                        <a:pt x="169431" y="92583"/>
                        <a:pt x="171971" y="107188"/>
                      </a:cubicBezTo>
                      <a:cubicBezTo>
                        <a:pt x="174511" y="121793"/>
                        <a:pt x="181496" y="150685"/>
                        <a:pt x="175781" y="156718"/>
                      </a:cubicBezTo>
                      <a:cubicBezTo>
                        <a:pt x="170066" y="162751"/>
                        <a:pt x="144666" y="155130"/>
                        <a:pt x="137681" y="143383"/>
                      </a:cubicBezTo>
                      <a:cubicBezTo>
                        <a:pt x="130696" y="131636"/>
                        <a:pt x="138316" y="98933"/>
                        <a:pt x="133871" y="86233"/>
                      </a:cubicBezTo>
                      <a:cubicBezTo>
                        <a:pt x="129426" y="73533"/>
                        <a:pt x="119583" y="74168"/>
                        <a:pt x="111011" y="67183"/>
                      </a:cubicBezTo>
                      <a:cubicBezTo>
                        <a:pt x="102439" y="60198"/>
                        <a:pt x="89103" y="49403"/>
                        <a:pt x="82436" y="44323"/>
                      </a:cubicBezTo>
                      <a:cubicBezTo>
                        <a:pt x="75769" y="39243"/>
                        <a:pt x="77674" y="37656"/>
                        <a:pt x="71006" y="36703"/>
                      </a:cubicBezTo>
                      <a:cubicBezTo>
                        <a:pt x="64339" y="35751"/>
                        <a:pt x="51638" y="37338"/>
                        <a:pt x="42431" y="38608"/>
                      </a:cubicBezTo>
                      <a:cubicBezTo>
                        <a:pt x="33224" y="39878"/>
                        <a:pt x="-4876" y="16383"/>
                        <a:pt x="521" y="1003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92" name="Freeform: Shape 191">
                  <a:extLst>
                    <a:ext uri="{FF2B5EF4-FFF2-40B4-BE49-F238E27FC236}">
                      <a16:creationId xmlns:a16="http://schemas.microsoft.com/office/drawing/2014/main" id="{33DFD7DC-1327-48F4-A8F5-AE157F2B4688}"/>
                    </a:ext>
                  </a:extLst>
                </p:cNvPr>
                <p:cNvSpPr/>
                <p:nvPr/>
              </p:nvSpPr>
              <p:spPr bwMode="auto">
                <a:xfrm rot="14994962">
                  <a:off x="4524296" y="3087063"/>
                  <a:ext cx="175302" cy="158834"/>
                </a:xfrm>
                <a:custGeom>
                  <a:avLst/>
                  <a:gdLst>
                    <a:gd name="connsiteX0" fmla="*/ 521 w 177971"/>
                    <a:gd name="connsiteY0" fmla="*/ 10033 h 158834"/>
                    <a:gd name="connsiteX1" fmla="*/ 74816 w 177971"/>
                    <a:gd name="connsiteY1" fmla="*/ 508 h 158834"/>
                    <a:gd name="connsiteX2" fmla="*/ 126251 w 177971"/>
                    <a:gd name="connsiteY2" fmla="*/ 23368 h 158834"/>
                    <a:gd name="connsiteX3" fmla="*/ 160541 w 177971"/>
                    <a:gd name="connsiteY3" fmla="*/ 69088 h 158834"/>
                    <a:gd name="connsiteX4" fmla="*/ 171971 w 177971"/>
                    <a:gd name="connsiteY4" fmla="*/ 107188 h 158834"/>
                    <a:gd name="connsiteX5" fmla="*/ 175781 w 177971"/>
                    <a:gd name="connsiteY5" fmla="*/ 156718 h 158834"/>
                    <a:gd name="connsiteX6" fmla="*/ 137681 w 177971"/>
                    <a:gd name="connsiteY6" fmla="*/ 143383 h 158834"/>
                    <a:gd name="connsiteX7" fmla="*/ 133871 w 177971"/>
                    <a:gd name="connsiteY7" fmla="*/ 86233 h 158834"/>
                    <a:gd name="connsiteX8" fmla="*/ 111011 w 177971"/>
                    <a:gd name="connsiteY8" fmla="*/ 67183 h 158834"/>
                    <a:gd name="connsiteX9" fmla="*/ 82436 w 177971"/>
                    <a:gd name="connsiteY9" fmla="*/ 44323 h 158834"/>
                    <a:gd name="connsiteX10" fmla="*/ 71006 w 177971"/>
                    <a:gd name="connsiteY10" fmla="*/ 36703 h 158834"/>
                    <a:gd name="connsiteX11" fmla="*/ 42431 w 177971"/>
                    <a:gd name="connsiteY11" fmla="*/ 38608 h 158834"/>
                    <a:gd name="connsiteX12" fmla="*/ 521 w 177971"/>
                    <a:gd name="connsiteY12" fmla="*/ 10033 h 15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971" h="158834">
                      <a:moveTo>
                        <a:pt x="521" y="10033"/>
                      </a:moveTo>
                      <a:cubicBezTo>
                        <a:pt x="5918" y="3683"/>
                        <a:pt x="53861" y="-1714"/>
                        <a:pt x="74816" y="508"/>
                      </a:cubicBezTo>
                      <a:cubicBezTo>
                        <a:pt x="95771" y="2730"/>
                        <a:pt x="111963" y="11938"/>
                        <a:pt x="126251" y="23368"/>
                      </a:cubicBezTo>
                      <a:cubicBezTo>
                        <a:pt x="140539" y="34798"/>
                        <a:pt x="152921" y="55118"/>
                        <a:pt x="160541" y="69088"/>
                      </a:cubicBezTo>
                      <a:cubicBezTo>
                        <a:pt x="168161" y="83058"/>
                        <a:pt x="169431" y="92583"/>
                        <a:pt x="171971" y="107188"/>
                      </a:cubicBezTo>
                      <a:cubicBezTo>
                        <a:pt x="174511" y="121793"/>
                        <a:pt x="181496" y="150685"/>
                        <a:pt x="175781" y="156718"/>
                      </a:cubicBezTo>
                      <a:cubicBezTo>
                        <a:pt x="170066" y="162751"/>
                        <a:pt x="144666" y="155130"/>
                        <a:pt x="137681" y="143383"/>
                      </a:cubicBezTo>
                      <a:cubicBezTo>
                        <a:pt x="130696" y="131636"/>
                        <a:pt x="138316" y="98933"/>
                        <a:pt x="133871" y="86233"/>
                      </a:cubicBezTo>
                      <a:cubicBezTo>
                        <a:pt x="129426" y="73533"/>
                        <a:pt x="119583" y="74168"/>
                        <a:pt x="111011" y="67183"/>
                      </a:cubicBezTo>
                      <a:cubicBezTo>
                        <a:pt x="102439" y="60198"/>
                        <a:pt x="89103" y="49403"/>
                        <a:pt x="82436" y="44323"/>
                      </a:cubicBezTo>
                      <a:cubicBezTo>
                        <a:pt x="75769" y="39243"/>
                        <a:pt x="77674" y="37656"/>
                        <a:pt x="71006" y="36703"/>
                      </a:cubicBezTo>
                      <a:cubicBezTo>
                        <a:pt x="64339" y="35751"/>
                        <a:pt x="51638" y="37338"/>
                        <a:pt x="42431" y="38608"/>
                      </a:cubicBezTo>
                      <a:cubicBezTo>
                        <a:pt x="33224" y="39878"/>
                        <a:pt x="-4876" y="16383"/>
                        <a:pt x="521" y="1003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93" name="Freeform 50">
                  <a:extLst>
                    <a:ext uri="{FF2B5EF4-FFF2-40B4-BE49-F238E27FC236}">
                      <a16:creationId xmlns:a16="http://schemas.microsoft.com/office/drawing/2014/main" id="{C7F71CF7-E586-45F1-BA54-86598A4E2CE4}"/>
                    </a:ext>
                  </a:extLst>
                </p:cNvPr>
                <p:cNvSpPr>
                  <a:spLocks/>
                </p:cNvSpPr>
                <p:nvPr/>
              </p:nvSpPr>
              <p:spPr bwMode="auto">
                <a:xfrm rot="20964333">
                  <a:off x="4705520" y="3085687"/>
                  <a:ext cx="45719" cy="45719"/>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94" name="Freeform 50">
                  <a:extLst>
                    <a:ext uri="{FF2B5EF4-FFF2-40B4-BE49-F238E27FC236}">
                      <a16:creationId xmlns:a16="http://schemas.microsoft.com/office/drawing/2014/main" id="{7E03D6D3-FC85-4854-B88B-41BD1F7612E0}"/>
                    </a:ext>
                  </a:extLst>
                </p:cNvPr>
                <p:cNvSpPr>
                  <a:spLocks/>
                </p:cNvSpPr>
                <p:nvPr/>
              </p:nvSpPr>
              <p:spPr bwMode="auto">
                <a:xfrm rot="17294481">
                  <a:off x="4677013" y="3258237"/>
                  <a:ext cx="45719" cy="45719"/>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95" name="Freeform 50">
                  <a:extLst>
                    <a:ext uri="{FF2B5EF4-FFF2-40B4-BE49-F238E27FC236}">
                      <a16:creationId xmlns:a16="http://schemas.microsoft.com/office/drawing/2014/main" id="{C444E58D-8A4B-4056-938B-F550CB8A1F4A}"/>
                    </a:ext>
                  </a:extLst>
                </p:cNvPr>
                <p:cNvSpPr>
                  <a:spLocks/>
                </p:cNvSpPr>
                <p:nvPr/>
              </p:nvSpPr>
              <p:spPr bwMode="auto">
                <a:xfrm rot="14815092">
                  <a:off x="4550366" y="3129915"/>
                  <a:ext cx="45719" cy="45719"/>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80" name="Group 79">
                <a:extLst>
                  <a:ext uri="{FF2B5EF4-FFF2-40B4-BE49-F238E27FC236}">
                    <a16:creationId xmlns:a16="http://schemas.microsoft.com/office/drawing/2014/main" id="{4DB896C2-6B94-4633-8552-A1055B913A9D}"/>
                  </a:ext>
                </a:extLst>
              </p:cNvPr>
              <p:cNvGrpSpPr/>
              <p:nvPr/>
            </p:nvGrpSpPr>
            <p:grpSpPr>
              <a:xfrm>
                <a:off x="7181611" y="3463324"/>
                <a:ext cx="263793" cy="270889"/>
                <a:chOff x="4532530" y="3060827"/>
                <a:chExt cx="263793" cy="270889"/>
              </a:xfrm>
            </p:grpSpPr>
            <p:sp>
              <p:nvSpPr>
                <p:cNvPr id="182" name="Oval 181">
                  <a:extLst>
                    <a:ext uri="{FF2B5EF4-FFF2-40B4-BE49-F238E27FC236}">
                      <a16:creationId xmlns:a16="http://schemas.microsoft.com/office/drawing/2014/main" id="{9C262EF7-1BDA-40DF-9B56-F5E2D0E572EB}"/>
                    </a:ext>
                  </a:extLst>
                </p:cNvPr>
                <p:cNvSpPr/>
                <p:nvPr/>
              </p:nvSpPr>
              <p:spPr bwMode="auto">
                <a:xfrm>
                  <a:off x="4537689" y="3064634"/>
                  <a:ext cx="258634" cy="244078"/>
                </a:xfrm>
                <a:prstGeom prst="ellipse">
                  <a:avLst/>
                </a:prstGeom>
                <a:solidFill>
                  <a:srgbClr val="CC33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83" name="Freeform: Shape 182">
                  <a:extLst>
                    <a:ext uri="{FF2B5EF4-FFF2-40B4-BE49-F238E27FC236}">
                      <a16:creationId xmlns:a16="http://schemas.microsoft.com/office/drawing/2014/main" id="{2AEC1D33-3BAA-43BE-B54D-7AA92A2D9FEC}"/>
                    </a:ext>
                  </a:extLst>
                </p:cNvPr>
                <p:cNvSpPr/>
                <p:nvPr/>
              </p:nvSpPr>
              <p:spPr bwMode="auto">
                <a:xfrm>
                  <a:off x="4608832" y="3060827"/>
                  <a:ext cx="184433" cy="158834"/>
                </a:xfrm>
                <a:custGeom>
                  <a:avLst/>
                  <a:gdLst>
                    <a:gd name="connsiteX0" fmla="*/ 521 w 177971"/>
                    <a:gd name="connsiteY0" fmla="*/ 10033 h 158834"/>
                    <a:gd name="connsiteX1" fmla="*/ 74816 w 177971"/>
                    <a:gd name="connsiteY1" fmla="*/ 508 h 158834"/>
                    <a:gd name="connsiteX2" fmla="*/ 126251 w 177971"/>
                    <a:gd name="connsiteY2" fmla="*/ 23368 h 158834"/>
                    <a:gd name="connsiteX3" fmla="*/ 160541 w 177971"/>
                    <a:gd name="connsiteY3" fmla="*/ 69088 h 158834"/>
                    <a:gd name="connsiteX4" fmla="*/ 171971 w 177971"/>
                    <a:gd name="connsiteY4" fmla="*/ 107188 h 158834"/>
                    <a:gd name="connsiteX5" fmla="*/ 175781 w 177971"/>
                    <a:gd name="connsiteY5" fmla="*/ 156718 h 158834"/>
                    <a:gd name="connsiteX6" fmla="*/ 137681 w 177971"/>
                    <a:gd name="connsiteY6" fmla="*/ 143383 h 158834"/>
                    <a:gd name="connsiteX7" fmla="*/ 133871 w 177971"/>
                    <a:gd name="connsiteY7" fmla="*/ 86233 h 158834"/>
                    <a:gd name="connsiteX8" fmla="*/ 111011 w 177971"/>
                    <a:gd name="connsiteY8" fmla="*/ 67183 h 158834"/>
                    <a:gd name="connsiteX9" fmla="*/ 82436 w 177971"/>
                    <a:gd name="connsiteY9" fmla="*/ 44323 h 158834"/>
                    <a:gd name="connsiteX10" fmla="*/ 71006 w 177971"/>
                    <a:gd name="connsiteY10" fmla="*/ 36703 h 158834"/>
                    <a:gd name="connsiteX11" fmla="*/ 42431 w 177971"/>
                    <a:gd name="connsiteY11" fmla="*/ 38608 h 158834"/>
                    <a:gd name="connsiteX12" fmla="*/ 521 w 177971"/>
                    <a:gd name="connsiteY12" fmla="*/ 10033 h 15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971" h="158834">
                      <a:moveTo>
                        <a:pt x="521" y="10033"/>
                      </a:moveTo>
                      <a:cubicBezTo>
                        <a:pt x="5918" y="3683"/>
                        <a:pt x="53861" y="-1714"/>
                        <a:pt x="74816" y="508"/>
                      </a:cubicBezTo>
                      <a:cubicBezTo>
                        <a:pt x="95771" y="2730"/>
                        <a:pt x="111963" y="11938"/>
                        <a:pt x="126251" y="23368"/>
                      </a:cubicBezTo>
                      <a:cubicBezTo>
                        <a:pt x="140539" y="34798"/>
                        <a:pt x="152921" y="55118"/>
                        <a:pt x="160541" y="69088"/>
                      </a:cubicBezTo>
                      <a:cubicBezTo>
                        <a:pt x="168161" y="83058"/>
                        <a:pt x="169431" y="92583"/>
                        <a:pt x="171971" y="107188"/>
                      </a:cubicBezTo>
                      <a:cubicBezTo>
                        <a:pt x="174511" y="121793"/>
                        <a:pt x="181496" y="150685"/>
                        <a:pt x="175781" y="156718"/>
                      </a:cubicBezTo>
                      <a:cubicBezTo>
                        <a:pt x="170066" y="162751"/>
                        <a:pt x="144666" y="155130"/>
                        <a:pt x="137681" y="143383"/>
                      </a:cubicBezTo>
                      <a:cubicBezTo>
                        <a:pt x="130696" y="131636"/>
                        <a:pt x="138316" y="98933"/>
                        <a:pt x="133871" y="86233"/>
                      </a:cubicBezTo>
                      <a:cubicBezTo>
                        <a:pt x="129426" y="73533"/>
                        <a:pt x="119583" y="74168"/>
                        <a:pt x="111011" y="67183"/>
                      </a:cubicBezTo>
                      <a:cubicBezTo>
                        <a:pt x="102439" y="60198"/>
                        <a:pt x="89103" y="49403"/>
                        <a:pt x="82436" y="44323"/>
                      </a:cubicBezTo>
                      <a:cubicBezTo>
                        <a:pt x="75769" y="39243"/>
                        <a:pt x="77674" y="37656"/>
                        <a:pt x="71006" y="36703"/>
                      </a:cubicBezTo>
                      <a:cubicBezTo>
                        <a:pt x="64339" y="35751"/>
                        <a:pt x="51638" y="37338"/>
                        <a:pt x="42431" y="38608"/>
                      </a:cubicBezTo>
                      <a:cubicBezTo>
                        <a:pt x="33224" y="39878"/>
                        <a:pt x="-4876" y="16383"/>
                        <a:pt x="521" y="1003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84" name="Freeform: Shape 183">
                  <a:extLst>
                    <a:ext uri="{FF2B5EF4-FFF2-40B4-BE49-F238E27FC236}">
                      <a16:creationId xmlns:a16="http://schemas.microsoft.com/office/drawing/2014/main" id="{266419FF-616C-431C-9A28-4F539EE93E8A}"/>
                    </a:ext>
                  </a:extLst>
                </p:cNvPr>
                <p:cNvSpPr/>
                <p:nvPr/>
              </p:nvSpPr>
              <p:spPr bwMode="auto">
                <a:xfrm rot="7525021">
                  <a:off x="4586895" y="3160083"/>
                  <a:ext cx="184433" cy="158834"/>
                </a:xfrm>
                <a:custGeom>
                  <a:avLst/>
                  <a:gdLst>
                    <a:gd name="connsiteX0" fmla="*/ 521 w 177971"/>
                    <a:gd name="connsiteY0" fmla="*/ 10033 h 158834"/>
                    <a:gd name="connsiteX1" fmla="*/ 74816 w 177971"/>
                    <a:gd name="connsiteY1" fmla="*/ 508 h 158834"/>
                    <a:gd name="connsiteX2" fmla="*/ 126251 w 177971"/>
                    <a:gd name="connsiteY2" fmla="*/ 23368 h 158834"/>
                    <a:gd name="connsiteX3" fmla="*/ 160541 w 177971"/>
                    <a:gd name="connsiteY3" fmla="*/ 69088 h 158834"/>
                    <a:gd name="connsiteX4" fmla="*/ 171971 w 177971"/>
                    <a:gd name="connsiteY4" fmla="*/ 107188 h 158834"/>
                    <a:gd name="connsiteX5" fmla="*/ 175781 w 177971"/>
                    <a:gd name="connsiteY5" fmla="*/ 156718 h 158834"/>
                    <a:gd name="connsiteX6" fmla="*/ 137681 w 177971"/>
                    <a:gd name="connsiteY6" fmla="*/ 143383 h 158834"/>
                    <a:gd name="connsiteX7" fmla="*/ 133871 w 177971"/>
                    <a:gd name="connsiteY7" fmla="*/ 86233 h 158834"/>
                    <a:gd name="connsiteX8" fmla="*/ 111011 w 177971"/>
                    <a:gd name="connsiteY8" fmla="*/ 67183 h 158834"/>
                    <a:gd name="connsiteX9" fmla="*/ 82436 w 177971"/>
                    <a:gd name="connsiteY9" fmla="*/ 44323 h 158834"/>
                    <a:gd name="connsiteX10" fmla="*/ 71006 w 177971"/>
                    <a:gd name="connsiteY10" fmla="*/ 36703 h 158834"/>
                    <a:gd name="connsiteX11" fmla="*/ 42431 w 177971"/>
                    <a:gd name="connsiteY11" fmla="*/ 38608 h 158834"/>
                    <a:gd name="connsiteX12" fmla="*/ 521 w 177971"/>
                    <a:gd name="connsiteY12" fmla="*/ 10033 h 15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971" h="158834">
                      <a:moveTo>
                        <a:pt x="521" y="10033"/>
                      </a:moveTo>
                      <a:cubicBezTo>
                        <a:pt x="5918" y="3683"/>
                        <a:pt x="53861" y="-1714"/>
                        <a:pt x="74816" y="508"/>
                      </a:cubicBezTo>
                      <a:cubicBezTo>
                        <a:pt x="95771" y="2730"/>
                        <a:pt x="111963" y="11938"/>
                        <a:pt x="126251" y="23368"/>
                      </a:cubicBezTo>
                      <a:cubicBezTo>
                        <a:pt x="140539" y="34798"/>
                        <a:pt x="152921" y="55118"/>
                        <a:pt x="160541" y="69088"/>
                      </a:cubicBezTo>
                      <a:cubicBezTo>
                        <a:pt x="168161" y="83058"/>
                        <a:pt x="169431" y="92583"/>
                        <a:pt x="171971" y="107188"/>
                      </a:cubicBezTo>
                      <a:cubicBezTo>
                        <a:pt x="174511" y="121793"/>
                        <a:pt x="181496" y="150685"/>
                        <a:pt x="175781" y="156718"/>
                      </a:cubicBezTo>
                      <a:cubicBezTo>
                        <a:pt x="170066" y="162751"/>
                        <a:pt x="144666" y="155130"/>
                        <a:pt x="137681" y="143383"/>
                      </a:cubicBezTo>
                      <a:cubicBezTo>
                        <a:pt x="130696" y="131636"/>
                        <a:pt x="138316" y="98933"/>
                        <a:pt x="133871" y="86233"/>
                      </a:cubicBezTo>
                      <a:cubicBezTo>
                        <a:pt x="129426" y="73533"/>
                        <a:pt x="119583" y="74168"/>
                        <a:pt x="111011" y="67183"/>
                      </a:cubicBezTo>
                      <a:cubicBezTo>
                        <a:pt x="102439" y="60198"/>
                        <a:pt x="89103" y="49403"/>
                        <a:pt x="82436" y="44323"/>
                      </a:cubicBezTo>
                      <a:cubicBezTo>
                        <a:pt x="75769" y="39243"/>
                        <a:pt x="77674" y="37656"/>
                        <a:pt x="71006" y="36703"/>
                      </a:cubicBezTo>
                      <a:cubicBezTo>
                        <a:pt x="64339" y="35751"/>
                        <a:pt x="51638" y="37338"/>
                        <a:pt x="42431" y="38608"/>
                      </a:cubicBezTo>
                      <a:cubicBezTo>
                        <a:pt x="33224" y="39878"/>
                        <a:pt x="-4876" y="16383"/>
                        <a:pt x="521" y="1003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85" name="Freeform: Shape 184">
                  <a:extLst>
                    <a:ext uri="{FF2B5EF4-FFF2-40B4-BE49-F238E27FC236}">
                      <a16:creationId xmlns:a16="http://schemas.microsoft.com/office/drawing/2014/main" id="{FCB3FC8A-7045-4EAA-B5E3-81E3002995E8}"/>
                    </a:ext>
                  </a:extLst>
                </p:cNvPr>
                <p:cNvSpPr/>
                <p:nvPr/>
              </p:nvSpPr>
              <p:spPr bwMode="auto">
                <a:xfrm rot="14994962">
                  <a:off x="4524296" y="3087063"/>
                  <a:ext cx="175302" cy="158834"/>
                </a:xfrm>
                <a:custGeom>
                  <a:avLst/>
                  <a:gdLst>
                    <a:gd name="connsiteX0" fmla="*/ 521 w 177971"/>
                    <a:gd name="connsiteY0" fmla="*/ 10033 h 158834"/>
                    <a:gd name="connsiteX1" fmla="*/ 74816 w 177971"/>
                    <a:gd name="connsiteY1" fmla="*/ 508 h 158834"/>
                    <a:gd name="connsiteX2" fmla="*/ 126251 w 177971"/>
                    <a:gd name="connsiteY2" fmla="*/ 23368 h 158834"/>
                    <a:gd name="connsiteX3" fmla="*/ 160541 w 177971"/>
                    <a:gd name="connsiteY3" fmla="*/ 69088 h 158834"/>
                    <a:gd name="connsiteX4" fmla="*/ 171971 w 177971"/>
                    <a:gd name="connsiteY4" fmla="*/ 107188 h 158834"/>
                    <a:gd name="connsiteX5" fmla="*/ 175781 w 177971"/>
                    <a:gd name="connsiteY5" fmla="*/ 156718 h 158834"/>
                    <a:gd name="connsiteX6" fmla="*/ 137681 w 177971"/>
                    <a:gd name="connsiteY6" fmla="*/ 143383 h 158834"/>
                    <a:gd name="connsiteX7" fmla="*/ 133871 w 177971"/>
                    <a:gd name="connsiteY7" fmla="*/ 86233 h 158834"/>
                    <a:gd name="connsiteX8" fmla="*/ 111011 w 177971"/>
                    <a:gd name="connsiteY8" fmla="*/ 67183 h 158834"/>
                    <a:gd name="connsiteX9" fmla="*/ 82436 w 177971"/>
                    <a:gd name="connsiteY9" fmla="*/ 44323 h 158834"/>
                    <a:gd name="connsiteX10" fmla="*/ 71006 w 177971"/>
                    <a:gd name="connsiteY10" fmla="*/ 36703 h 158834"/>
                    <a:gd name="connsiteX11" fmla="*/ 42431 w 177971"/>
                    <a:gd name="connsiteY11" fmla="*/ 38608 h 158834"/>
                    <a:gd name="connsiteX12" fmla="*/ 521 w 177971"/>
                    <a:gd name="connsiteY12" fmla="*/ 10033 h 15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971" h="158834">
                      <a:moveTo>
                        <a:pt x="521" y="10033"/>
                      </a:moveTo>
                      <a:cubicBezTo>
                        <a:pt x="5918" y="3683"/>
                        <a:pt x="53861" y="-1714"/>
                        <a:pt x="74816" y="508"/>
                      </a:cubicBezTo>
                      <a:cubicBezTo>
                        <a:pt x="95771" y="2730"/>
                        <a:pt x="111963" y="11938"/>
                        <a:pt x="126251" y="23368"/>
                      </a:cubicBezTo>
                      <a:cubicBezTo>
                        <a:pt x="140539" y="34798"/>
                        <a:pt x="152921" y="55118"/>
                        <a:pt x="160541" y="69088"/>
                      </a:cubicBezTo>
                      <a:cubicBezTo>
                        <a:pt x="168161" y="83058"/>
                        <a:pt x="169431" y="92583"/>
                        <a:pt x="171971" y="107188"/>
                      </a:cubicBezTo>
                      <a:cubicBezTo>
                        <a:pt x="174511" y="121793"/>
                        <a:pt x="181496" y="150685"/>
                        <a:pt x="175781" y="156718"/>
                      </a:cubicBezTo>
                      <a:cubicBezTo>
                        <a:pt x="170066" y="162751"/>
                        <a:pt x="144666" y="155130"/>
                        <a:pt x="137681" y="143383"/>
                      </a:cubicBezTo>
                      <a:cubicBezTo>
                        <a:pt x="130696" y="131636"/>
                        <a:pt x="138316" y="98933"/>
                        <a:pt x="133871" y="86233"/>
                      </a:cubicBezTo>
                      <a:cubicBezTo>
                        <a:pt x="129426" y="73533"/>
                        <a:pt x="119583" y="74168"/>
                        <a:pt x="111011" y="67183"/>
                      </a:cubicBezTo>
                      <a:cubicBezTo>
                        <a:pt x="102439" y="60198"/>
                        <a:pt x="89103" y="49403"/>
                        <a:pt x="82436" y="44323"/>
                      </a:cubicBezTo>
                      <a:cubicBezTo>
                        <a:pt x="75769" y="39243"/>
                        <a:pt x="77674" y="37656"/>
                        <a:pt x="71006" y="36703"/>
                      </a:cubicBezTo>
                      <a:cubicBezTo>
                        <a:pt x="64339" y="35751"/>
                        <a:pt x="51638" y="37338"/>
                        <a:pt x="42431" y="38608"/>
                      </a:cubicBezTo>
                      <a:cubicBezTo>
                        <a:pt x="33224" y="39878"/>
                        <a:pt x="-4876" y="16383"/>
                        <a:pt x="521" y="1003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86" name="Freeform 50">
                  <a:extLst>
                    <a:ext uri="{FF2B5EF4-FFF2-40B4-BE49-F238E27FC236}">
                      <a16:creationId xmlns:a16="http://schemas.microsoft.com/office/drawing/2014/main" id="{98E4BC09-208F-494C-8BF7-FA51ABDA653A}"/>
                    </a:ext>
                  </a:extLst>
                </p:cNvPr>
                <p:cNvSpPr>
                  <a:spLocks/>
                </p:cNvSpPr>
                <p:nvPr/>
              </p:nvSpPr>
              <p:spPr bwMode="auto">
                <a:xfrm rot="20964333">
                  <a:off x="4705520" y="3085687"/>
                  <a:ext cx="45719" cy="45719"/>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87" name="Freeform 50">
                  <a:extLst>
                    <a:ext uri="{FF2B5EF4-FFF2-40B4-BE49-F238E27FC236}">
                      <a16:creationId xmlns:a16="http://schemas.microsoft.com/office/drawing/2014/main" id="{B8F2EE48-EC0B-437C-AB2D-0D812CDDA945}"/>
                    </a:ext>
                  </a:extLst>
                </p:cNvPr>
                <p:cNvSpPr>
                  <a:spLocks/>
                </p:cNvSpPr>
                <p:nvPr/>
              </p:nvSpPr>
              <p:spPr bwMode="auto">
                <a:xfrm rot="17294481">
                  <a:off x="4677013" y="3258237"/>
                  <a:ext cx="45719" cy="45719"/>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88" name="Freeform 50">
                  <a:extLst>
                    <a:ext uri="{FF2B5EF4-FFF2-40B4-BE49-F238E27FC236}">
                      <a16:creationId xmlns:a16="http://schemas.microsoft.com/office/drawing/2014/main" id="{B44CC1E0-25C5-4D02-AB2B-2AF4C09A828C}"/>
                    </a:ext>
                  </a:extLst>
                </p:cNvPr>
                <p:cNvSpPr>
                  <a:spLocks/>
                </p:cNvSpPr>
                <p:nvPr/>
              </p:nvSpPr>
              <p:spPr bwMode="auto">
                <a:xfrm rot="14815092">
                  <a:off x="4550366" y="3129915"/>
                  <a:ext cx="45719" cy="45719"/>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81" name="Group 80">
                <a:extLst>
                  <a:ext uri="{FF2B5EF4-FFF2-40B4-BE49-F238E27FC236}">
                    <a16:creationId xmlns:a16="http://schemas.microsoft.com/office/drawing/2014/main" id="{0DC2FF48-B65A-4692-A9EB-9B8A6371947A}"/>
                  </a:ext>
                </a:extLst>
              </p:cNvPr>
              <p:cNvGrpSpPr/>
              <p:nvPr/>
            </p:nvGrpSpPr>
            <p:grpSpPr>
              <a:xfrm>
                <a:off x="6677046" y="4774238"/>
                <a:ext cx="263793" cy="270889"/>
                <a:chOff x="4532530" y="3060827"/>
                <a:chExt cx="263793" cy="270889"/>
              </a:xfrm>
            </p:grpSpPr>
            <p:sp>
              <p:nvSpPr>
                <p:cNvPr id="175" name="Oval 174">
                  <a:extLst>
                    <a:ext uri="{FF2B5EF4-FFF2-40B4-BE49-F238E27FC236}">
                      <a16:creationId xmlns:a16="http://schemas.microsoft.com/office/drawing/2014/main" id="{70C90EAC-4FBD-469B-9CBB-75B715D44FEE}"/>
                    </a:ext>
                  </a:extLst>
                </p:cNvPr>
                <p:cNvSpPr/>
                <p:nvPr/>
              </p:nvSpPr>
              <p:spPr bwMode="auto">
                <a:xfrm>
                  <a:off x="4537689" y="3064634"/>
                  <a:ext cx="258634" cy="244078"/>
                </a:xfrm>
                <a:prstGeom prst="ellipse">
                  <a:avLst/>
                </a:prstGeom>
                <a:solidFill>
                  <a:srgbClr val="CC33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76" name="Freeform: Shape 175">
                  <a:extLst>
                    <a:ext uri="{FF2B5EF4-FFF2-40B4-BE49-F238E27FC236}">
                      <a16:creationId xmlns:a16="http://schemas.microsoft.com/office/drawing/2014/main" id="{F85C7B75-ACCA-4E9E-88F9-5FCCCA6FCFD0}"/>
                    </a:ext>
                  </a:extLst>
                </p:cNvPr>
                <p:cNvSpPr/>
                <p:nvPr/>
              </p:nvSpPr>
              <p:spPr bwMode="auto">
                <a:xfrm>
                  <a:off x="4608832" y="3060827"/>
                  <a:ext cx="184433" cy="158834"/>
                </a:xfrm>
                <a:custGeom>
                  <a:avLst/>
                  <a:gdLst>
                    <a:gd name="connsiteX0" fmla="*/ 521 w 177971"/>
                    <a:gd name="connsiteY0" fmla="*/ 10033 h 158834"/>
                    <a:gd name="connsiteX1" fmla="*/ 74816 w 177971"/>
                    <a:gd name="connsiteY1" fmla="*/ 508 h 158834"/>
                    <a:gd name="connsiteX2" fmla="*/ 126251 w 177971"/>
                    <a:gd name="connsiteY2" fmla="*/ 23368 h 158834"/>
                    <a:gd name="connsiteX3" fmla="*/ 160541 w 177971"/>
                    <a:gd name="connsiteY3" fmla="*/ 69088 h 158834"/>
                    <a:gd name="connsiteX4" fmla="*/ 171971 w 177971"/>
                    <a:gd name="connsiteY4" fmla="*/ 107188 h 158834"/>
                    <a:gd name="connsiteX5" fmla="*/ 175781 w 177971"/>
                    <a:gd name="connsiteY5" fmla="*/ 156718 h 158834"/>
                    <a:gd name="connsiteX6" fmla="*/ 137681 w 177971"/>
                    <a:gd name="connsiteY6" fmla="*/ 143383 h 158834"/>
                    <a:gd name="connsiteX7" fmla="*/ 133871 w 177971"/>
                    <a:gd name="connsiteY7" fmla="*/ 86233 h 158834"/>
                    <a:gd name="connsiteX8" fmla="*/ 111011 w 177971"/>
                    <a:gd name="connsiteY8" fmla="*/ 67183 h 158834"/>
                    <a:gd name="connsiteX9" fmla="*/ 82436 w 177971"/>
                    <a:gd name="connsiteY9" fmla="*/ 44323 h 158834"/>
                    <a:gd name="connsiteX10" fmla="*/ 71006 w 177971"/>
                    <a:gd name="connsiteY10" fmla="*/ 36703 h 158834"/>
                    <a:gd name="connsiteX11" fmla="*/ 42431 w 177971"/>
                    <a:gd name="connsiteY11" fmla="*/ 38608 h 158834"/>
                    <a:gd name="connsiteX12" fmla="*/ 521 w 177971"/>
                    <a:gd name="connsiteY12" fmla="*/ 10033 h 15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971" h="158834">
                      <a:moveTo>
                        <a:pt x="521" y="10033"/>
                      </a:moveTo>
                      <a:cubicBezTo>
                        <a:pt x="5918" y="3683"/>
                        <a:pt x="53861" y="-1714"/>
                        <a:pt x="74816" y="508"/>
                      </a:cubicBezTo>
                      <a:cubicBezTo>
                        <a:pt x="95771" y="2730"/>
                        <a:pt x="111963" y="11938"/>
                        <a:pt x="126251" y="23368"/>
                      </a:cubicBezTo>
                      <a:cubicBezTo>
                        <a:pt x="140539" y="34798"/>
                        <a:pt x="152921" y="55118"/>
                        <a:pt x="160541" y="69088"/>
                      </a:cubicBezTo>
                      <a:cubicBezTo>
                        <a:pt x="168161" y="83058"/>
                        <a:pt x="169431" y="92583"/>
                        <a:pt x="171971" y="107188"/>
                      </a:cubicBezTo>
                      <a:cubicBezTo>
                        <a:pt x="174511" y="121793"/>
                        <a:pt x="181496" y="150685"/>
                        <a:pt x="175781" y="156718"/>
                      </a:cubicBezTo>
                      <a:cubicBezTo>
                        <a:pt x="170066" y="162751"/>
                        <a:pt x="144666" y="155130"/>
                        <a:pt x="137681" y="143383"/>
                      </a:cubicBezTo>
                      <a:cubicBezTo>
                        <a:pt x="130696" y="131636"/>
                        <a:pt x="138316" y="98933"/>
                        <a:pt x="133871" y="86233"/>
                      </a:cubicBezTo>
                      <a:cubicBezTo>
                        <a:pt x="129426" y="73533"/>
                        <a:pt x="119583" y="74168"/>
                        <a:pt x="111011" y="67183"/>
                      </a:cubicBezTo>
                      <a:cubicBezTo>
                        <a:pt x="102439" y="60198"/>
                        <a:pt x="89103" y="49403"/>
                        <a:pt x="82436" y="44323"/>
                      </a:cubicBezTo>
                      <a:cubicBezTo>
                        <a:pt x="75769" y="39243"/>
                        <a:pt x="77674" y="37656"/>
                        <a:pt x="71006" y="36703"/>
                      </a:cubicBezTo>
                      <a:cubicBezTo>
                        <a:pt x="64339" y="35751"/>
                        <a:pt x="51638" y="37338"/>
                        <a:pt x="42431" y="38608"/>
                      </a:cubicBezTo>
                      <a:cubicBezTo>
                        <a:pt x="33224" y="39878"/>
                        <a:pt x="-4876" y="16383"/>
                        <a:pt x="521" y="1003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77" name="Freeform: Shape 176">
                  <a:extLst>
                    <a:ext uri="{FF2B5EF4-FFF2-40B4-BE49-F238E27FC236}">
                      <a16:creationId xmlns:a16="http://schemas.microsoft.com/office/drawing/2014/main" id="{84D27A17-3D4D-44DB-BFA8-1F2D790092A3}"/>
                    </a:ext>
                  </a:extLst>
                </p:cNvPr>
                <p:cNvSpPr/>
                <p:nvPr/>
              </p:nvSpPr>
              <p:spPr bwMode="auto">
                <a:xfrm rot="7525021">
                  <a:off x="4586895" y="3160083"/>
                  <a:ext cx="184433" cy="158834"/>
                </a:xfrm>
                <a:custGeom>
                  <a:avLst/>
                  <a:gdLst>
                    <a:gd name="connsiteX0" fmla="*/ 521 w 177971"/>
                    <a:gd name="connsiteY0" fmla="*/ 10033 h 158834"/>
                    <a:gd name="connsiteX1" fmla="*/ 74816 w 177971"/>
                    <a:gd name="connsiteY1" fmla="*/ 508 h 158834"/>
                    <a:gd name="connsiteX2" fmla="*/ 126251 w 177971"/>
                    <a:gd name="connsiteY2" fmla="*/ 23368 h 158834"/>
                    <a:gd name="connsiteX3" fmla="*/ 160541 w 177971"/>
                    <a:gd name="connsiteY3" fmla="*/ 69088 h 158834"/>
                    <a:gd name="connsiteX4" fmla="*/ 171971 w 177971"/>
                    <a:gd name="connsiteY4" fmla="*/ 107188 h 158834"/>
                    <a:gd name="connsiteX5" fmla="*/ 175781 w 177971"/>
                    <a:gd name="connsiteY5" fmla="*/ 156718 h 158834"/>
                    <a:gd name="connsiteX6" fmla="*/ 137681 w 177971"/>
                    <a:gd name="connsiteY6" fmla="*/ 143383 h 158834"/>
                    <a:gd name="connsiteX7" fmla="*/ 133871 w 177971"/>
                    <a:gd name="connsiteY7" fmla="*/ 86233 h 158834"/>
                    <a:gd name="connsiteX8" fmla="*/ 111011 w 177971"/>
                    <a:gd name="connsiteY8" fmla="*/ 67183 h 158834"/>
                    <a:gd name="connsiteX9" fmla="*/ 82436 w 177971"/>
                    <a:gd name="connsiteY9" fmla="*/ 44323 h 158834"/>
                    <a:gd name="connsiteX10" fmla="*/ 71006 w 177971"/>
                    <a:gd name="connsiteY10" fmla="*/ 36703 h 158834"/>
                    <a:gd name="connsiteX11" fmla="*/ 42431 w 177971"/>
                    <a:gd name="connsiteY11" fmla="*/ 38608 h 158834"/>
                    <a:gd name="connsiteX12" fmla="*/ 521 w 177971"/>
                    <a:gd name="connsiteY12" fmla="*/ 10033 h 15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971" h="158834">
                      <a:moveTo>
                        <a:pt x="521" y="10033"/>
                      </a:moveTo>
                      <a:cubicBezTo>
                        <a:pt x="5918" y="3683"/>
                        <a:pt x="53861" y="-1714"/>
                        <a:pt x="74816" y="508"/>
                      </a:cubicBezTo>
                      <a:cubicBezTo>
                        <a:pt x="95771" y="2730"/>
                        <a:pt x="111963" y="11938"/>
                        <a:pt x="126251" y="23368"/>
                      </a:cubicBezTo>
                      <a:cubicBezTo>
                        <a:pt x="140539" y="34798"/>
                        <a:pt x="152921" y="55118"/>
                        <a:pt x="160541" y="69088"/>
                      </a:cubicBezTo>
                      <a:cubicBezTo>
                        <a:pt x="168161" y="83058"/>
                        <a:pt x="169431" y="92583"/>
                        <a:pt x="171971" y="107188"/>
                      </a:cubicBezTo>
                      <a:cubicBezTo>
                        <a:pt x="174511" y="121793"/>
                        <a:pt x="181496" y="150685"/>
                        <a:pt x="175781" y="156718"/>
                      </a:cubicBezTo>
                      <a:cubicBezTo>
                        <a:pt x="170066" y="162751"/>
                        <a:pt x="144666" y="155130"/>
                        <a:pt x="137681" y="143383"/>
                      </a:cubicBezTo>
                      <a:cubicBezTo>
                        <a:pt x="130696" y="131636"/>
                        <a:pt x="138316" y="98933"/>
                        <a:pt x="133871" y="86233"/>
                      </a:cubicBezTo>
                      <a:cubicBezTo>
                        <a:pt x="129426" y="73533"/>
                        <a:pt x="119583" y="74168"/>
                        <a:pt x="111011" y="67183"/>
                      </a:cubicBezTo>
                      <a:cubicBezTo>
                        <a:pt x="102439" y="60198"/>
                        <a:pt x="89103" y="49403"/>
                        <a:pt x="82436" y="44323"/>
                      </a:cubicBezTo>
                      <a:cubicBezTo>
                        <a:pt x="75769" y="39243"/>
                        <a:pt x="77674" y="37656"/>
                        <a:pt x="71006" y="36703"/>
                      </a:cubicBezTo>
                      <a:cubicBezTo>
                        <a:pt x="64339" y="35751"/>
                        <a:pt x="51638" y="37338"/>
                        <a:pt x="42431" y="38608"/>
                      </a:cubicBezTo>
                      <a:cubicBezTo>
                        <a:pt x="33224" y="39878"/>
                        <a:pt x="-4876" y="16383"/>
                        <a:pt x="521" y="1003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78" name="Freeform: Shape 177">
                  <a:extLst>
                    <a:ext uri="{FF2B5EF4-FFF2-40B4-BE49-F238E27FC236}">
                      <a16:creationId xmlns:a16="http://schemas.microsoft.com/office/drawing/2014/main" id="{F45D3F86-243F-4524-A9E2-F2C897514164}"/>
                    </a:ext>
                  </a:extLst>
                </p:cNvPr>
                <p:cNvSpPr/>
                <p:nvPr/>
              </p:nvSpPr>
              <p:spPr bwMode="auto">
                <a:xfrm rot="14994962">
                  <a:off x="4524296" y="3087063"/>
                  <a:ext cx="175302" cy="158834"/>
                </a:xfrm>
                <a:custGeom>
                  <a:avLst/>
                  <a:gdLst>
                    <a:gd name="connsiteX0" fmla="*/ 521 w 177971"/>
                    <a:gd name="connsiteY0" fmla="*/ 10033 h 158834"/>
                    <a:gd name="connsiteX1" fmla="*/ 74816 w 177971"/>
                    <a:gd name="connsiteY1" fmla="*/ 508 h 158834"/>
                    <a:gd name="connsiteX2" fmla="*/ 126251 w 177971"/>
                    <a:gd name="connsiteY2" fmla="*/ 23368 h 158834"/>
                    <a:gd name="connsiteX3" fmla="*/ 160541 w 177971"/>
                    <a:gd name="connsiteY3" fmla="*/ 69088 h 158834"/>
                    <a:gd name="connsiteX4" fmla="*/ 171971 w 177971"/>
                    <a:gd name="connsiteY4" fmla="*/ 107188 h 158834"/>
                    <a:gd name="connsiteX5" fmla="*/ 175781 w 177971"/>
                    <a:gd name="connsiteY5" fmla="*/ 156718 h 158834"/>
                    <a:gd name="connsiteX6" fmla="*/ 137681 w 177971"/>
                    <a:gd name="connsiteY6" fmla="*/ 143383 h 158834"/>
                    <a:gd name="connsiteX7" fmla="*/ 133871 w 177971"/>
                    <a:gd name="connsiteY7" fmla="*/ 86233 h 158834"/>
                    <a:gd name="connsiteX8" fmla="*/ 111011 w 177971"/>
                    <a:gd name="connsiteY8" fmla="*/ 67183 h 158834"/>
                    <a:gd name="connsiteX9" fmla="*/ 82436 w 177971"/>
                    <a:gd name="connsiteY9" fmla="*/ 44323 h 158834"/>
                    <a:gd name="connsiteX10" fmla="*/ 71006 w 177971"/>
                    <a:gd name="connsiteY10" fmla="*/ 36703 h 158834"/>
                    <a:gd name="connsiteX11" fmla="*/ 42431 w 177971"/>
                    <a:gd name="connsiteY11" fmla="*/ 38608 h 158834"/>
                    <a:gd name="connsiteX12" fmla="*/ 521 w 177971"/>
                    <a:gd name="connsiteY12" fmla="*/ 10033 h 1588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971" h="158834">
                      <a:moveTo>
                        <a:pt x="521" y="10033"/>
                      </a:moveTo>
                      <a:cubicBezTo>
                        <a:pt x="5918" y="3683"/>
                        <a:pt x="53861" y="-1714"/>
                        <a:pt x="74816" y="508"/>
                      </a:cubicBezTo>
                      <a:cubicBezTo>
                        <a:pt x="95771" y="2730"/>
                        <a:pt x="111963" y="11938"/>
                        <a:pt x="126251" y="23368"/>
                      </a:cubicBezTo>
                      <a:cubicBezTo>
                        <a:pt x="140539" y="34798"/>
                        <a:pt x="152921" y="55118"/>
                        <a:pt x="160541" y="69088"/>
                      </a:cubicBezTo>
                      <a:cubicBezTo>
                        <a:pt x="168161" y="83058"/>
                        <a:pt x="169431" y="92583"/>
                        <a:pt x="171971" y="107188"/>
                      </a:cubicBezTo>
                      <a:cubicBezTo>
                        <a:pt x="174511" y="121793"/>
                        <a:pt x="181496" y="150685"/>
                        <a:pt x="175781" y="156718"/>
                      </a:cubicBezTo>
                      <a:cubicBezTo>
                        <a:pt x="170066" y="162751"/>
                        <a:pt x="144666" y="155130"/>
                        <a:pt x="137681" y="143383"/>
                      </a:cubicBezTo>
                      <a:cubicBezTo>
                        <a:pt x="130696" y="131636"/>
                        <a:pt x="138316" y="98933"/>
                        <a:pt x="133871" y="86233"/>
                      </a:cubicBezTo>
                      <a:cubicBezTo>
                        <a:pt x="129426" y="73533"/>
                        <a:pt x="119583" y="74168"/>
                        <a:pt x="111011" y="67183"/>
                      </a:cubicBezTo>
                      <a:cubicBezTo>
                        <a:pt x="102439" y="60198"/>
                        <a:pt x="89103" y="49403"/>
                        <a:pt x="82436" y="44323"/>
                      </a:cubicBezTo>
                      <a:cubicBezTo>
                        <a:pt x="75769" y="39243"/>
                        <a:pt x="77674" y="37656"/>
                        <a:pt x="71006" y="36703"/>
                      </a:cubicBezTo>
                      <a:cubicBezTo>
                        <a:pt x="64339" y="35751"/>
                        <a:pt x="51638" y="37338"/>
                        <a:pt x="42431" y="38608"/>
                      </a:cubicBezTo>
                      <a:cubicBezTo>
                        <a:pt x="33224" y="39878"/>
                        <a:pt x="-4876" y="16383"/>
                        <a:pt x="521" y="10033"/>
                      </a:cubicBezTo>
                      <a:close/>
                    </a:path>
                  </a:pathLst>
                </a:custGeom>
                <a:solidFill>
                  <a:srgbClr val="A59AC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79" name="Freeform 50">
                  <a:extLst>
                    <a:ext uri="{FF2B5EF4-FFF2-40B4-BE49-F238E27FC236}">
                      <a16:creationId xmlns:a16="http://schemas.microsoft.com/office/drawing/2014/main" id="{16B4E8BC-D929-4B70-8F08-E606DF6CDB18}"/>
                    </a:ext>
                  </a:extLst>
                </p:cNvPr>
                <p:cNvSpPr>
                  <a:spLocks/>
                </p:cNvSpPr>
                <p:nvPr/>
              </p:nvSpPr>
              <p:spPr bwMode="auto">
                <a:xfrm rot="20964333">
                  <a:off x="4705520" y="3085687"/>
                  <a:ext cx="45719" cy="45719"/>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80" name="Freeform 50">
                  <a:extLst>
                    <a:ext uri="{FF2B5EF4-FFF2-40B4-BE49-F238E27FC236}">
                      <a16:creationId xmlns:a16="http://schemas.microsoft.com/office/drawing/2014/main" id="{16EB8779-6B13-4300-9A3D-2BACF7564A6C}"/>
                    </a:ext>
                  </a:extLst>
                </p:cNvPr>
                <p:cNvSpPr>
                  <a:spLocks/>
                </p:cNvSpPr>
                <p:nvPr/>
              </p:nvSpPr>
              <p:spPr bwMode="auto">
                <a:xfrm rot="17294481">
                  <a:off x="4677013" y="3258237"/>
                  <a:ext cx="45719" cy="45719"/>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81" name="Freeform 50">
                  <a:extLst>
                    <a:ext uri="{FF2B5EF4-FFF2-40B4-BE49-F238E27FC236}">
                      <a16:creationId xmlns:a16="http://schemas.microsoft.com/office/drawing/2014/main" id="{FAF25BA3-0B80-4E9F-AEBA-76552B1CF5C3}"/>
                    </a:ext>
                  </a:extLst>
                </p:cNvPr>
                <p:cNvSpPr>
                  <a:spLocks/>
                </p:cNvSpPr>
                <p:nvPr/>
              </p:nvSpPr>
              <p:spPr bwMode="auto">
                <a:xfrm rot="14815092">
                  <a:off x="4550366" y="3129915"/>
                  <a:ext cx="45719" cy="45719"/>
                </a:xfrm>
                <a:custGeom>
                  <a:avLst/>
                  <a:gdLst>
                    <a:gd name="T0" fmla="*/ 3 w 13"/>
                    <a:gd name="T1" fmla="*/ 12 h 19"/>
                    <a:gd name="T2" fmla="*/ 11 w 13"/>
                    <a:gd name="T3" fmla="*/ 18 h 19"/>
                    <a:gd name="T4" fmla="*/ 11 w 13"/>
                    <a:gd name="T5" fmla="*/ 6 h 19"/>
                    <a:gd name="T6" fmla="*/ 3 w 13"/>
                    <a:gd name="T7" fmla="*/ 1 h 19"/>
                    <a:gd name="T8" fmla="*/ 3 w 13"/>
                    <a:gd name="T9" fmla="*/ 12 h 19"/>
                  </a:gdLst>
                  <a:ahLst/>
                  <a:cxnLst>
                    <a:cxn ang="0">
                      <a:pos x="T0" y="T1"/>
                    </a:cxn>
                    <a:cxn ang="0">
                      <a:pos x="T2" y="T3"/>
                    </a:cxn>
                    <a:cxn ang="0">
                      <a:pos x="T4" y="T5"/>
                    </a:cxn>
                    <a:cxn ang="0">
                      <a:pos x="T6" y="T7"/>
                    </a:cxn>
                    <a:cxn ang="0">
                      <a:pos x="T8" y="T9"/>
                    </a:cxn>
                  </a:cxnLst>
                  <a:rect l="0" t="0" r="r" b="b"/>
                  <a:pathLst>
                    <a:path w="13" h="19">
                      <a:moveTo>
                        <a:pt x="3" y="12"/>
                      </a:moveTo>
                      <a:cubicBezTo>
                        <a:pt x="5" y="17"/>
                        <a:pt x="9" y="19"/>
                        <a:pt x="11" y="18"/>
                      </a:cubicBezTo>
                      <a:cubicBezTo>
                        <a:pt x="13" y="16"/>
                        <a:pt x="13" y="11"/>
                        <a:pt x="11" y="6"/>
                      </a:cubicBezTo>
                      <a:cubicBezTo>
                        <a:pt x="9" y="2"/>
                        <a:pt x="5" y="0"/>
                        <a:pt x="3" y="1"/>
                      </a:cubicBezTo>
                      <a:cubicBezTo>
                        <a:pt x="0" y="3"/>
                        <a:pt x="0" y="8"/>
                        <a:pt x="3" y="12"/>
                      </a:cubicBezTo>
                      <a:close/>
                    </a:path>
                  </a:pathLst>
                </a:cu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82" name="Group 81">
                <a:extLst>
                  <a:ext uri="{FF2B5EF4-FFF2-40B4-BE49-F238E27FC236}">
                    <a16:creationId xmlns:a16="http://schemas.microsoft.com/office/drawing/2014/main" id="{5EEC2158-320C-4A33-AB27-03FD5836DFAA}"/>
                  </a:ext>
                </a:extLst>
              </p:cNvPr>
              <p:cNvGrpSpPr/>
              <p:nvPr/>
            </p:nvGrpSpPr>
            <p:grpSpPr>
              <a:xfrm rot="16625486">
                <a:off x="4764696" y="3609538"/>
                <a:ext cx="371831" cy="449659"/>
                <a:chOff x="3454982" y="1623694"/>
                <a:chExt cx="522226" cy="488747"/>
              </a:xfrm>
            </p:grpSpPr>
            <p:sp>
              <p:nvSpPr>
                <p:cNvPr id="173" name="Freeform 117">
                  <a:extLst>
                    <a:ext uri="{FF2B5EF4-FFF2-40B4-BE49-F238E27FC236}">
                      <a16:creationId xmlns:a16="http://schemas.microsoft.com/office/drawing/2014/main" id="{ABCD7DC0-28E5-48EE-80E7-3A1D24E6753B}"/>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74" name="Freeform 118">
                  <a:extLst>
                    <a:ext uri="{FF2B5EF4-FFF2-40B4-BE49-F238E27FC236}">
                      <a16:creationId xmlns:a16="http://schemas.microsoft.com/office/drawing/2014/main" id="{CA670B31-BAA8-40F3-8460-896363BE9063}"/>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83" name="Group 82">
                <a:extLst>
                  <a:ext uri="{FF2B5EF4-FFF2-40B4-BE49-F238E27FC236}">
                    <a16:creationId xmlns:a16="http://schemas.microsoft.com/office/drawing/2014/main" id="{7A0A094B-C9FA-4C01-9D29-1B219C8C98D6}"/>
                  </a:ext>
                </a:extLst>
              </p:cNvPr>
              <p:cNvGrpSpPr/>
              <p:nvPr/>
            </p:nvGrpSpPr>
            <p:grpSpPr>
              <a:xfrm rot="15075261">
                <a:off x="4915363" y="4109612"/>
                <a:ext cx="371831" cy="449659"/>
                <a:chOff x="3454982" y="1623694"/>
                <a:chExt cx="522226" cy="488747"/>
              </a:xfrm>
            </p:grpSpPr>
            <p:sp>
              <p:nvSpPr>
                <p:cNvPr id="171" name="Freeform 117">
                  <a:extLst>
                    <a:ext uri="{FF2B5EF4-FFF2-40B4-BE49-F238E27FC236}">
                      <a16:creationId xmlns:a16="http://schemas.microsoft.com/office/drawing/2014/main" id="{25F08967-D3C9-44DF-A663-65C8AE3A79BF}"/>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72" name="Freeform 118">
                  <a:extLst>
                    <a:ext uri="{FF2B5EF4-FFF2-40B4-BE49-F238E27FC236}">
                      <a16:creationId xmlns:a16="http://schemas.microsoft.com/office/drawing/2014/main" id="{C3054716-BC77-40F1-BCB0-9A134B140E13}"/>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84" name="Group 83">
                <a:extLst>
                  <a:ext uri="{FF2B5EF4-FFF2-40B4-BE49-F238E27FC236}">
                    <a16:creationId xmlns:a16="http://schemas.microsoft.com/office/drawing/2014/main" id="{1D0261B2-FB99-4160-B8A4-6E7A72AAB5F8}"/>
                  </a:ext>
                </a:extLst>
              </p:cNvPr>
              <p:cNvGrpSpPr/>
              <p:nvPr/>
            </p:nvGrpSpPr>
            <p:grpSpPr>
              <a:xfrm rot="13105861">
                <a:off x="5250702" y="4452442"/>
                <a:ext cx="371831" cy="449659"/>
                <a:chOff x="3454982" y="1623694"/>
                <a:chExt cx="522226" cy="488747"/>
              </a:xfrm>
            </p:grpSpPr>
            <p:sp>
              <p:nvSpPr>
                <p:cNvPr id="169" name="Freeform 117">
                  <a:extLst>
                    <a:ext uri="{FF2B5EF4-FFF2-40B4-BE49-F238E27FC236}">
                      <a16:creationId xmlns:a16="http://schemas.microsoft.com/office/drawing/2014/main" id="{B092A8F1-994B-42D6-ADE2-21B8CD37EABF}"/>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70" name="Freeform 118">
                  <a:extLst>
                    <a:ext uri="{FF2B5EF4-FFF2-40B4-BE49-F238E27FC236}">
                      <a16:creationId xmlns:a16="http://schemas.microsoft.com/office/drawing/2014/main" id="{ADB01691-7BAB-450A-A289-A8459B22E990}"/>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85" name="Group 84">
                <a:extLst>
                  <a:ext uri="{FF2B5EF4-FFF2-40B4-BE49-F238E27FC236}">
                    <a16:creationId xmlns:a16="http://schemas.microsoft.com/office/drawing/2014/main" id="{1E60E5CF-7ADD-4438-B8BD-B29E31B268D6}"/>
                  </a:ext>
                </a:extLst>
              </p:cNvPr>
              <p:cNvGrpSpPr/>
              <p:nvPr/>
            </p:nvGrpSpPr>
            <p:grpSpPr>
              <a:xfrm rot="11413741">
                <a:off x="5733324" y="4573776"/>
                <a:ext cx="371831" cy="449659"/>
                <a:chOff x="3454982" y="1623694"/>
                <a:chExt cx="522226" cy="488747"/>
              </a:xfrm>
            </p:grpSpPr>
            <p:sp>
              <p:nvSpPr>
                <p:cNvPr id="167" name="Freeform 117">
                  <a:extLst>
                    <a:ext uri="{FF2B5EF4-FFF2-40B4-BE49-F238E27FC236}">
                      <a16:creationId xmlns:a16="http://schemas.microsoft.com/office/drawing/2014/main" id="{B506D7DF-23D7-4B95-B7DD-C0133E0C7EFE}"/>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68" name="Freeform 118">
                  <a:extLst>
                    <a:ext uri="{FF2B5EF4-FFF2-40B4-BE49-F238E27FC236}">
                      <a16:creationId xmlns:a16="http://schemas.microsoft.com/office/drawing/2014/main" id="{AC7CE430-258E-407C-8CD4-05225D2B74D1}"/>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86" name="Group 85">
                <a:extLst>
                  <a:ext uri="{FF2B5EF4-FFF2-40B4-BE49-F238E27FC236}">
                    <a16:creationId xmlns:a16="http://schemas.microsoft.com/office/drawing/2014/main" id="{722EE75F-A303-4CD2-B115-FED704D3E5E7}"/>
                  </a:ext>
                </a:extLst>
              </p:cNvPr>
              <p:cNvGrpSpPr/>
              <p:nvPr/>
            </p:nvGrpSpPr>
            <p:grpSpPr>
              <a:xfrm rot="9813991">
                <a:off x="6221432" y="4451501"/>
                <a:ext cx="371831" cy="449659"/>
                <a:chOff x="3454982" y="1623694"/>
                <a:chExt cx="522226" cy="488747"/>
              </a:xfrm>
            </p:grpSpPr>
            <p:sp>
              <p:nvSpPr>
                <p:cNvPr id="165" name="Freeform 117">
                  <a:extLst>
                    <a:ext uri="{FF2B5EF4-FFF2-40B4-BE49-F238E27FC236}">
                      <a16:creationId xmlns:a16="http://schemas.microsoft.com/office/drawing/2014/main" id="{3FC08F39-4BE5-48B7-89AF-256A7F95F68D}"/>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66" name="Freeform 118">
                  <a:extLst>
                    <a:ext uri="{FF2B5EF4-FFF2-40B4-BE49-F238E27FC236}">
                      <a16:creationId xmlns:a16="http://schemas.microsoft.com/office/drawing/2014/main" id="{C25CDA2F-621D-457E-8318-5ED200770099}"/>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87" name="Group 86">
                <a:extLst>
                  <a:ext uri="{FF2B5EF4-FFF2-40B4-BE49-F238E27FC236}">
                    <a16:creationId xmlns:a16="http://schemas.microsoft.com/office/drawing/2014/main" id="{123439EA-CA9D-45E8-A6E9-3BEA771A095D}"/>
                  </a:ext>
                </a:extLst>
              </p:cNvPr>
              <p:cNvGrpSpPr/>
              <p:nvPr/>
            </p:nvGrpSpPr>
            <p:grpSpPr>
              <a:xfrm rot="7782131">
                <a:off x="6570129" y="4102519"/>
                <a:ext cx="371831" cy="449659"/>
                <a:chOff x="3454982" y="1623694"/>
                <a:chExt cx="522226" cy="488747"/>
              </a:xfrm>
            </p:grpSpPr>
            <p:sp>
              <p:nvSpPr>
                <p:cNvPr id="163" name="Freeform 117">
                  <a:extLst>
                    <a:ext uri="{FF2B5EF4-FFF2-40B4-BE49-F238E27FC236}">
                      <a16:creationId xmlns:a16="http://schemas.microsoft.com/office/drawing/2014/main" id="{588598E3-0A4E-475A-950E-19F865D742F6}"/>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64" name="Freeform 118">
                  <a:extLst>
                    <a:ext uri="{FF2B5EF4-FFF2-40B4-BE49-F238E27FC236}">
                      <a16:creationId xmlns:a16="http://schemas.microsoft.com/office/drawing/2014/main" id="{6E4AB720-18FC-4827-AFCA-B032C0299FB6}"/>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88" name="Group 87">
                <a:extLst>
                  <a:ext uri="{FF2B5EF4-FFF2-40B4-BE49-F238E27FC236}">
                    <a16:creationId xmlns:a16="http://schemas.microsoft.com/office/drawing/2014/main" id="{62AB7317-86C4-413F-8310-F929462C4746}"/>
                  </a:ext>
                </a:extLst>
              </p:cNvPr>
              <p:cNvGrpSpPr/>
              <p:nvPr/>
            </p:nvGrpSpPr>
            <p:grpSpPr>
              <a:xfrm rot="7782131">
                <a:off x="6397920" y="3997513"/>
                <a:ext cx="371831" cy="449659"/>
                <a:chOff x="3454982" y="1623694"/>
                <a:chExt cx="522226" cy="488747"/>
              </a:xfrm>
            </p:grpSpPr>
            <p:sp>
              <p:nvSpPr>
                <p:cNvPr id="161" name="Freeform 117">
                  <a:extLst>
                    <a:ext uri="{FF2B5EF4-FFF2-40B4-BE49-F238E27FC236}">
                      <a16:creationId xmlns:a16="http://schemas.microsoft.com/office/drawing/2014/main" id="{BBB95579-A5E0-4850-A766-B60E7876B1FB}"/>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62" name="Freeform 118">
                  <a:extLst>
                    <a:ext uri="{FF2B5EF4-FFF2-40B4-BE49-F238E27FC236}">
                      <a16:creationId xmlns:a16="http://schemas.microsoft.com/office/drawing/2014/main" id="{94981645-8310-495D-8FCF-D62068617E9A}"/>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89" name="Group 88">
                <a:extLst>
                  <a:ext uri="{FF2B5EF4-FFF2-40B4-BE49-F238E27FC236}">
                    <a16:creationId xmlns:a16="http://schemas.microsoft.com/office/drawing/2014/main" id="{1D7A84B6-0179-4F81-8157-DA9BA2627B36}"/>
                  </a:ext>
                </a:extLst>
              </p:cNvPr>
              <p:cNvGrpSpPr/>
              <p:nvPr/>
            </p:nvGrpSpPr>
            <p:grpSpPr>
              <a:xfrm rot="6669716">
                <a:off x="6565877" y="3830370"/>
                <a:ext cx="371831" cy="449659"/>
                <a:chOff x="3454982" y="1623694"/>
                <a:chExt cx="522226" cy="488747"/>
              </a:xfrm>
            </p:grpSpPr>
            <p:sp>
              <p:nvSpPr>
                <p:cNvPr id="159" name="Freeform 117">
                  <a:extLst>
                    <a:ext uri="{FF2B5EF4-FFF2-40B4-BE49-F238E27FC236}">
                      <a16:creationId xmlns:a16="http://schemas.microsoft.com/office/drawing/2014/main" id="{4AF0146D-E424-4D01-93ED-752622DDB822}"/>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60" name="Freeform 118">
                  <a:extLst>
                    <a:ext uri="{FF2B5EF4-FFF2-40B4-BE49-F238E27FC236}">
                      <a16:creationId xmlns:a16="http://schemas.microsoft.com/office/drawing/2014/main" id="{30F1F95B-C62E-42DA-BE31-9AB6C819153D}"/>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90" name="Group 89">
                <a:extLst>
                  <a:ext uri="{FF2B5EF4-FFF2-40B4-BE49-F238E27FC236}">
                    <a16:creationId xmlns:a16="http://schemas.microsoft.com/office/drawing/2014/main" id="{6FAEB151-FB55-4CCB-A03B-A00654B07B6B}"/>
                  </a:ext>
                </a:extLst>
              </p:cNvPr>
              <p:cNvGrpSpPr/>
              <p:nvPr/>
            </p:nvGrpSpPr>
            <p:grpSpPr>
              <a:xfrm rot="8309845">
                <a:off x="6342719" y="4230440"/>
                <a:ext cx="371831" cy="397662"/>
                <a:chOff x="3454982" y="1623694"/>
                <a:chExt cx="522226" cy="488747"/>
              </a:xfrm>
            </p:grpSpPr>
            <p:sp>
              <p:nvSpPr>
                <p:cNvPr id="157" name="Freeform 117">
                  <a:extLst>
                    <a:ext uri="{FF2B5EF4-FFF2-40B4-BE49-F238E27FC236}">
                      <a16:creationId xmlns:a16="http://schemas.microsoft.com/office/drawing/2014/main" id="{A18040F7-B0E6-43D8-B8C3-AEC4C4086FBD}"/>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58" name="Freeform 118">
                  <a:extLst>
                    <a:ext uri="{FF2B5EF4-FFF2-40B4-BE49-F238E27FC236}">
                      <a16:creationId xmlns:a16="http://schemas.microsoft.com/office/drawing/2014/main" id="{1ED1EA29-82CD-4763-9FC5-1D00DACE91F3}"/>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91" name="Group 90">
                <a:extLst>
                  <a:ext uri="{FF2B5EF4-FFF2-40B4-BE49-F238E27FC236}">
                    <a16:creationId xmlns:a16="http://schemas.microsoft.com/office/drawing/2014/main" id="{5350A02C-63F8-4E94-A7EF-7344EC7C67E5}"/>
                  </a:ext>
                </a:extLst>
              </p:cNvPr>
              <p:cNvGrpSpPr/>
              <p:nvPr/>
            </p:nvGrpSpPr>
            <p:grpSpPr>
              <a:xfrm rot="11873110">
                <a:off x="5729781" y="4372807"/>
                <a:ext cx="371831" cy="449659"/>
                <a:chOff x="3454982" y="1623694"/>
                <a:chExt cx="522226" cy="488747"/>
              </a:xfrm>
            </p:grpSpPr>
            <p:sp>
              <p:nvSpPr>
                <p:cNvPr id="155" name="Freeform 117">
                  <a:extLst>
                    <a:ext uri="{FF2B5EF4-FFF2-40B4-BE49-F238E27FC236}">
                      <a16:creationId xmlns:a16="http://schemas.microsoft.com/office/drawing/2014/main" id="{53D7B358-FE63-46F8-BC3B-51CA4CA10512}"/>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56" name="Freeform 118">
                  <a:extLst>
                    <a:ext uri="{FF2B5EF4-FFF2-40B4-BE49-F238E27FC236}">
                      <a16:creationId xmlns:a16="http://schemas.microsoft.com/office/drawing/2014/main" id="{6715ED9E-2340-45CC-8CC8-7212282C8689}"/>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92" name="Group 91">
                <a:extLst>
                  <a:ext uri="{FF2B5EF4-FFF2-40B4-BE49-F238E27FC236}">
                    <a16:creationId xmlns:a16="http://schemas.microsoft.com/office/drawing/2014/main" id="{F887E61B-E123-4C1F-B930-96D0354AC31F}"/>
                  </a:ext>
                </a:extLst>
              </p:cNvPr>
              <p:cNvGrpSpPr/>
              <p:nvPr/>
            </p:nvGrpSpPr>
            <p:grpSpPr>
              <a:xfrm rot="12477406">
                <a:off x="5507645" y="4428880"/>
                <a:ext cx="371831" cy="449659"/>
                <a:chOff x="3454981" y="1623694"/>
                <a:chExt cx="522226" cy="488747"/>
              </a:xfrm>
            </p:grpSpPr>
            <p:sp>
              <p:nvSpPr>
                <p:cNvPr id="153" name="Freeform 117">
                  <a:extLst>
                    <a:ext uri="{FF2B5EF4-FFF2-40B4-BE49-F238E27FC236}">
                      <a16:creationId xmlns:a16="http://schemas.microsoft.com/office/drawing/2014/main" id="{D82987FC-50B9-4B6D-9CDF-43350DE407F1}"/>
                    </a:ext>
                  </a:extLst>
                </p:cNvPr>
                <p:cNvSpPr>
                  <a:spLocks/>
                </p:cNvSpPr>
                <p:nvPr/>
              </p:nvSpPr>
              <p:spPr bwMode="auto">
                <a:xfrm rot="18677954">
                  <a:off x="3471720"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54" name="Freeform 118">
                  <a:extLst>
                    <a:ext uri="{FF2B5EF4-FFF2-40B4-BE49-F238E27FC236}">
                      <a16:creationId xmlns:a16="http://schemas.microsoft.com/office/drawing/2014/main" id="{26552E36-03FB-44DB-B827-799597D579FB}"/>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93" name="Group 92">
                <a:extLst>
                  <a:ext uri="{FF2B5EF4-FFF2-40B4-BE49-F238E27FC236}">
                    <a16:creationId xmlns:a16="http://schemas.microsoft.com/office/drawing/2014/main" id="{8359AD7F-6033-4A57-BE69-05F2A11AD3BC}"/>
                  </a:ext>
                </a:extLst>
              </p:cNvPr>
              <p:cNvGrpSpPr/>
              <p:nvPr/>
            </p:nvGrpSpPr>
            <p:grpSpPr>
              <a:xfrm rot="18784117">
                <a:off x="4889011" y="3140076"/>
                <a:ext cx="371831" cy="449659"/>
                <a:chOff x="3454982" y="1623694"/>
                <a:chExt cx="522226" cy="488747"/>
              </a:xfrm>
            </p:grpSpPr>
            <p:sp>
              <p:nvSpPr>
                <p:cNvPr id="151" name="Freeform 117">
                  <a:extLst>
                    <a:ext uri="{FF2B5EF4-FFF2-40B4-BE49-F238E27FC236}">
                      <a16:creationId xmlns:a16="http://schemas.microsoft.com/office/drawing/2014/main" id="{2BF60A56-0A2F-4CF9-A2AF-AF60FE8DD574}"/>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52" name="Freeform 118">
                  <a:extLst>
                    <a:ext uri="{FF2B5EF4-FFF2-40B4-BE49-F238E27FC236}">
                      <a16:creationId xmlns:a16="http://schemas.microsoft.com/office/drawing/2014/main" id="{29BCFDF5-D785-43CB-8FDA-1498568CE350}"/>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94" name="Group 93">
                <a:extLst>
                  <a:ext uri="{FF2B5EF4-FFF2-40B4-BE49-F238E27FC236}">
                    <a16:creationId xmlns:a16="http://schemas.microsoft.com/office/drawing/2014/main" id="{18F183FC-1820-4583-8983-72A411DA71C9}"/>
                  </a:ext>
                </a:extLst>
              </p:cNvPr>
              <p:cNvGrpSpPr/>
              <p:nvPr/>
            </p:nvGrpSpPr>
            <p:grpSpPr>
              <a:xfrm rot="20213779">
                <a:off x="5254990" y="2759419"/>
                <a:ext cx="371831" cy="449659"/>
                <a:chOff x="3454982" y="1623694"/>
                <a:chExt cx="522226" cy="488747"/>
              </a:xfrm>
            </p:grpSpPr>
            <p:sp>
              <p:nvSpPr>
                <p:cNvPr id="149" name="Freeform 117">
                  <a:extLst>
                    <a:ext uri="{FF2B5EF4-FFF2-40B4-BE49-F238E27FC236}">
                      <a16:creationId xmlns:a16="http://schemas.microsoft.com/office/drawing/2014/main" id="{3F4CE210-FF6B-452D-B315-C48621318389}"/>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50" name="Freeform 118">
                  <a:extLst>
                    <a:ext uri="{FF2B5EF4-FFF2-40B4-BE49-F238E27FC236}">
                      <a16:creationId xmlns:a16="http://schemas.microsoft.com/office/drawing/2014/main" id="{BDE2194E-6FC9-494E-A438-217BC4CCC3B6}"/>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95" name="Group 94">
                <a:extLst>
                  <a:ext uri="{FF2B5EF4-FFF2-40B4-BE49-F238E27FC236}">
                    <a16:creationId xmlns:a16="http://schemas.microsoft.com/office/drawing/2014/main" id="{134308AE-38D4-45E1-B11F-4A1CE02E1110}"/>
                  </a:ext>
                </a:extLst>
              </p:cNvPr>
              <p:cNvGrpSpPr/>
              <p:nvPr/>
            </p:nvGrpSpPr>
            <p:grpSpPr>
              <a:xfrm>
                <a:off x="5499659" y="2756073"/>
                <a:ext cx="394605" cy="519232"/>
                <a:chOff x="3438781" y="1619441"/>
                <a:chExt cx="525219" cy="519232"/>
              </a:xfrm>
            </p:grpSpPr>
            <p:sp>
              <p:nvSpPr>
                <p:cNvPr id="147" name="Freeform 117">
                  <a:extLst>
                    <a:ext uri="{FF2B5EF4-FFF2-40B4-BE49-F238E27FC236}">
                      <a16:creationId xmlns:a16="http://schemas.microsoft.com/office/drawing/2014/main" id="{9D50979F-5663-4F82-837A-203704AEFBED}"/>
                    </a:ext>
                  </a:extLst>
                </p:cNvPr>
                <p:cNvSpPr>
                  <a:spLocks/>
                </p:cNvSpPr>
                <p:nvPr/>
              </p:nvSpPr>
              <p:spPr bwMode="auto">
                <a:xfrm rot="18629394">
                  <a:off x="3441775" y="1616447"/>
                  <a:ext cx="519232" cy="525219"/>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48" name="Freeform 118">
                  <a:extLst>
                    <a:ext uri="{FF2B5EF4-FFF2-40B4-BE49-F238E27FC236}">
                      <a16:creationId xmlns:a16="http://schemas.microsoft.com/office/drawing/2014/main" id="{E561E7D7-0C89-462D-9EBA-8EF5765A3961}"/>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96" name="Group 95">
                <a:extLst>
                  <a:ext uri="{FF2B5EF4-FFF2-40B4-BE49-F238E27FC236}">
                    <a16:creationId xmlns:a16="http://schemas.microsoft.com/office/drawing/2014/main" id="{ECB1886E-4960-4F16-AA75-F56D9E507AC4}"/>
                  </a:ext>
                </a:extLst>
              </p:cNvPr>
              <p:cNvGrpSpPr/>
              <p:nvPr/>
            </p:nvGrpSpPr>
            <p:grpSpPr>
              <a:xfrm rot="19797432">
                <a:off x="5140094" y="3005185"/>
                <a:ext cx="371831" cy="449659"/>
                <a:chOff x="3454982" y="1623694"/>
                <a:chExt cx="522226" cy="488747"/>
              </a:xfrm>
            </p:grpSpPr>
            <p:sp>
              <p:nvSpPr>
                <p:cNvPr id="145" name="Freeform 117">
                  <a:extLst>
                    <a:ext uri="{FF2B5EF4-FFF2-40B4-BE49-F238E27FC236}">
                      <a16:creationId xmlns:a16="http://schemas.microsoft.com/office/drawing/2014/main" id="{665C1364-C7AF-418D-B685-6E2CCE0A43EB}"/>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46" name="Freeform 118">
                  <a:extLst>
                    <a:ext uri="{FF2B5EF4-FFF2-40B4-BE49-F238E27FC236}">
                      <a16:creationId xmlns:a16="http://schemas.microsoft.com/office/drawing/2014/main" id="{C0CCAB4D-44CC-4561-B633-A830D784F60E}"/>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97" name="Group 96">
                <a:extLst>
                  <a:ext uri="{FF2B5EF4-FFF2-40B4-BE49-F238E27FC236}">
                    <a16:creationId xmlns:a16="http://schemas.microsoft.com/office/drawing/2014/main" id="{8642EC23-B048-44BF-9299-6D91C55F8938}"/>
                  </a:ext>
                </a:extLst>
              </p:cNvPr>
              <p:cNvGrpSpPr/>
              <p:nvPr/>
            </p:nvGrpSpPr>
            <p:grpSpPr>
              <a:xfrm rot="19797432">
                <a:off x="5367688" y="3043966"/>
                <a:ext cx="304167" cy="322621"/>
                <a:chOff x="3454982" y="1623694"/>
                <a:chExt cx="522226" cy="488747"/>
              </a:xfrm>
            </p:grpSpPr>
            <p:sp>
              <p:nvSpPr>
                <p:cNvPr id="143" name="Freeform 117">
                  <a:extLst>
                    <a:ext uri="{FF2B5EF4-FFF2-40B4-BE49-F238E27FC236}">
                      <a16:creationId xmlns:a16="http://schemas.microsoft.com/office/drawing/2014/main" id="{22C90C3C-1EA1-49AB-BA81-ECEE1899E879}"/>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44" name="Freeform 118">
                  <a:extLst>
                    <a:ext uri="{FF2B5EF4-FFF2-40B4-BE49-F238E27FC236}">
                      <a16:creationId xmlns:a16="http://schemas.microsoft.com/office/drawing/2014/main" id="{198F74EC-73BC-4FAC-A21B-15742CF42295}"/>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98" name="Group 97">
                <a:extLst>
                  <a:ext uri="{FF2B5EF4-FFF2-40B4-BE49-F238E27FC236}">
                    <a16:creationId xmlns:a16="http://schemas.microsoft.com/office/drawing/2014/main" id="{70DB3E5C-97AA-47E8-BD5C-16DD43B16C5D}"/>
                  </a:ext>
                </a:extLst>
              </p:cNvPr>
              <p:cNvGrpSpPr/>
              <p:nvPr/>
            </p:nvGrpSpPr>
            <p:grpSpPr>
              <a:xfrm rot="2462983">
                <a:off x="6129411" y="3013536"/>
                <a:ext cx="304167" cy="322621"/>
                <a:chOff x="3454982" y="1623694"/>
                <a:chExt cx="522226" cy="488747"/>
              </a:xfrm>
            </p:grpSpPr>
            <p:sp>
              <p:nvSpPr>
                <p:cNvPr id="141" name="Freeform 117">
                  <a:extLst>
                    <a:ext uri="{FF2B5EF4-FFF2-40B4-BE49-F238E27FC236}">
                      <a16:creationId xmlns:a16="http://schemas.microsoft.com/office/drawing/2014/main" id="{63BBB7E0-CCC5-4BAA-A05F-29AB2F0BB831}"/>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42" name="Freeform 118">
                  <a:extLst>
                    <a:ext uri="{FF2B5EF4-FFF2-40B4-BE49-F238E27FC236}">
                      <a16:creationId xmlns:a16="http://schemas.microsoft.com/office/drawing/2014/main" id="{D449EA38-936B-4140-A075-5A912DCBD4D7}"/>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99" name="Group 98">
                <a:extLst>
                  <a:ext uri="{FF2B5EF4-FFF2-40B4-BE49-F238E27FC236}">
                    <a16:creationId xmlns:a16="http://schemas.microsoft.com/office/drawing/2014/main" id="{18219C57-7725-42C3-900D-9FF5FF331E9D}"/>
                  </a:ext>
                </a:extLst>
              </p:cNvPr>
              <p:cNvGrpSpPr/>
              <p:nvPr/>
            </p:nvGrpSpPr>
            <p:grpSpPr>
              <a:xfrm rot="1984829">
                <a:off x="5983743" y="2808448"/>
                <a:ext cx="304167" cy="382079"/>
                <a:chOff x="3454982" y="1623694"/>
                <a:chExt cx="522226" cy="488747"/>
              </a:xfrm>
            </p:grpSpPr>
            <p:sp>
              <p:nvSpPr>
                <p:cNvPr id="139" name="Freeform 117">
                  <a:extLst>
                    <a:ext uri="{FF2B5EF4-FFF2-40B4-BE49-F238E27FC236}">
                      <a16:creationId xmlns:a16="http://schemas.microsoft.com/office/drawing/2014/main" id="{388B5D53-BAEC-4BF1-AEF1-FDAD6CE35AED}"/>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40" name="Freeform 118">
                  <a:extLst>
                    <a:ext uri="{FF2B5EF4-FFF2-40B4-BE49-F238E27FC236}">
                      <a16:creationId xmlns:a16="http://schemas.microsoft.com/office/drawing/2014/main" id="{C996B46D-681D-4723-A141-4A9BFFC96E94}"/>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00" name="Group 99">
                <a:extLst>
                  <a:ext uri="{FF2B5EF4-FFF2-40B4-BE49-F238E27FC236}">
                    <a16:creationId xmlns:a16="http://schemas.microsoft.com/office/drawing/2014/main" id="{0E064218-BB2C-4B39-99A5-A818E2999A8A}"/>
                  </a:ext>
                </a:extLst>
              </p:cNvPr>
              <p:cNvGrpSpPr/>
              <p:nvPr/>
            </p:nvGrpSpPr>
            <p:grpSpPr>
              <a:xfrm rot="920472">
                <a:off x="5775762" y="2861542"/>
                <a:ext cx="287920" cy="411063"/>
                <a:chOff x="3454982" y="1623694"/>
                <a:chExt cx="522226" cy="488747"/>
              </a:xfrm>
            </p:grpSpPr>
            <p:sp>
              <p:nvSpPr>
                <p:cNvPr id="137" name="Freeform 117">
                  <a:extLst>
                    <a:ext uri="{FF2B5EF4-FFF2-40B4-BE49-F238E27FC236}">
                      <a16:creationId xmlns:a16="http://schemas.microsoft.com/office/drawing/2014/main" id="{864B9798-A2A4-42A8-8756-92435AE5A14C}"/>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38" name="Freeform 118">
                  <a:extLst>
                    <a:ext uri="{FF2B5EF4-FFF2-40B4-BE49-F238E27FC236}">
                      <a16:creationId xmlns:a16="http://schemas.microsoft.com/office/drawing/2014/main" id="{25E2A95A-A0E9-4540-B851-2ACFCC5D6CB4}"/>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01" name="Group 100">
                <a:extLst>
                  <a:ext uri="{FF2B5EF4-FFF2-40B4-BE49-F238E27FC236}">
                    <a16:creationId xmlns:a16="http://schemas.microsoft.com/office/drawing/2014/main" id="{37DA7A41-75AD-4ABE-A653-AF4D394263E0}"/>
                  </a:ext>
                </a:extLst>
              </p:cNvPr>
              <p:cNvGrpSpPr/>
              <p:nvPr/>
            </p:nvGrpSpPr>
            <p:grpSpPr>
              <a:xfrm rot="4580287">
                <a:off x="6431548" y="3247054"/>
                <a:ext cx="287920" cy="411063"/>
                <a:chOff x="3454982" y="1623694"/>
                <a:chExt cx="522226" cy="488747"/>
              </a:xfrm>
            </p:grpSpPr>
            <p:sp>
              <p:nvSpPr>
                <p:cNvPr id="135" name="Freeform 117">
                  <a:extLst>
                    <a:ext uri="{FF2B5EF4-FFF2-40B4-BE49-F238E27FC236}">
                      <a16:creationId xmlns:a16="http://schemas.microsoft.com/office/drawing/2014/main" id="{A8667329-AC76-4FAE-9C9C-612FDCA3379E}"/>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36" name="Freeform 118">
                  <a:extLst>
                    <a:ext uri="{FF2B5EF4-FFF2-40B4-BE49-F238E27FC236}">
                      <a16:creationId xmlns:a16="http://schemas.microsoft.com/office/drawing/2014/main" id="{027F2890-07C6-4311-94E6-B0809F6E253B}"/>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02" name="Group 101">
                <a:extLst>
                  <a:ext uri="{FF2B5EF4-FFF2-40B4-BE49-F238E27FC236}">
                    <a16:creationId xmlns:a16="http://schemas.microsoft.com/office/drawing/2014/main" id="{4847DC4A-784E-4851-98AB-DB84DA98F546}"/>
                  </a:ext>
                </a:extLst>
              </p:cNvPr>
              <p:cNvGrpSpPr/>
              <p:nvPr/>
            </p:nvGrpSpPr>
            <p:grpSpPr>
              <a:xfrm rot="18065025">
                <a:off x="4949066" y="3395745"/>
                <a:ext cx="287920" cy="463226"/>
                <a:chOff x="3454982" y="1623694"/>
                <a:chExt cx="522226" cy="488747"/>
              </a:xfrm>
            </p:grpSpPr>
            <p:sp>
              <p:nvSpPr>
                <p:cNvPr id="133" name="Freeform 117">
                  <a:extLst>
                    <a:ext uri="{FF2B5EF4-FFF2-40B4-BE49-F238E27FC236}">
                      <a16:creationId xmlns:a16="http://schemas.microsoft.com/office/drawing/2014/main" id="{CD50CF8C-576A-40E9-BFE5-710D70A51E73}"/>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34" name="Freeform 118">
                  <a:extLst>
                    <a:ext uri="{FF2B5EF4-FFF2-40B4-BE49-F238E27FC236}">
                      <a16:creationId xmlns:a16="http://schemas.microsoft.com/office/drawing/2014/main" id="{9B795FBA-D547-4FF1-A4A5-1B756E85B4C5}"/>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03" name="Group 102">
                <a:extLst>
                  <a:ext uri="{FF2B5EF4-FFF2-40B4-BE49-F238E27FC236}">
                    <a16:creationId xmlns:a16="http://schemas.microsoft.com/office/drawing/2014/main" id="{D427FFDA-C8AA-4793-B065-2350C695BF79}"/>
                  </a:ext>
                </a:extLst>
              </p:cNvPr>
              <p:cNvGrpSpPr/>
              <p:nvPr/>
            </p:nvGrpSpPr>
            <p:grpSpPr>
              <a:xfrm rot="11185819">
                <a:off x="6051121" y="4430253"/>
                <a:ext cx="268018" cy="449659"/>
                <a:chOff x="3454982" y="1623694"/>
                <a:chExt cx="522226" cy="488747"/>
              </a:xfrm>
            </p:grpSpPr>
            <p:sp>
              <p:nvSpPr>
                <p:cNvPr id="131" name="Freeform 117">
                  <a:extLst>
                    <a:ext uri="{FF2B5EF4-FFF2-40B4-BE49-F238E27FC236}">
                      <a16:creationId xmlns:a16="http://schemas.microsoft.com/office/drawing/2014/main" id="{D707335D-97E2-4828-9C97-7B3725F78684}"/>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32" name="Freeform 118">
                  <a:extLst>
                    <a:ext uri="{FF2B5EF4-FFF2-40B4-BE49-F238E27FC236}">
                      <a16:creationId xmlns:a16="http://schemas.microsoft.com/office/drawing/2014/main" id="{9E90A9D1-E774-4281-A090-606DE01FD149}"/>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04" name="Group 103">
                <a:extLst>
                  <a:ext uri="{FF2B5EF4-FFF2-40B4-BE49-F238E27FC236}">
                    <a16:creationId xmlns:a16="http://schemas.microsoft.com/office/drawing/2014/main" id="{4AD7F219-6FF7-4EDA-8713-C0365F87854C}"/>
                  </a:ext>
                </a:extLst>
              </p:cNvPr>
              <p:cNvGrpSpPr/>
              <p:nvPr/>
            </p:nvGrpSpPr>
            <p:grpSpPr>
              <a:xfrm rot="15513987">
                <a:off x="5093803" y="3951838"/>
                <a:ext cx="287920" cy="538018"/>
                <a:chOff x="3454982" y="1623694"/>
                <a:chExt cx="522226" cy="488747"/>
              </a:xfrm>
            </p:grpSpPr>
            <p:sp>
              <p:nvSpPr>
                <p:cNvPr id="129" name="Freeform 117">
                  <a:extLst>
                    <a:ext uri="{FF2B5EF4-FFF2-40B4-BE49-F238E27FC236}">
                      <a16:creationId xmlns:a16="http://schemas.microsoft.com/office/drawing/2014/main" id="{2E08F53C-4949-4605-A364-813DC5434B3C}"/>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30" name="Freeform 118">
                  <a:extLst>
                    <a:ext uri="{FF2B5EF4-FFF2-40B4-BE49-F238E27FC236}">
                      <a16:creationId xmlns:a16="http://schemas.microsoft.com/office/drawing/2014/main" id="{C17FF4EC-3983-4769-A893-A49F2EFF632F}"/>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05" name="Group 104">
                <a:extLst>
                  <a:ext uri="{FF2B5EF4-FFF2-40B4-BE49-F238E27FC236}">
                    <a16:creationId xmlns:a16="http://schemas.microsoft.com/office/drawing/2014/main" id="{FEB96A56-8778-4623-81E4-ADE90B22A49E}"/>
                  </a:ext>
                </a:extLst>
              </p:cNvPr>
              <p:cNvGrpSpPr/>
              <p:nvPr/>
            </p:nvGrpSpPr>
            <p:grpSpPr>
              <a:xfrm rot="6981718">
                <a:off x="6525078" y="3646119"/>
                <a:ext cx="287920" cy="411063"/>
                <a:chOff x="3454982" y="1623694"/>
                <a:chExt cx="522226" cy="488747"/>
              </a:xfrm>
            </p:grpSpPr>
            <p:sp>
              <p:nvSpPr>
                <p:cNvPr id="127" name="Freeform 117">
                  <a:extLst>
                    <a:ext uri="{FF2B5EF4-FFF2-40B4-BE49-F238E27FC236}">
                      <a16:creationId xmlns:a16="http://schemas.microsoft.com/office/drawing/2014/main" id="{FDB57435-93B4-432B-A909-116AEF3331DF}"/>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28" name="Freeform 118">
                  <a:extLst>
                    <a:ext uri="{FF2B5EF4-FFF2-40B4-BE49-F238E27FC236}">
                      <a16:creationId xmlns:a16="http://schemas.microsoft.com/office/drawing/2014/main" id="{E50DDACE-7955-4E67-81C9-4B8F60E35E7B}"/>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06" name="Group 105">
                <a:extLst>
                  <a:ext uri="{FF2B5EF4-FFF2-40B4-BE49-F238E27FC236}">
                    <a16:creationId xmlns:a16="http://schemas.microsoft.com/office/drawing/2014/main" id="{6F5A0103-0494-4A30-8EF1-2723F77F60EE}"/>
                  </a:ext>
                </a:extLst>
              </p:cNvPr>
              <p:cNvGrpSpPr/>
              <p:nvPr/>
            </p:nvGrpSpPr>
            <p:grpSpPr>
              <a:xfrm rot="18395713">
                <a:off x="5111263" y="3308049"/>
                <a:ext cx="304167" cy="322621"/>
                <a:chOff x="3454982" y="1623694"/>
                <a:chExt cx="522226" cy="488747"/>
              </a:xfrm>
            </p:grpSpPr>
            <p:sp>
              <p:nvSpPr>
                <p:cNvPr id="125" name="Freeform 117">
                  <a:extLst>
                    <a:ext uri="{FF2B5EF4-FFF2-40B4-BE49-F238E27FC236}">
                      <a16:creationId xmlns:a16="http://schemas.microsoft.com/office/drawing/2014/main" id="{D37ECDD0-149F-4F92-A5DA-D869DF4AFDE9}"/>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26" name="Freeform 118">
                  <a:extLst>
                    <a:ext uri="{FF2B5EF4-FFF2-40B4-BE49-F238E27FC236}">
                      <a16:creationId xmlns:a16="http://schemas.microsoft.com/office/drawing/2014/main" id="{A60F7C30-6FDD-498C-A5C7-8FB729E95A64}"/>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07" name="Group 106">
                <a:extLst>
                  <a:ext uri="{FF2B5EF4-FFF2-40B4-BE49-F238E27FC236}">
                    <a16:creationId xmlns:a16="http://schemas.microsoft.com/office/drawing/2014/main" id="{2D7371F7-111A-456B-8226-4812D592CF85}"/>
                  </a:ext>
                </a:extLst>
              </p:cNvPr>
              <p:cNvGrpSpPr/>
              <p:nvPr/>
            </p:nvGrpSpPr>
            <p:grpSpPr>
              <a:xfrm rot="16430110">
                <a:off x="5021185" y="3687718"/>
                <a:ext cx="304167" cy="331569"/>
                <a:chOff x="3454982" y="1623694"/>
                <a:chExt cx="522226" cy="488747"/>
              </a:xfrm>
            </p:grpSpPr>
            <p:sp>
              <p:nvSpPr>
                <p:cNvPr id="123" name="Freeform 117">
                  <a:extLst>
                    <a:ext uri="{FF2B5EF4-FFF2-40B4-BE49-F238E27FC236}">
                      <a16:creationId xmlns:a16="http://schemas.microsoft.com/office/drawing/2014/main" id="{F6B3C7A2-84AB-483A-9AFA-1773E75E85F9}"/>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24" name="Freeform 118">
                  <a:extLst>
                    <a:ext uri="{FF2B5EF4-FFF2-40B4-BE49-F238E27FC236}">
                      <a16:creationId xmlns:a16="http://schemas.microsoft.com/office/drawing/2014/main" id="{AA6C20C7-F10F-4AE9-B849-D66FB45A932D}"/>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08" name="Group 107">
                <a:extLst>
                  <a:ext uri="{FF2B5EF4-FFF2-40B4-BE49-F238E27FC236}">
                    <a16:creationId xmlns:a16="http://schemas.microsoft.com/office/drawing/2014/main" id="{BE874FBD-BBE0-4785-8193-62AAA098CADB}"/>
                  </a:ext>
                </a:extLst>
              </p:cNvPr>
              <p:cNvGrpSpPr/>
              <p:nvPr/>
            </p:nvGrpSpPr>
            <p:grpSpPr>
              <a:xfrm rot="7782131">
                <a:off x="6550320" y="4149913"/>
                <a:ext cx="371831" cy="449659"/>
                <a:chOff x="3454982" y="1623694"/>
                <a:chExt cx="522226" cy="488747"/>
              </a:xfrm>
            </p:grpSpPr>
            <p:sp>
              <p:nvSpPr>
                <p:cNvPr id="121" name="Freeform 117">
                  <a:extLst>
                    <a:ext uri="{FF2B5EF4-FFF2-40B4-BE49-F238E27FC236}">
                      <a16:creationId xmlns:a16="http://schemas.microsoft.com/office/drawing/2014/main" id="{8E6435A0-4BDA-4103-ACC1-F2D3369D2013}"/>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22" name="Freeform 118">
                  <a:extLst>
                    <a:ext uri="{FF2B5EF4-FFF2-40B4-BE49-F238E27FC236}">
                      <a16:creationId xmlns:a16="http://schemas.microsoft.com/office/drawing/2014/main" id="{F71586DD-2C67-4EF3-A904-85C1072CE7D5}"/>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09" name="Group 108">
                <a:extLst>
                  <a:ext uri="{FF2B5EF4-FFF2-40B4-BE49-F238E27FC236}">
                    <a16:creationId xmlns:a16="http://schemas.microsoft.com/office/drawing/2014/main" id="{4C674FF8-531F-4B3B-B9FB-84308D445B70}"/>
                  </a:ext>
                </a:extLst>
              </p:cNvPr>
              <p:cNvGrpSpPr/>
              <p:nvPr/>
            </p:nvGrpSpPr>
            <p:grpSpPr>
              <a:xfrm rot="9392343">
                <a:off x="6118344" y="4292558"/>
                <a:ext cx="371831" cy="397662"/>
                <a:chOff x="3454982" y="1623694"/>
                <a:chExt cx="522226" cy="488747"/>
              </a:xfrm>
            </p:grpSpPr>
            <p:sp>
              <p:nvSpPr>
                <p:cNvPr id="119" name="Freeform 117">
                  <a:extLst>
                    <a:ext uri="{FF2B5EF4-FFF2-40B4-BE49-F238E27FC236}">
                      <a16:creationId xmlns:a16="http://schemas.microsoft.com/office/drawing/2014/main" id="{1670F990-5244-4D7A-881F-BEABF606FC31}"/>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20" name="Freeform 118">
                  <a:extLst>
                    <a:ext uri="{FF2B5EF4-FFF2-40B4-BE49-F238E27FC236}">
                      <a16:creationId xmlns:a16="http://schemas.microsoft.com/office/drawing/2014/main" id="{FD261897-43D7-4F49-93F8-04763415C342}"/>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10" name="Group 109">
                <a:extLst>
                  <a:ext uri="{FF2B5EF4-FFF2-40B4-BE49-F238E27FC236}">
                    <a16:creationId xmlns:a16="http://schemas.microsoft.com/office/drawing/2014/main" id="{CEE4FA18-6935-42C5-B782-BDAE766CE700}"/>
                  </a:ext>
                </a:extLst>
              </p:cNvPr>
              <p:cNvGrpSpPr/>
              <p:nvPr/>
            </p:nvGrpSpPr>
            <p:grpSpPr>
              <a:xfrm rot="13046165">
                <a:off x="5307451" y="4257204"/>
                <a:ext cx="371831" cy="397662"/>
                <a:chOff x="3454982" y="1623694"/>
                <a:chExt cx="522226" cy="488747"/>
              </a:xfrm>
            </p:grpSpPr>
            <p:sp>
              <p:nvSpPr>
                <p:cNvPr id="117" name="Freeform 117">
                  <a:extLst>
                    <a:ext uri="{FF2B5EF4-FFF2-40B4-BE49-F238E27FC236}">
                      <a16:creationId xmlns:a16="http://schemas.microsoft.com/office/drawing/2014/main" id="{BE08641F-116C-4D07-BEF1-F8977C91FB57}"/>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18" name="Freeform 118">
                  <a:extLst>
                    <a:ext uri="{FF2B5EF4-FFF2-40B4-BE49-F238E27FC236}">
                      <a16:creationId xmlns:a16="http://schemas.microsoft.com/office/drawing/2014/main" id="{BB58ED52-83D8-4099-89CD-F3F14EA0BCCF}"/>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11" name="Group 110">
                <a:extLst>
                  <a:ext uri="{FF2B5EF4-FFF2-40B4-BE49-F238E27FC236}">
                    <a16:creationId xmlns:a16="http://schemas.microsoft.com/office/drawing/2014/main" id="{9AC788EB-0EA3-4346-B8F2-574E94E2EEE1}"/>
                  </a:ext>
                </a:extLst>
              </p:cNvPr>
              <p:cNvGrpSpPr/>
              <p:nvPr/>
            </p:nvGrpSpPr>
            <p:grpSpPr>
              <a:xfrm rot="13868839">
                <a:off x="5151631" y="4280673"/>
                <a:ext cx="371831" cy="397662"/>
                <a:chOff x="3454982" y="1623694"/>
                <a:chExt cx="522226" cy="488747"/>
              </a:xfrm>
            </p:grpSpPr>
            <p:sp>
              <p:nvSpPr>
                <p:cNvPr id="115" name="Freeform 117">
                  <a:extLst>
                    <a:ext uri="{FF2B5EF4-FFF2-40B4-BE49-F238E27FC236}">
                      <a16:creationId xmlns:a16="http://schemas.microsoft.com/office/drawing/2014/main" id="{45E75258-147F-4623-BD1B-81367554B39C}"/>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16" name="Freeform 118">
                  <a:extLst>
                    <a:ext uri="{FF2B5EF4-FFF2-40B4-BE49-F238E27FC236}">
                      <a16:creationId xmlns:a16="http://schemas.microsoft.com/office/drawing/2014/main" id="{8A513CD5-4828-4850-92EB-CBB4E9D470B7}"/>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nvGrpSpPr>
              <p:cNvPr id="112" name="Group 111">
                <a:extLst>
                  <a:ext uri="{FF2B5EF4-FFF2-40B4-BE49-F238E27FC236}">
                    <a16:creationId xmlns:a16="http://schemas.microsoft.com/office/drawing/2014/main" id="{8603B737-66A1-461E-93F3-D27724CC2DEE}"/>
                  </a:ext>
                </a:extLst>
              </p:cNvPr>
              <p:cNvGrpSpPr/>
              <p:nvPr/>
            </p:nvGrpSpPr>
            <p:grpSpPr>
              <a:xfrm rot="16200000">
                <a:off x="4902119" y="3825416"/>
                <a:ext cx="371831" cy="397662"/>
                <a:chOff x="3454982" y="1623694"/>
                <a:chExt cx="522226" cy="488747"/>
              </a:xfrm>
            </p:grpSpPr>
            <p:sp>
              <p:nvSpPr>
                <p:cNvPr id="113" name="Freeform 117">
                  <a:extLst>
                    <a:ext uri="{FF2B5EF4-FFF2-40B4-BE49-F238E27FC236}">
                      <a16:creationId xmlns:a16="http://schemas.microsoft.com/office/drawing/2014/main" id="{D0DD50B7-C84D-433C-84C2-89C5BC119F07}"/>
                    </a:ext>
                  </a:extLst>
                </p:cNvPr>
                <p:cNvSpPr>
                  <a:spLocks/>
                </p:cNvSpPr>
                <p:nvPr/>
              </p:nvSpPr>
              <p:spPr bwMode="auto">
                <a:xfrm rot="18629394">
                  <a:off x="3471721" y="1606955"/>
                  <a:ext cx="488747" cy="522226"/>
                </a:xfrm>
                <a:custGeom>
                  <a:avLst/>
                  <a:gdLst>
                    <a:gd name="T0" fmla="*/ 76 w 76"/>
                    <a:gd name="T1" fmla="*/ 80 h 84"/>
                    <a:gd name="T2" fmla="*/ 75 w 76"/>
                    <a:gd name="T3" fmla="*/ 77 h 84"/>
                    <a:gd name="T4" fmla="*/ 52 w 76"/>
                    <a:gd name="T5" fmla="*/ 31 h 84"/>
                    <a:gd name="T6" fmla="*/ 32 w 76"/>
                    <a:gd name="T7" fmla="*/ 13 h 84"/>
                    <a:gd name="T8" fmla="*/ 4 w 76"/>
                    <a:gd name="T9" fmla="*/ 2 h 84"/>
                    <a:gd name="T10" fmla="*/ 1 w 76"/>
                    <a:gd name="T11" fmla="*/ 3 h 84"/>
                    <a:gd name="T12" fmla="*/ 8 w 76"/>
                    <a:gd name="T13" fmla="*/ 16 h 84"/>
                    <a:gd name="T14" fmla="*/ 19 w 76"/>
                    <a:gd name="T15" fmla="*/ 45 h 84"/>
                    <a:gd name="T16" fmla="*/ 38 w 76"/>
                    <a:gd name="T17" fmla="*/ 62 h 84"/>
                    <a:gd name="T18" fmla="*/ 58 w 76"/>
                    <a:gd name="T19" fmla="*/ 71 h 84"/>
                    <a:gd name="T20" fmla="*/ 76 w 76"/>
                    <a:gd name="T21" fmla="*/ 84 h 84"/>
                    <a:gd name="T22" fmla="*/ 76 w 76"/>
                    <a:gd name="T23"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76" h="84">
                      <a:moveTo>
                        <a:pt x="76" y="80"/>
                      </a:moveTo>
                      <a:cubicBezTo>
                        <a:pt x="76" y="79"/>
                        <a:pt x="75" y="78"/>
                        <a:pt x="75" y="77"/>
                      </a:cubicBezTo>
                      <a:cubicBezTo>
                        <a:pt x="69" y="61"/>
                        <a:pt x="62" y="44"/>
                        <a:pt x="52" y="31"/>
                      </a:cubicBezTo>
                      <a:cubicBezTo>
                        <a:pt x="46" y="23"/>
                        <a:pt x="39" y="17"/>
                        <a:pt x="32" y="13"/>
                      </a:cubicBezTo>
                      <a:cubicBezTo>
                        <a:pt x="24" y="7"/>
                        <a:pt x="12" y="6"/>
                        <a:pt x="4" y="2"/>
                      </a:cubicBezTo>
                      <a:cubicBezTo>
                        <a:pt x="2" y="1"/>
                        <a:pt x="0" y="0"/>
                        <a:pt x="1" y="3"/>
                      </a:cubicBezTo>
                      <a:cubicBezTo>
                        <a:pt x="2" y="8"/>
                        <a:pt x="6" y="11"/>
                        <a:pt x="8" y="16"/>
                      </a:cubicBezTo>
                      <a:cubicBezTo>
                        <a:pt x="13" y="23"/>
                        <a:pt x="15" y="37"/>
                        <a:pt x="19" y="45"/>
                      </a:cubicBezTo>
                      <a:cubicBezTo>
                        <a:pt x="24" y="53"/>
                        <a:pt x="31" y="59"/>
                        <a:pt x="38" y="62"/>
                      </a:cubicBezTo>
                      <a:cubicBezTo>
                        <a:pt x="45" y="65"/>
                        <a:pt x="51" y="67"/>
                        <a:pt x="58" y="71"/>
                      </a:cubicBezTo>
                      <a:cubicBezTo>
                        <a:pt x="64" y="76"/>
                        <a:pt x="70" y="79"/>
                        <a:pt x="76" y="84"/>
                      </a:cubicBezTo>
                      <a:cubicBezTo>
                        <a:pt x="76" y="82"/>
                        <a:pt x="76" y="81"/>
                        <a:pt x="76" y="8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sp>
              <p:nvSpPr>
                <p:cNvPr id="114" name="Freeform 118">
                  <a:extLst>
                    <a:ext uri="{FF2B5EF4-FFF2-40B4-BE49-F238E27FC236}">
                      <a16:creationId xmlns:a16="http://schemas.microsoft.com/office/drawing/2014/main" id="{9BED4851-3E51-49C7-A10E-D8F17DA525BB}"/>
                    </a:ext>
                  </a:extLst>
                </p:cNvPr>
                <p:cNvSpPr>
                  <a:spLocks/>
                </p:cNvSpPr>
                <p:nvPr/>
              </p:nvSpPr>
              <p:spPr bwMode="auto">
                <a:xfrm rot="18629394">
                  <a:off x="3584289" y="1814988"/>
                  <a:ext cx="162896" cy="162568"/>
                </a:xfrm>
                <a:custGeom>
                  <a:avLst/>
                  <a:gdLst>
                    <a:gd name="T0" fmla="*/ 10 w 24"/>
                    <a:gd name="T1" fmla="*/ 18 h 26"/>
                    <a:gd name="T2" fmla="*/ 1 w 24"/>
                    <a:gd name="T3" fmla="*/ 3 h 26"/>
                    <a:gd name="T4" fmla="*/ 14 w 24"/>
                    <a:gd name="T5" fmla="*/ 7 h 26"/>
                    <a:gd name="T6" fmla="*/ 24 w 24"/>
                    <a:gd name="T7" fmla="*/ 21 h 26"/>
                    <a:gd name="T8" fmla="*/ 10 w 24"/>
                    <a:gd name="T9" fmla="*/ 18 h 26"/>
                  </a:gdLst>
                  <a:ahLst/>
                  <a:cxnLst>
                    <a:cxn ang="0">
                      <a:pos x="T0" y="T1"/>
                    </a:cxn>
                    <a:cxn ang="0">
                      <a:pos x="T2" y="T3"/>
                    </a:cxn>
                    <a:cxn ang="0">
                      <a:pos x="T4" y="T5"/>
                    </a:cxn>
                    <a:cxn ang="0">
                      <a:pos x="T6" y="T7"/>
                    </a:cxn>
                    <a:cxn ang="0">
                      <a:pos x="T8" y="T9"/>
                    </a:cxn>
                  </a:cxnLst>
                  <a:rect l="0" t="0" r="r" b="b"/>
                  <a:pathLst>
                    <a:path w="24" h="26">
                      <a:moveTo>
                        <a:pt x="10" y="18"/>
                      </a:moveTo>
                      <a:cubicBezTo>
                        <a:pt x="4" y="13"/>
                        <a:pt x="0" y="6"/>
                        <a:pt x="1" y="3"/>
                      </a:cubicBezTo>
                      <a:cubicBezTo>
                        <a:pt x="2" y="0"/>
                        <a:pt x="8" y="2"/>
                        <a:pt x="14" y="7"/>
                      </a:cubicBezTo>
                      <a:cubicBezTo>
                        <a:pt x="21" y="12"/>
                        <a:pt x="24" y="18"/>
                        <a:pt x="24" y="21"/>
                      </a:cubicBezTo>
                      <a:cubicBezTo>
                        <a:pt x="23" y="26"/>
                        <a:pt x="16" y="23"/>
                        <a:pt x="10" y="18"/>
                      </a:cubicBezTo>
                      <a:close/>
                    </a:path>
                  </a:pathLst>
                </a:cu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a:ea typeface="ヒラギノ角ゴ ProN W3"/>
                    <a:cs typeface="+mn-cs"/>
                  </a:endParaRPr>
                </a:p>
              </p:txBody>
            </p:sp>
          </p:grpSp>
        </p:grpSp>
        <p:sp>
          <p:nvSpPr>
            <p:cNvPr id="249" name="Rectangle 248">
              <a:extLst>
                <a:ext uri="{FF2B5EF4-FFF2-40B4-BE49-F238E27FC236}">
                  <a16:creationId xmlns:a16="http://schemas.microsoft.com/office/drawing/2014/main" id="{E18DC8DB-CBC0-4B51-9857-3E979236B47A}"/>
                </a:ext>
              </a:extLst>
            </p:cNvPr>
            <p:cNvSpPr/>
            <p:nvPr/>
          </p:nvSpPr>
          <p:spPr bwMode="auto">
            <a:xfrm>
              <a:off x="1066240" y="4111302"/>
              <a:ext cx="352938" cy="268339"/>
            </a:xfrm>
            <a:prstGeom prst="rect">
              <a:avLst/>
            </a:prstGeom>
            <a:noFill/>
            <a:ln w="222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cxnSp>
          <p:nvCxnSpPr>
            <p:cNvPr id="250" name="Straight Connector 249">
              <a:extLst>
                <a:ext uri="{FF2B5EF4-FFF2-40B4-BE49-F238E27FC236}">
                  <a16:creationId xmlns:a16="http://schemas.microsoft.com/office/drawing/2014/main" id="{3E8A6B26-841C-4370-AB9D-507D3022228E}"/>
                </a:ext>
              </a:extLst>
            </p:cNvPr>
            <p:cNvCxnSpPr>
              <a:cxnSpLocks/>
            </p:cNvCxnSpPr>
            <p:nvPr/>
          </p:nvCxnSpPr>
          <p:spPr bwMode="auto">
            <a:xfrm flipV="1">
              <a:off x="1071580" y="1605955"/>
              <a:ext cx="1497888" cy="2513157"/>
            </a:xfrm>
            <a:prstGeom prst="line">
              <a:avLst/>
            </a:prstGeom>
            <a:noFill/>
            <a:ln w="28575" cap="flat" cmpd="sng" algn="ctr">
              <a:solidFill>
                <a:schemeClr val="tx1"/>
              </a:solidFill>
              <a:prstDash val="dash"/>
              <a:round/>
              <a:headEnd type="none" w="med" len="med"/>
              <a:tailEnd type="none" w="med" len="med"/>
            </a:ln>
            <a:effectLst/>
          </p:spPr>
        </p:cxnSp>
        <p:cxnSp>
          <p:nvCxnSpPr>
            <p:cNvPr id="251" name="Straight Connector 250">
              <a:extLst>
                <a:ext uri="{FF2B5EF4-FFF2-40B4-BE49-F238E27FC236}">
                  <a16:creationId xmlns:a16="http://schemas.microsoft.com/office/drawing/2014/main" id="{48623A86-3FA6-4C4C-A9C7-30540EE60AAC}"/>
                </a:ext>
              </a:extLst>
            </p:cNvPr>
            <p:cNvCxnSpPr>
              <a:cxnSpLocks/>
              <a:endCxn id="497" idx="5"/>
            </p:cNvCxnSpPr>
            <p:nvPr/>
          </p:nvCxnSpPr>
          <p:spPr bwMode="auto">
            <a:xfrm>
              <a:off x="1069977" y="4385180"/>
              <a:ext cx="1538665" cy="1257372"/>
            </a:xfrm>
            <a:prstGeom prst="line">
              <a:avLst/>
            </a:prstGeom>
            <a:noFill/>
            <a:ln w="28575" cap="flat" cmpd="sng" algn="ctr">
              <a:solidFill>
                <a:schemeClr val="tx1"/>
              </a:solidFill>
              <a:prstDash val="dash"/>
              <a:round/>
              <a:headEnd type="none" w="med" len="med"/>
              <a:tailEnd type="none" w="med" len="med"/>
            </a:ln>
            <a:effectLst/>
          </p:spPr>
        </p:cxnSp>
        <p:grpSp>
          <p:nvGrpSpPr>
            <p:cNvPr id="254" name="Group 51">
              <a:extLst>
                <a:ext uri="{FF2B5EF4-FFF2-40B4-BE49-F238E27FC236}">
                  <a16:creationId xmlns:a16="http://schemas.microsoft.com/office/drawing/2014/main" id="{0854D957-C4A8-4CA7-AA71-AFFAFABF237C}"/>
                </a:ext>
              </a:extLst>
            </p:cNvPr>
            <p:cNvGrpSpPr>
              <a:grpSpLocks/>
            </p:cNvGrpSpPr>
            <p:nvPr/>
          </p:nvGrpSpPr>
          <p:grpSpPr bwMode="auto">
            <a:xfrm rot="1310976">
              <a:off x="2603237" y="1893168"/>
              <a:ext cx="1590675" cy="268288"/>
              <a:chOff x="102" y="1981"/>
              <a:chExt cx="1002" cy="169"/>
            </a:xfrm>
          </p:grpSpPr>
          <p:sp>
            <p:nvSpPr>
              <p:cNvPr id="255" name="Freeform 52">
                <a:extLst>
                  <a:ext uri="{FF2B5EF4-FFF2-40B4-BE49-F238E27FC236}">
                    <a16:creationId xmlns:a16="http://schemas.microsoft.com/office/drawing/2014/main" id="{BBDBCBA2-5F5F-42C3-BEB8-DEF6B57D213E}"/>
                  </a:ext>
                </a:extLst>
              </p:cNvPr>
              <p:cNvSpPr>
                <a:spLocks/>
              </p:cNvSpPr>
              <p:nvPr/>
            </p:nvSpPr>
            <p:spPr bwMode="auto">
              <a:xfrm>
                <a:off x="102" y="1981"/>
                <a:ext cx="1002" cy="169"/>
              </a:xfrm>
              <a:custGeom>
                <a:avLst/>
                <a:gdLst>
                  <a:gd name="T0" fmla="*/ 34811 w 170"/>
                  <a:gd name="T1" fmla="*/ 3173 h 27"/>
                  <a:gd name="T2" fmla="*/ 33178 w 170"/>
                  <a:gd name="T3" fmla="*/ 6622 h 27"/>
                  <a:gd name="T4" fmla="*/ 1839 w 170"/>
                  <a:gd name="T5" fmla="*/ 6622 h 27"/>
                  <a:gd name="T6" fmla="*/ 0 w 170"/>
                  <a:gd name="T7" fmla="*/ 3173 h 27"/>
                  <a:gd name="T8" fmla="*/ 0 w 170"/>
                  <a:gd name="T9" fmla="*/ 3173 h 27"/>
                  <a:gd name="T10" fmla="*/ 1839 w 170"/>
                  <a:gd name="T11" fmla="*/ 0 h 27"/>
                  <a:gd name="T12" fmla="*/ 33178 w 170"/>
                  <a:gd name="T13" fmla="*/ 0 h 27"/>
                  <a:gd name="T14" fmla="*/ 34811 w 170"/>
                  <a:gd name="T15" fmla="*/ 3173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0" h="27">
                    <a:moveTo>
                      <a:pt x="170" y="13"/>
                    </a:moveTo>
                    <a:cubicBezTo>
                      <a:pt x="170" y="21"/>
                      <a:pt x="170" y="27"/>
                      <a:pt x="162" y="27"/>
                    </a:cubicBezTo>
                    <a:cubicBezTo>
                      <a:pt x="9" y="27"/>
                      <a:pt x="9" y="27"/>
                      <a:pt x="9" y="27"/>
                    </a:cubicBezTo>
                    <a:cubicBezTo>
                      <a:pt x="1" y="27"/>
                      <a:pt x="0" y="21"/>
                      <a:pt x="0" y="13"/>
                    </a:cubicBezTo>
                    <a:cubicBezTo>
                      <a:pt x="0" y="13"/>
                      <a:pt x="0" y="13"/>
                      <a:pt x="0" y="13"/>
                    </a:cubicBezTo>
                    <a:cubicBezTo>
                      <a:pt x="0" y="6"/>
                      <a:pt x="1" y="0"/>
                      <a:pt x="9" y="0"/>
                    </a:cubicBezTo>
                    <a:cubicBezTo>
                      <a:pt x="162" y="0"/>
                      <a:pt x="162" y="0"/>
                      <a:pt x="162" y="0"/>
                    </a:cubicBezTo>
                    <a:cubicBezTo>
                      <a:pt x="170" y="0"/>
                      <a:pt x="170" y="6"/>
                      <a:pt x="170" y="13"/>
                    </a:cubicBezTo>
                    <a:close/>
                  </a:path>
                </a:pathLst>
              </a:custGeom>
              <a:solidFill>
                <a:srgbClr val="A59A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56" name="Oval 53">
                <a:extLst>
                  <a:ext uri="{FF2B5EF4-FFF2-40B4-BE49-F238E27FC236}">
                    <a16:creationId xmlns:a16="http://schemas.microsoft.com/office/drawing/2014/main" id="{005C42EA-7D48-49F9-9ECF-DBFEC1A92569}"/>
                  </a:ext>
                </a:extLst>
              </p:cNvPr>
              <p:cNvSpPr>
                <a:spLocks noChangeArrowheads="1"/>
              </p:cNvSpPr>
              <p:nvPr/>
            </p:nvSpPr>
            <p:spPr bwMode="auto">
              <a:xfrm>
                <a:off x="503" y="2012"/>
                <a:ext cx="135" cy="63"/>
              </a:xfrm>
              <a:prstGeom prst="ellipse">
                <a:avLst/>
              </a:pr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57" name="Oval 54">
                <a:extLst>
                  <a:ext uri="{FF2B5EF4-FFF2-40B4-BE49-F238E27FC236}">
                    <a16:creationId xmlns:a16="http://schemas.microsoft.com/office/drawing/2014/main" id="{A56CA442-2176-4B4D-B604-A57E4197D41D}"/>
                  </a:ext>
                </a:extLst>
              </p:cNvPr>
              <p:cNvSpPr>
                <a:spLocks noChangeArrowheads="1"/>
              </p:cNvSpPr>
              <p:nvPr/>
            </p:nvSpPr>
            <p:spPr bwMode="auto">
              <a:xfrm>
                <a:off x="532" y="2043"/>
                <a:ext cx="130" cy="57"/>
              </a:xfrm>
              <a:prstGeom prst="ellipse">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58" name="Oval 55">
                <a:extLst>
                  <a:ext uri="{FF2B5EF4-FFF2-40B4-BE49-F238E27FC236}">
                    <a16:creationId xmlns:a16="http://schemas.microsoft.com/office/drawing/2014/main" id="{A2CE0CBC-014D-4B95-B0AA-FC92C0C66D88}"/>
                  </a:ext>
                </a:extLst>
              </p:cNvPr>
              <p:cNvSpPr>
                <a:spLocks noChangeArrowheads="1"/>
              </p:cNvSpPr>
              <p:nvPr/>
            </p:nvSpPr>
            <p:spPr bwMode="auto">
              <a:xfrm>
                <a:off x="515" y="2025"/>
                <a:ext cx="141" cy="62"/>
              </a:xfrm>
              <a:prstGeom prst="ellipse">
                <a:avLst/>
              </a:pr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59" name="Freeform 56">
                <a:extLst>
                  <a:ext uri="{FF2B5EF4-FFF2-40B4-BE49-F238E27FC236}">
                    <a16:creationId xmlns:a16="http://schemas.microsoft.com/office/drawing/2014/main" id="{CE476162-3E71-4CD6-88E7-13AC422C7A77}"/>
                  </a:ext>
                </a:extLst>
              </p:cNvPr>
              <p:cNvSpPr>
                <a:spLocks/>
              </p:cNvSpPr>
              <p:nvPr/>
            </p:nvSpPr>
            <p:spPr bwMode="auto">
              <a:xfrm>
                <a:off x="526" y="2031"/>
                <a:ext cx="95" cy="44"/>
              </a:xfrm>
              <a:custGeom>
                <a:avLst/>
                <a:gdLst>
                  <a:gd name="T0" fmla="*/ 214 w 16"/>
                  <a:gd name="T1" fmla="*/ 987 h 7"/>
                  <a:gd name="T2" fmla="*/ 2078 w 16"/>
                  <a:gd name="T3" fmla="*/ 239 h 7"/>
                  <a:gd name="T4" fmla="*/ 3349 w 16"/>
                  <a:gd name="T5" fmla="*/ 515 h 7"/>
                  <a:gd name="T6" fmla="*/ 1870 w 16"/>
                  <a:gd name="T7" fmla="*/ 0 h 7"/>
                  <a:gd name="T8" fmla="*/ 0 w 16"/>
                  <a:gd name="T9" fmla="*/ 987 h 7"/>
                  <a:gd name="T10" fmla="*/ 849 w 16"/>
                  <a:gd name="T11" fmla="*/ 1741 h 7"/>
                  <a:gd name="T12" fmla="*/ 214 w 16"/>
                  <a:gd name="T13" fmla="*/ 987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 h="7">
                    <a:moveTo>
                      <a:pt x="1" y="4"/>
                    </a:moveTo>
                    <a:cubicBezTo>
                      <a:pt x="1" y="2"/>
                      <a:pt x="6" y="1"/>
                      <a:pt x="10" y="1"/>
                    </a:cubicBezTo>
                    <a:cubicBezTo>
                      <a:pt x="12" y="1"/>
                      <a:pt x="14" y="1"/>
                      <a:pt x="16" y="2"/>
                    </a:cubicBezTo>
                    <a:cubicBezTo>
                      <a:pt x="14" y="1"/>
                      <a:pt x="12" y="0"/>
                      <a:pt x="9" y="0"/>
                    </a:cubicBezTo>
                    <a:cubicBezTo>
                      <a:pt x="4" y="0"/>
                      <a:pt x="0" y="2"/>
                      <a:pt x="0" y="4"/>
                    </a:cubicBezTo>
                    <a:cubicBezTo>
                      <a:pt x="0" y="5"/>
                      <a:pt x="2" y="6"/>
                      <a:pt x="4" y="7"/>
                    </a:cubicBezTo>
                    <a:cubicBezTo>
                      <a:pt x="3" y="6"/>
                      <a:pt x="1" y="6"/>
                      <a:pt x="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60" name="Freeform 57">
                <a:extLst>
                  <a:ext uri="{FF2B5EF4-FFF2-40B4-BE49-F238E27FC236}">
                    <a16:creationId xmlns:a16="http://schemas.microsoft.com/office/drawing/2014/main" id="{E1C1E8C1-83C0-40DD-88E0-98D5D63A8815}"/>
                  </a:ext>
                </a:extLst>
              </p:cNvPr>
              <p:cNvSpPr>
                <a:spLocks/>
              </p:cNvSpPr>
              <p:nvPr/>
            </p:nvSpPr>
            <p:spPr bwMode="auto">
              <a:xfrm>
                <a:off x="691" y="2012"/>
                <a:ext cx="407" cy="119"/>
              </a:xfrm>
              <a:custGeom>
                <a:avLst/>
                <a:gdLst>
                  <a:gd name="T0" fmla="*/ 13537 w 69"/>
                  <a:gd name="T1" fmla="*/ 983 h 19"/>
                  <a:gd name="T2" fmla="*/ 12735 w 69"/>
                  <a:gd name="T3" fmla="*/ 4434 h 19"/>
                  <a:gd name="T4" fmla="*/ 0 w 69"/>
                  <a:gd name="T5" fmla="*/ 4434 h 19"/>
                  <a:gd name="T6" fmla="*/ 12316 w 69"/>
                  <a:gd name="T7" fmla="*/ 3451 h 19"/>
                  <a:gd name="T8" fmla="*/ 13537 w 69"/>
                  <a:gd name="T9" fmla="*/ 983 h 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9" h="19">
                    <a:moveTo>
                      <a:pt x="66" y="4"/>
                    </a:moveTo>
                    <a:cubicBezTo>
                      <a:pt x="66" y="0"/>
                      <a:pt x="69" y="18"/>
                      <a:pt x="62" y="18"/>
                    </a:cubicBezTo>
                    <a:cubicBezTo>
                      <a:pt x="53" y="19"/>
                      <a:pt x="0" y="18"/>
                      <a:pt x="0" y="18"/>
                    </a:cubicBezTo>
                    <a:cubicBezTo>
                      <a:pt x="9" y="18"/>
                      <a:pt x="55" y="18"/>
                      <a:pt x="60" y="14"/>
                    </a:cubicBezTo>
                    <a:cubicBezTo>
                      <a:pt x="65" y="10"/>
                      <a:pt x="65" y="8"/>
                      <a:pt x="66" y="4"/>
                    </a:cubicBezTo>
                    <a:close/>
                  </a:path>
                </a:pathLst>
              </a:custGeom>
              <a:solidFill>
                <a:srgbClr val="EDCD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61" name="Freeform 58">
                <a:extLst>
                  <a:ext uri="{FF2B5EF4-FFF2-40B4-BE49-F238E27FC236}">
                    <a16:creationId xmlns:a16="http://schemas.microsoft.com/office/drawing/2014/main" id="{9C9609D0-9914-446C-8005-A2A68E8BBA1F}"/>
                  </a:ext>
                </a:extLst>
              </p:cNvPr>
              <p:cNvSpPr>
                <a:spLocks/>
              </p:cNvSpPr>
              <p:nvPr/>
            </p:nvSpPr>
            <p:spPr bwMode="auto">
              <a:xfrm>
                <a:off x="120" y="2006"/>
                <a:ext cx="235" cy="106"/>
              </a:xfrm>
              <a:custGeom>
                <a:avLst/>
                <a:gdLst>
                  <a:gd name="T0" fmla="*/ 623 w 40"/>
                  <a:gd name="T1" fmla="*/ 4122 h 17"/>
                  <a:gd name="T2" fmla="*/ 623 w 40"/>
                  <a:gd name="T3" fmla="*/ 468 h 17"/>
                  <a:gd name="T4" fmla="*/ 8113 w 40"/>
                  <a:gd name="T5" fmla="*/ 0 h 17"/>
                  <a:gd name="T6" fmla="*/ 828 w 40"/>
                  <a:gd name="T7" fmla="*/ 2176 h 17"/>
                  <a:gd name="T8" fmla="*/ 623 w 40"/>
                  <a:gd name="T9" fmla="*/ 4122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0" h="17">
                    <a:moveTo>
                      <a:pt x="3" y="17"/>
                    </a:moveTo>
                    <a:cubicBezTo>
                      <a:pt x="0" y="13"/>
                      <a:pt x="0" y="4"/>
                      <a:pt x="3" y="2"/>
                    </a:cubicBezTo>
                    <a:cubicBezTo>
                      <a:pt x="5" y="0"/>
                      <a:pt x="23" y="0"/>
                      <a:pt x="40" y="0"/>
                    </a:cubicBezTo>
                    <a:cubicBezTo>
                      <a:pt x="32" y="0"/>
                      <a:pt x="5" y="1"/>
                      <a:pt x="4" y="9"/>
                    </a:cubicBezTo>
                    <a:cubicBezTo>
                      <a:pt x="3" y="11"/>
                      <a:pt x="3" y="17"/>
                      <a:pt x="3" y="17"/>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62" name="Freeform 59">
                <a:extLst>
                  <a:ext uri="{FF2B5EF4-FFF2-40B4-BE49-F238E27FC236}">
                    <a16:creationId xmlns:a16="http://schemas.microsoft.com/office/drawing/2014/main" id="{15334DC8-E354-47DD-9785-951068878830}"/>
                  </a:ext>
                </a:extLst>
              </p:cNvPr>
              <p:cNvSpPr>
                <a:spLocks/>
              </p:cNvSpPr>
              <p:nvPr/>
            </p:nvSpPr>
            <p:spPr bwMode="auto">
              <a:xfrm>
                <a:off x="102" y="1981"/>
                <a:ext cx="1002" cy="169"/>
              </a:xfrm>
              <a:custGeom>
                <a:avLst/>
                <a:gdLst>
                  <a:gd name="T0" fmla="*/ 34811 w 170"/>
                  <a:gd name="T1" fmla="*/ 3173 h 27"/>
                  <a:gd name="T2" fmla="*/ 33178 w 170"/>
                  <a:gd name="T3" fmla="*/ 6622 h 27"/>
                  <a:gd name="T4" fmla="*/ 1839 w 170"/>
                  <a:gd name="T5" fmla="*/ 6622 h 27"/>
                  <a:gd name="T6" fmla="*/ 0 w 170"/>
                  <a:gd name="T7" fmla="*/ 3173 h 27"/>
                  <a:gd name="T8" fmla="*/ 0 w 170"/>
                  <a:gd name="T9" fmla="*/ 3173 h 27"/>
                  <a:gd name="T10" fmla="*/ 1839 w 170"/>
                  <a:gd name="T11" fmla="*/ 0 h 27"/>
                  <a:gd name="T12" fmla="*/ 33178 w 170"/>
                  <a:gd name="T13" fmla="*/ 0 h 27"/>
                  <a:gd name="T14" fmla="*/ 34811 w 170"/>
                  <a:gd name="T15" fmla="*/ 3173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0" h="27">
                    <a:moveTo>
                      <a:pt x="170" y="13"/>
                    </a:moveTo>
                    <a:cubicBezTo>
                      <a:pt x="170" y="21"/>
                      <a:pt x="170" y="27"/>
                      <a:pt x="162" y="27"/>
                    </a:cubicBezTo>
                    <a:cubicBezTo>
                      <a:pt x="9" y="27"/>
                      <a:pt x="9" y="27"/>
                      <a:pt x="9" y="27"/>
                    </a:cubicBezTo>
                    <a:cubicBezTo>
                      <a:pt x="1" y="27"/>
                      <a:pt x="0" y="21"/>
                      <a:pt x="0" y="13"/>
                    </a:cubicBezTo>
                    <a:cubicBezTo>
                      <a:pt x="0" y="13"/>
                      <a:pt x="0" y="13"/>
                      <a:pt x="0" y="13"/>
                    </a:cubicBezTo>
                    <a:cubicBezTo>
                      <a:pt x="0" y="6"/>
                      <a:pt x="1" y="0"/>
                      <a:pt x="9" y="0"/>
                    </a:cubicBezTo>
                    <a:cubicBezTo>
                      <a:pt x="162" y="0"/>
                      <a:pt x="162" y="0"/>
                      <a:pt x="162" y="0"/>
                    </a:cubicBezTo>
                    <a:cubicBezTo>
                      <a:pt x="170" y="0"/>
                      <a:pt x="170" y="6"/>
                      <a:pt x="170" y="13"/>
                    </a:cubicBezTo>
                    <a:close/>
                  </a:path>
                </a:pathLst>
              </a:custGeom>
              <a:noFill/>
              <a:ln w="19050"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63" name="Oval 60">
                <a:extLst>
                  <a:ext uri="{FF2B5EF4-FFF2-40B4-BE49-F238E27FC236}">
                    <a16:creationId xmlns:a16="http://schemas.microsoft.com/office/drawing/2014/main" id="{B8234F07-603B-48D0-AC2D-F23983450039}"/>
                  </a:ext>
                </a:extLst>
              </p:cNvPr>
              <p:cNvSpPr>
                <a:spLocks noChangeArrowheads="1"/>
              </p:cNvSpPr>
              <p:nvPr/>
            </p:nvSpPr>
            <p:spPr bwMode="auto">
              <a:xfrm>
                <a:off x="515" y="2025"/>
                <a:ext cx="141" cy="62"/>
              </a:xfrm>
              <a:prstGeom prst="ellipse">
                <a:avLst/>
              </a:prstGeom>
              <a:noFill/>
              <a:ln w="9525"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64" name="Freeform 61">
                <a:extLst>
                  <a:ext uri="{FF2B5EF4-FFF2-40B4-BE49-F238E27FC236}">
                    <a16:creationId xmlns:a16="http://schemas.microsoft.com/office/drawing/2014/main" id="{0A17B6D8-5F03-4EA5-B836-0D713B262541}"/>
                  </a:ext>
                </a:extLst>
              </p:cNvPr>
              <p:cNvSpPr>
                <a:spLocks/>
              </p:cNvSpPr>
              <p:nvPr/>
            </p:nvSpPr>
            <p:spPr bwMode="auto">
              <a:xfrm>
                <a:off x="114" y="1993"/>
                <a:ext cx="978" cy="144"/>
              </a:xfrm>
              <a:custGeom>
                <a:avLst/>
                <a:gdLst>
                  <a:gd name="T0" fmla="*/ 0 w 166"/>
                  <a:gd name="T1" fmla="*/ 2705 h 23"/>
                  <a:gd name="T2" fmla="*/ 1426 w 166"/>
                  <a:gd name="T3" fmla="*/ 0 h 23"/>
                  <a:gd name="T4" fmla="*/ 32734 w 166"/>
                  <a:gd name="T5" fmla="*/ 0 h 23"/>
                  <a:gd name="T6" fmla="*/ 33947 w 166"/>
                  <a:gd name="T7" fmla="*/ 2705 h 23"/>
                  <a:gd name="T8" fmla="*/ 32734 w 166"/>
                  <a:gd name="T9" fmla="*/ 5647 h 23"/>
                  <a:gd name="T10" fmla="*/ 1426 w 166"/>
                  <a:gd name="T11" fmla="*/ 5647 h 23"/>
                  <a:gd name="T12" fmla="*/ 0 w 166"/>
                  <a:gd name="T13" fmla="*/ 2705 h 2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6" h="23">
                    <a:moveTo>
                      <a:pt x="0" y="11"/>
                    </a:moveTo>
                    <a:cubicBezTo>
                      <a:pt x="0" y="2"/>
                      <a:pt x="3" y="0"/>
                      <a:pt x="7" y="0"/>
                    </a:cubicBezTo>
                    <a:cubicBezTo>
                      <a:pt x="160" y="0"/>
                      <a:pt x="160" y="0"/>
                      <a:pt x="160" y="0"/>
                    </a:cubicBezTo>
                    <a:cubicBezTo>
                      <a:pt x="165" y="0"/>
                      <a:pt x="166" y="3"/>
                      <a:pt x="166" y="11"/>
                    </a:cubicBezTo>
                    <a:cubicBezTo>
                      <a:pt x="166" y="20"/>
                      <a:pt x="165" y="23"/>
                      <a:pt x="160" y="23"/>
                    </a:cubicBezTo>
                    <a:cubicBezTo>
                      <a:pt x="7" y="23"/>
                      <a:pt x="7" y="23"/>
                      <a:pt x="7" y="23"/>
                    </a:cubicBezTo>
                    <a:cubicBezTo>
                      <a:pt x="3" y="23"/>
                      <a:pt x="0" y="21"/>
                      <a:pt x="0" y="11"/>
                    </a:cubicBezTo>
                    <a:close/>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grpSp>
        <p:grpSp>
          <p:nvGrpSpPr>
            <p:cNvPr id="265" name="Group 51">
              <a:extLst>
                <a:ext uri="{FF2B5EF4-FFF2-40B4-BE49-F238E27FC236}">
                  <a16:creationId xmlns:a16="http://schemas.microsoft.com/office/drawing/2014/main" id="{19858041-2B67-4A23-82AF-3C870C8DE896}"/>
                </a:ext>
              </a:extLst>
            </p:cNvPr>
            <p:cNvGrpSpPr>
              <a:grpSpLocks/>
            </p:cNvGrpSpPr>
            <p:nvPr/>
          </p:nvGrpSpPr>
          <p:grpSpPr bwMode="auto">
            <a:xfrm rot="902221">
              <a:off x="4138604" y="2402196"/>
              <a:ext cx="1590675" cy="268288"/>
              <a:chOff x="102" y="1981"/>
              <a:chExt cx="1002" cy="169"/>
            </a:xfrm>
          </p:grpSpPr>
          <p:sp>
            <p:nvSpPr>
              <p:cNvPr id="266" name="Freeform 52">
                <a:extLst>
                  <a:ext uri="{FF2B5EF4-FFF2-40B4-BE49-F238E27FC236}">
                    <a16:creationId xmlns:a16="http://schemas.microsoft.com/office/drawing/2014/main" id="{8754BD9B-4CCA-42C8-9E4F-579436295B77}"/>
                  </a:ext>
                </a:extLst>
              </p:cNvPr>
              <p:cNvSpPr>
                <a:spLocks/>
              </p:cNvSpPr>
              <p:nvPr/>
            </p:nvSpPr>
            <p:spPr bwMode="auto">
              <a:xfrm>
                <a:off x="102" y="1981"/>
                <a:ext cx="1002" cy="169"/>
              </a:xfrm>
              <a:custGeom>
                <a:avLst/>
                <a:gdLst>
                  <a:gd name="T0" fmla="*/ 34811 w 170"/>
                  <a:gd name="T1" fmla="*/ 3173 h 27"/>
                  <a:gd name="T2" fmla="*/ 33178 w 170"/>
                  <a:gd name="T3" fmla="*/ 6622 h 27"/>
                  <a:gd name="T4" fmla="*/ 1839 w 170"/>
                  <a:gd name="T5" fmla="*/ 6622 h 27"/>
                  <a:gd name="T6" fmla="*/ 0 w 170"/>
                  <a:gd name="T7" fmla="*/ 3173 h 27"/>
                  <a:gd name="T8" fmla="*/ 0 w 170"/>
                  <a:gd name="T9" fmla="*/ 3173 h 27"/>
                  <a:gd name="T10" fmla="*/ 1839 w 170"/>
                  <a:gd name="T11" fmla="*/ 0 h 27"/>
                  <a:gd name="T12" fmla="*/ 33178 w 170"/>
                  <a:gd name="T13" fmla="*/ 0 h 27"/>
                  <a:gd name="T14" fmla="*/ 34811 w 170"/>
                  <a:gd name="T15" fmla="*/ 3173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0" h="27">
                    <a:moveTo>
                      <a:pt x="170" y="13"/>
                    </a:moveTo>
                    <a:cubicBezTo>
                      <a:pt x="170" y="21"/>
                      <a:pt x="170" y="27"/>
                      <a:pt x="162" y="27"/>
                    </a:cubicBezTo>
                    <a:cubicBezTo>
                      <a:pt x="9" y="27"/>
                      <a:pt x="9" y="27"/>
                      <a:pt x="9" y="27"/>
                    </a:cubicBezTo>
                    <a:cubicBezTo>
                      <a:pt x="1" y="27"/>
                      <a:pt x="0" y="21"/>
                      <a:pt x="0" y="13"/>
                    </a:cubicBezTo>
                    <a:cubicBezTo>
                      <a:pt x="0" y="13"/>
                      <a:pt x="0" y="13"/>
                      <a:pt x="0" y="13"/>
                    </a:cubicBezTo>
                    <a:cubicBezTo>
                      <a:pt x="0" y="6"/>
                      <a:pt x="1" y="0"/>
                      <a:pt x="9" y="0"/>
                    </a:cubicBezTo>
                    <a:cubicBezTo>
                      <a:pt x="162" y="0"/>
                      <a:pt x="162" y="0"/>
                      <a:pt x="162" y="0"/>
                    </a:cubicBezTo>
                    <a:cubicBezTo>
                      <a:pt x="170" y="0"/>
                      <a:pt x="170" y="6"/>
                      <a:pt x="170" y="13"/>
                    </a:cubicBezTo>
                    <a:close/>
                  </a:path>
                </a:pathLst>
              </a:custGeom>
              <a:solidFill>
                <a:srgbClr val="A59A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67" name="Oval 53">
                <a:extLst>
                  <a:ext uri="{FF2B5EF4-FFF2-40B4-BE49-F238E27FC236}">
                    <a16:creationId xmlns:a16="http://schemas.microsoft.com/office/drawing/2014/main" id="{0A70578E-5816-4E40-B117-34B55DD2B28F}"/>
                  </a:ext>
                </a:extLst>
              </p:cNvPr>
              <p:cNvSpPr>
                <a:spLocks noChangeArrowheads="1"/>
              </p:cNvSpPr>
              <p:nvPr/>
            </p:nvSpPr>
            <p:spPr bwMode="auto">
              <a:xfrm>
                <a:off x="503" y="2012"/>
                <a:ext cx="135" cy="63"/>
              </a:xfrm>
              <a:prstGeom prst="ellipse">
                <a:avLst/>
              </a:pr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68" name="Oval 54">
                <a:extLst>
                  <a:ext uri="{FF2B5EF4-FFF2-40B4-BE49-F238E27FC236}">
                    <a16:creationId xmlns:a16="http://schemas.microsoft.com/office/drawing/2014/main" id="{8E2A5F14-EA9E-49CA-AA4A-0383A6C1B3E6}"/>
                  </a:ext>
                </a:extLst>
              </p:cNvPr>
              <p:cNvSpPr>
                <a:spLocks noChangeArrowheads="1"/>
              </p:cNvSpPr>
              <p:nvPr/>
            </p:nvSpPr>
            <p:spPr bwMode="auto">
              <a:xfrm>
                <a:off x="532" y="2043"/>
                <a:ext cx="130" cy="57"/>
              </a:xfrm>
              <a:prstGeom prst="ellipse">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69" name="Oval 55">
                <a:extLst>
                  <a:ext uri="{FF2B5EF4-FFF2-40B4-BE49-F238E27FC236}">
                    <a16:creationId xmlns:a16="http://schemas.microsoft.com/office/drawing/2014/main" id="{5D49AE4A-9F1E-4A5E-A47E-70B392E3A4B1}"/>
                  </a:ext>
                </a:extLst>
              </p:cNvPr>
              <p:cNvSpPr>
                <a:spLocks noChangeArrowheads="1"/>
              </p:cNvSpPr>
              <p:nvPr/>
            </p:nvSpPr>
            <p:spPr bwMode="auto">
              <a:xfrm>
                <a:off x="515" y="2025"/>
                <a:ext cx="141" cy="62"/>
              </a:xfrm>
              <a:prstGeom prst="ellipse">
                <a:avLst/>
              </a:pr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70" name="Freeform 56">
                <a:extLst>
                  <a:ext uri="{FF2B5EF4-FFF2-40B4-BE49-F238E27FC236}">
                    <a16:creationId xmlns:a16="http://schemas.microsoft.com/office/drawing/2014/main" id="{F726D254-6363-49F3-9C71-D8FDE50554B0}"/>
                  </a:ext>
                </a:extLst>
              </p:cNvPr>
              <p:cNvSpPr>
                <a:spLocks/>
              </p:cNvSpPr>
              <p:nvPr/>
            </p:nvSpPr>
            <p:spPr bwMode="auto">
              <a:xfrm>
                <a:off x="526" y="2031"/>
                <a:ext cx="95" cy="44"/>
              </a:xfrm>
              <a:custGeom>
                <a:avLst/>
                <a:gdLst>
                  <a:gd name="T0" fmla="*/ 214 w 16"/>
                  <a:gd name="T1" fmla="*/ 987 h 7"/>
                  <a:gd name="T2" fmla="*/ 2078 w 16"/>
                  <a:gd name="T3" fmla="*/ 239 h 7"/>
                  <a:gd name="T4" fmla="*/ 3349 w 16"/>
                  <a:gd name="T5" fmla="*/ 515 h 7"/>
                  <a:gd name="T6" fmla="*/ 1870 w 16"/>
                  <a:gd name="T7" fmla="*/ 0 h 7"/>
                  <a:gd name="T8" fmla="*/ 0 w 16"/>
                  <a:gd name="T9" fmla="*/ 987 h 7"/>
                  <a:gd name="T10" fmla="*/ 849 w 16"/>
                  <a:gd name="T11" fmla="*/ 1741 h 7"/>
                  <a:gd name="T12" fmla="*/ 214 w 16"/>
                  <a:gd name="T13" fmla="*/ 987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 h="7">
                    <a:moveTo>
                      <a:pt x="1" y="4"/>
                    </a:moveTo>
                    <a:cubicBezTo>
                      <a:pt x="1" y="2"/>
                      <a:pt x="6" y="1"/>
                      <a:pt x="10" y="1"/>
                    </a:cubicBezTo>
                    <a:cubicBezTo>
                      <a:pt x="12" y="1"/>
                      <a:pt x="14" y="1"/>
                      <a:pt x="16" y="2"/>
                    </a:cubicBezTo>
                    <a:cubicBezTo>
                      <a:pt x="14" y="1"/>
                      <a:pt x="12" y="0"/>
                      <a:pt x="9" y="0"/>
                    </a:cubicBezTo>
                    <a:cubicBezTo>
                      <a:pt x="4" y="0"/>
                      <a:pt x="0" y="2"/>
                      <a:pt x="0" y="4"/>
                    </a:cubicBezTo>
                    <a:cubicBezTo>
                      <a:pt x="0" y="5"/>
                      <a:pt x="2" y="6"/>
                      <a:pt x="4" y="7"/>
                    </a:cubicBezTo>
                    <a:cubicBezTo>
                      <a:pt x="3" y="6"/>
                      <a:pt x="1" y="6"/>
                      <a:pt x="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71" name="Freeform 57">
                <a:extLst>
                  <a:ext uri="{FF2B5EF4-FFF2-40B4-BE49-F238E27FC236}">
                    <a16:creationId xmlns:a16="http://schemas.microsoft.com/office/drawing/2014/main" id="{C2EA0ECD-8421-4781-B4EE-249B2547EE63}"/>
                  </a:ext>
                </a:extLst>
              </p:cNvPr>
              <p:cNvSpPr>
                <a:spLocks/>
              </p:cNvSpPr>
              <p:nvPr/>
            </p:nvSpPr>
            <p:spPr bwMode="auto">
              <a:xfrm>
                <a:off x="691" y="2012"/>
                <a:ext cx="407" cy="119"/>
              </a:xfrm>
              <a:custGeom>
                <a:avLst/>
                <a:gdLst>
                  <a:gd name="T0" fmla="*/ 13537 w 69"/>
                  <a:gd name="T1" fmla="*/ 983 h 19"/>
                  <a:gd name="T2" fmla="*/ 12735 w 69"/>
                  <a:gd name="T3" fmla="*/ 4434 h 19"/>
                  <a:gd name="T4" fmla="*/ 0 w 69"/>
                  <a:gd name="T5" fmla="*/ 4434 h 19"/>
                  <a:gd name="T6" fmla="*/ 12316 w 69"/>
                  <a:gd name="T7" fmla="*/ 3451 h 19"/>
                  <a:gd name="T8" fmla="*/ 13537 w 69"/>
                  <a:gd name="T9" fmla="*/ 983 h 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9" h="19">
                    <a:moveTo>
                      <a:pt x="66" y="4"/>
                    </a:moveTo>
                    <a:cubicBezTo>
                      <a:pt x="66" y="0"/>
                      <a:pt x="69" y="18"/>
                      <a:pt x="62" y="18"/>
                    </a:cubicBezTo>
                    <a:cubicBezTo>
                      <a:pt x="53" y="19"/>
                      <a:pt x="0" y="18"/>
                      <a:pt x="0" y="18"/>
                    </a:cubicBezTo>
                    <a:cubicBezTo>
                      <a:pt x="9" y="18"/>
                      <a:pt x="55" y="18"/>
                      <a:pt x="60" y="14"/>
                    </a:cubicBezTo>
                    <a:cubicBezTo>
                      <a:pt x="65" y="10"/>
                      <a:pt x="65" y="8"/>
                      <a:pt x="66" y="4"/>
                    </a:cubicBezTo>
                    <a:close/>
                  </a:path>
                </a:pathLst>
              </a:custGeom>
              <a:solidFill>
                <a:srgbClr val="EDCD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72" name="Freeform 58">
                <a:extLst>
                  <a:ext uri="{FF2B5EF4-FFF2-40B4-BE49-F238E27FC236}">
                    <a16:creationId xmlns:a16="http://schemas.microsoft.com/office/drawing/2014/main" id="{3AF452F4-BEB6-4D13-BD7C-6C01526CC6B1}"/>
                  </a:ext>
                </a:extLst>
              </p:cNvPr>
              <p:cNvSpPr>
                <a:spLocks/>
              </p:cNvSpPr>
              <p:nvPr/>
            </p:nvSpPr>
            <p:spPr bwMode="auto">
              <a:xfrm>
                <a:off x="120" y="2006"/>
                <a:ext cx="235" cy="106"/>
              </a:xfrm>
              <a:custGeom>
                <a:avLst/>
                <a:gdLst>
                  <a:gd name="T0" fmla="*/ 623 w 40"/>
                  <a:gd name="T1" fmla="*/ 4122 h 17"/>
                  <a:gd name="T2" fmla="*/ 623 w 40"/>
                  <a:gd name="T3" fmla="*/ 468 h 17"/>
                  <a:gd name="T4" fmla="*/ 8113 w 40"/>
                  <a:gd name="T5" fmla="*/ 0 h 17"/>
                  <a:gd name="T6" fmla="*/ 828 w 40"/>
                  <a:gd name="T7" fmla="*/ 2176 h 17"/>
                  <a:gd name="T8" fmla="*/ 623 w 40"/>
                  <a:gd name="T9" fmla="*/ 4122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0" h="17">
                    <a:moveTo>
                      <a:pt x="3" y="17"/>
                    </a:moveTo>
                    <a:cubicBezTo>
                      <a:pt x="0" y="13"/>
                      <a:pt x="0" y="4"/>
                      <a:pt x="3" y="2"/>
                    </a:cubicBezTo>
                    <a:cubicBezTo>
                      <a:pt x="5" y="0"/>
                      <a:pt x="23" y="0"/>
                      <a:pt x="40" y="0"/>
                    </a:cubicBezTo>
                    <a:cubicBezTo>
                      <a:pt x="32" y="0"/>
                      <a:pt x="5" y="1"/>
                      <a:pt x="4" y="9"/>
                    </a:cubicBezTo>
                    <a:cubicBezTo>
                      <a:pt x="3" y="11"/>
                      <a:pt x="3" y="17"/>
                      <a:pt x="3" y="17"/>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73" name="Freeform 59">
                <a:extLst>
                  <a:ext uri="{FF2B5EF4-FFF2-40B4-BE49-F238E27FC236}">
                    <a16:creationId xmlns:a16="http://schemas.microsoft.com/office/drawing/2014/main" id="{6228E372-FECD-4E40-A760-196481FA04EE}"/>
                  </a:ext>
                </a:extLst>
              </p:cNvPr>
              <p:cNvSpPr>
                <a:spLocks/>
              </p:cNvSpPr>
              <p:nvPr/>
            </p:nvSpPr>
            <p:spPr bwMode="auto">
              <a:xfrm>
                <a:off x="102" y="1981"/>
                <a:ext cx="1002" cy="169"/>
              </a:xfrm>
              <a:custGeom>
                <a:avLst/>
                <a:gdLst>
                  <a:gd name="T0" fmla="*/ 34811 w 170"/>
                  <a:gd name="T1" fmla="*/ 3173 h 27"/>
                  <a:gd name="T2" fmla="*/ 33178 w 170"/>
                  <a:gd name="T3" fmla="*/ 6622 h 27"/>
                  <a:gd name="T4" fmla="*/ 1839 w 170"/>
                  <a:gd name="T5" fmla="*/ 6622 h 27"/>
                  <a:gd name="T6" fmla="*/ 0 w 170"/>
                  <a:gd name="T7" fmla="*/ 3173 h 27"/>
                  <a:gd name="T8" fmla="*/ 0 w 170"/>
                  <a:gd name="T9" fmla="*/ 3173 h 27"/>
                  <a:gd name="T10" fmla="*/ 1839 w 170"/>
                  <a:gd name="T11" fmla="*/ 0 h 27"/>
                  <a:gd name="T12" fmla="*/ 33178 w 170"/>
                  <a:gd name="T13" fmla="*/ 0 h 27"/>
                  <a:gd name="T14" fmla="*/ 34811 w 170"/>
                  <a:gd name="T15" fmla="*/ 3173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0" h="27">
                    <a:moveTo>
                      <a:pt x="170" y="13"/>
                    </a:moveTo>
                    <a:cubicBezTo>
                      <a:pt x="170" y="21"/>
                      <a:pt x="170" y="27"/>
                      <a:pt x="162" y="27"/>
                    </a:cubicBezTo>
                    <a:cubicBezTo>
                      <a:pt x="9" y="27"/>
                      <a:pt x="9" y="27"/>
                      <a:pt x="9" y="27"/>
                    </a:cubicBezTo>
                    <a:cubicBezTo>
                      <a:pt x="1" y="27"/>
                      <a:pt x="0" y="21"/>
                      <a:pt x="0" y="13"/>
                    </a:cubicBezTo>
                    <a:cubicBezTo>
                      <a:pt x="0" y="13"/>
                      <a:pt x="0" y="13"/>
                      <a:pt x="0" y="13"/>
                    </a:cubicBezTo>
                    <a:cubicBezTo>
                      <a:pt x="0" y="6"/>
                      <a:pt x="1" y="0"/>
                      <a:pt x="9" y="0"/>
                    </a:cubicBezTo>
                    <a:cubicBezTo>
                      <a:pt x="162" y="0"/>
                      <a:pt x="162" y="0"/>
                      <a:pt x="162" y="0"/>
                    </a:cubicBezTo>
                    <a:cubicBezTo>
                      <a:pt x="170" y="0"/>
                      <a:pt x="170" y="6"/>
                      <a:pt x="170" y="13"/>
                    </a:cubicBezTo>
                    <a:close/>
                  </a:path>
                </a:pathLst>
              </a:custGeom>
              <a:noFill/>
              <a:ln w="19050"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74" name="Oval 60">
                <a:extLst>
                  <a:ext uri="{FF2B5EF4-FFF2-40B4-BE49-F238E27FC236}">
                    <a16:creationId xmlns:a16="http://schemas.microsoft.com/office/drawing/2014/main" id="{A25F3D94-3FC4-45FE-9EAB-E3533BE5375B}"/>
                  </a:ext>
                </a:extLst>
              </p:cNvPr>
              <p:cNvSpPr>
                <a:spLocks noChangeArrowheads="1"/>
              </p:cNvSpPr>
              <p:nvPr/>
            </p:nvSpPr>
            <p:spPr bwMode="auto">
              <a:xfrm>
                <a:off x="515" y="2025"/>
                <a:ext cx="141" cy="62"/>
              </a:xfrm>
              <a:prstGeom prst="ellipse">
                <a:avLst/>
              </a:prstGeom>
              <a:noFill/>
              <a:ln w="9525"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75" name="Freeform 61">
                <a:extLst>
                  <a:ext uri="{FF2B5EF4-FFF2-40B4-BE49-F238E27FC236}">
                    <a16:creationId xmlns:a16="http://schemas.microsoft.com/office/drawing/2014/main" id="{54F2CA14-D130-420F-B90A-4192980D5BB5}"/>
                  </a:ext>
                </a:extLst>
              </p:cNvPr>
              <p:cNvSpPr>
                <a:spLocks/>
              </p:cNvSpPr>
              <p:nvPr/>
            </p:nvSpPr>
            <p:spPr bwMode="auto">
              <a:xfrm>
                <a:off x="114" y="1993"/>
                <a:ext cx="978" cy="144"/>
              </a:xfrm>
              <a:custGeom>
                <a:avLst/>
                <a:gdLst>
                  <a:gd name="T0" fmla="*/ 0 w 166"/>
                  <a:gd name="T1" fmla="*/ 2705 h 23"/>
                  <a:gd name="T2" fmla="*/ 1426 w 166"/>
                  <a:gd name="T3" fmla="*/ 0 h 23"/>
                  <a:gd name="T4" fmla="*/ 32734 w 166"/>
                  <a:gd name="T5" fmla="*/ 0 h 23"/>
                  <a:gd name="T6" fmla="*/ 33947 w 166"/>
                  <a:gd name="T7" fmla="*/ 2705 h 23"/>
                  <a:gd name="T8" fmla="*/ 32734 w 166"/>
                  <a:gd name="T9" fmla="*/ 5647 h 23"/>
                  <a:gd name="T10" fmla="*/ 1426 w 166"/>
                  <a:gd name="T11" fmla="*/ 5647 h 23"/>
                  <a:gd name="T12" fmla="*/ 0 w 166"/>
                  <a:gd name="T13" fmla="*/ 2705 h 2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6" h="23">
                    <a:moveTo>
                      <a:pt x="0" y="11"/>
                    </a:moveTo>
                    <a:cubicBezTo>
                      <a:pt x="0" y="2"/>
                      <a:pt x="3" y="0"/>
                      <a:pt x="7" y="0"/>
                    </a:cubicBezTo>
                    <a:cubicBezTo>
                      <a:pt x="160" y="0"/>
                      <a:pt x="160" y="0"/>
                      <a:pt x="160" y="0"/>
                    </a:cubicBezTo>
                    <a:cubicBezTo>
                      <a:pt x="165" y="0"/>
                      <a:pt x="166" y="3"/>
                      <a:pt x="166" y="11"/>
                    </a:cubicBezTo>
                    <a:cubicBezTo>
                      <a:pt x="166" y="20"/>
                      <a:pt x="165" y="23"/>
                      <a:pt x="160" y="23"/>
                    </a:cubicBezTo>
                    <a:cubicBezTo>
                      <a:pt x="7" y="23"/>
                      <a:pt x="7" y="23"/>
                      <a:pt x="7" y="23"/>
                    </a:cubicBezTo>
                    <a:cubicBezTo>
                      <a:pt x="3" y="23"/>
                      <a:pt x="0" y="21"/>
                      <a:pt x="0" y="11"/>
                    </a:cubicBezTo>
                    <a:close/>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grpSp>
        <p:grpSp>
          <p:nvGrpSpPr>
            <p:cNvPr id="276" name="Group 51">
              <a:extLst>
                <a:ext uri="{FF2B5EF4-FFF2-40B4-BE49-F238E27FC236}">
                  <a16:creationId xmlns:a16="http://schemas.microsoft.com/office/drawing/2014/main" id="{49D44188-1085-4903-8D47-9499B2F02A4A}"/>
                </a:ext>
              </a:extLst>
            </p:cNvPr>
            <p:cNvGrpSpPr>
              <a:grpSpLocks/>
            </p:cNvGrpSpPr>
            <p:nvPr/>
          </p:nvGrpSpPr>
          <p:grpSpPr bwMode="auto">
            <a:xfrm rot="392335">
              <a:off x="5717262" y="2712745"/>
              <a:ext cx="1590675" cy="268288"/>
              <a:chOff x="102" y="1981"/>
              <a:chExt cx="1002" cy="169"/>
            </a:xfrm>
          </p:grpSpPr>
          <p:sp>
            <p:nvSpPr>
              <p:cNvPr id="277" name="Freeform 52">
                <a:extLst>
                  <a:ext uri="{FF2B5EF4-FFF2-40B4-BE49-F238E27FC236}">
                    <a16:creationId xmlns:a16="http://schemas.microsoft.com/office/drawing/2014/main" id="{1732ED28-1097-46B6-960B-0FA79FAF6D4C}"/>
                  </a:ext>
                </a:extLst>
              </p:cNvPr>
              <p:cNvSpPr>
                <a:spLocks/>
              </p:cNvSpPr>
              <p:nvPr/>
            </p:nvSpPr>
            <p:spPr bwMode="auto">
              <a:xfrm>
                <a:off x="102" y="1981"/>
                <a:ext cx="1002" cy="169"/>
              </a:xfrm>
              <a:custGeom>
                <a:avLst/>
                <a:gdLst>
                  <a:gd name="T0" fmla="*/ 34811 w 170"/>
                  <a:gd name="T1" fmla="*/ 3173 h 27"/>
                  <a:gd name="T2" fmla="*/ 33178 w 170"/>
                  <a:gd name="T3" fmla="*/ 6622 h 27"/>
                  <a:gd name="T4" fmla="*/ 1839 w 170"/>
                  <a:gd name="T5" fmla="*/ 6622 h 27"/>
                  <a:gd name="T6" fmla="*/ 0 w 170"/>
                  <a:gd name="T7" fmla="*/ 3173 h 27"/>
                  <a:gd name="T8" fmla="*/ 0 w 170"/>
                  <a:gd name="T9" fmla="*/ 3173 h 27"/>
                  <a:gd name="T10" fmla="*/ 1839 w 170"/>
                  <a:gd name="T11" fmla="*/ 0 h 27"/>
                  <a:gd name="T12" fmla="*/ 33178 w 170"/>
                  <a:gd name="T13" fmla="*/ 0 h 27"/>
                  <a:gd name="T14" fmla="*/ 34811 w 170"/>
                  <a:gd name="T15" fmla="*/ 3173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0" h="27">
                    <a:moveTo>
                      <a:pt x="170" y="13"/>
                    </a:moveTo>
                    <a:cubicBezTo>
                      <a:pt x="170" y="21"/>
                      <a:pt x="170" y="27"/>
                      <a:pt x="162" y="27"/>
                    </a:cubicBezTo>
                    <a:cubicBezTo>
                      <a:pt x="9" y="27"/>
                      <a:pt x="9" y="27"/>
                      <a:pt x="9" y="27"/>
                    </a:cubicBezTo>
                    <a:cubicBezTo>
                      <a:pt x="1" y="27"/>
                      <a:pt x="0" y="21"/>
                      <a:pt x="0" y="13"/>
                    </a:cubicBezTo>
                    <a:cubicBezTo>
                      <a:pt x="0" y="13"/>
                      <a:pt x="0" y="13"/>
                      <a:pt x="0" y="13"/>
                    </a:cubicBezTo>
                    <a:cubicBezTo>
                      <a:pt x="0" y="6"/>
                      <a:pt x="1" y="0"/>
                      <a:pt x="9" y="0"/>
                    </a:cubicBezTo>
                    <a:cubicBezTo>
                      <a:pt x="162" y="0"/>
                      <a:pt x="162" y="0"/>
                      <a:pt x="162" y="0"/>
                    </a:cubicBezTo>
                    <a:cubicBezTo>
                      <a:pt x="170" y="0"/>
                      <a:pt x="170" y="6"/>
                      <a:pt x="170" y="13"/>
                    </a:cubicBezTo>
                    <a:close/>
                  </a:path>
                </a:pathLst>
              </a:custGeom>
              <a:solidFill>
                <a:srgbClr val="A59A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78" name="Oval 53">
                <a:extLst>
                  <a:ext uri="{FF2B5EF4-FFF2-40B4-BE49-F238E27FC236}">
                    <a16:creationId xmlns:a16="http://schemas.microsoft.com/office/drawing/2014/main" id="{3844A7F4-11D3-481C-9F84-5AC91F5288A5}"/>
                  </a:ext>
                </a:extLst>
              </p:cNvPr>
              <p:cNvSpPr>
                <a:spLocks noChangeArrowheads="1"/>
              </p:cNvSpPr>
              <p:nvPr/>
            </p:nvSpPr>
            <p:spPr bwMode="auto">
              <a:xfrm>
                <a:off x="503" y="2012"/>
                <a:ext cx="135" cy="63"/>
              </a:xfrm>
              <a:prstGeom prst="ellipse">
                <a:avLst/>
              </a:pr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79" name="Oval 54">
                <a:extLst>
                  <a:ext uri="{FF2B5EF4-FFF2-40B4-BE49-F238E27FC236}">
                    <a16:creationId xmlns:a16="http://schemas.microsoft.com/office/drawing/2014/main" id="{633E9627-50DD-45E5-95B6-D33D7DC3B356}"/>
                  </a:ext>
                </a:extLst>
              </p:cNvPr>
              <p:cNvSpPr>
                <a:spLocks noChangeArrowheads="1"/>
              </p:cNvSpPr>
              <p:nvPr/>
            </p:nvSpPr>
            <p:spPr bwMode="auto">
              <a:xfrm>
                <a:off x="532" y="2043"/>
                <a:ext cx="130" cy="57"/>
              </a:xfrm>
              <a:prstGeom prst="ellipse">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80" name="Oval 55">
                <a:extLst>
                  <a:ext uri="{FF2B5EF4-FFF2-40B4-BE49-F238E27FC236}">
                    <a16:creationId xmlns:a16="http://schemas.microsoft.com/office/drawing/2014/main" id="{38A837D3-31E5-4E89-9DF5-30A76ADF4F22}"/>
                  </a:ext>
                </a:extLst>
              </p:cNvPr>
              <p:cNvSpPr>
                <a:spLocks noChangeArrowheads="1"/>
              </p:cNvSpPr>
              <p:nvPr/>
            </p:nvSpPr>
            <p:spPr bwMode="auto">
              <a:xfrm>
                <a:off x="515" y="2025"/>
                <a:ext cx="141" cy="62"/>
              </a:xfrm>
              <a:prstGeom prst="ellipse">
                <a:avLst/>
              </a:pr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81" name="Freeform 56">
                <a:extLst>
                  <a:ext uri="{FF2B5EF4-FFF2-40B4-BE49-F238E27FC236}">
                    <a16:creationId xmlns:a16="http://schemas.microsoft.com/office/drawing/2014/main" id="{1A03D77D-F5A3-4555-B8CD-6153733E28BA}"/>
                  </a:ext>
                </a:extLst>
              </p:cNvPr>
              <p:cNvSpPr>
                <a:spLocks/>
              </p:cNvSpPr>
              <p:nvPr/>
            </p:nvSpPr>
            <p:spPr bwMode="auto">
              <a:xfrm>
                <a:off x="526" y="2031"/>
                <a:ext cx="95" cy="44"/>
              </a:xfrm>
              <a:custGeom>
                <a:avLst/>
                <a:gdLst>
                  <a:gd name="T0" fmla="*/ 214 w 16"/>
                  <a:gd name="T1" fmla="*/ 987 h 7"/>
                  <a:gd name="T2" fmla="*/ 2078 w 16"/>
                  <a:gd name="T3" fmla="*/ 239 h 7"/>
                  <a:gd name="T4" fmla="*/ 3349 w 16"/>
                  <a:gd name="T5" fmla="*/ 515 h 7"/>
                  <a:gd name="T6" fmla="*/ 1870 w 16"/>
                  <a:gd name="T7" fmla="*/ 0 h 7"/>
                  <a:gd name="T8" fmla="*/ 0 w 16"/>
                  <a:gd name="T9" fmla="*/ 987 h 7"/>
                  <a:gd name="T10" fmla="*/ 849 w 16"/>
                  <a:gd name="T11" fmla="*/ 1741 h 7"/>
                  <a:gd name="T12" fmla="*/ 214 w 16"/>
                  <a:gd name="T13" fmla="*/ 987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 h="7">
                    <a:moveTo>
                      <a:pt x="1" y="4"/>
                    </a:moveTo>
                    <a:cubicBezTo>
                      <a:pt x="1" y="2"/>
                      <a:pt x="6" y="1"/>
                      <a:pt x="10" y="1"/>
                    </a:cubicBezTo>
                    <a:cubicBezTo>
                      <a:pt x="12" y="1"/>
                      <a:pt x="14" y="1"/>
                      <a:pt x="16" y="2"/>
                    </a:cubicBezTo>
                    <a:cubicBezTo>
                      <a:pt x="14" y="1"/>
                      <a:pt x="12" y="0"/>
                      <a:pt x="9" y="0"/>
                    </a:cubicBezTo>
                    <a:cubicBezTo>
                      <a:pt x="4" y="0"/>
                      <a:pt x="0" y="2"/>
                      <a:pt x="0" y="4"/>
                    </a:cubicBezTo>
                    <a:cubicBezTo>
                      <a:pt x="0" y="5"/>
                      <a:pt x="2" y="6"/>
                      <a:pt x="4" y="7"/>
                    </a:cubicBezTo>
                    <a:cubicBezTo>
                      <a:pt x="3" y="6"/>
                      <a:pt x="1" y="6"/>
                      <a:pt x="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82" name="Freeform 57">
                <a:extLst>
                  <a:ext uri="{FF2B5EF4-FFF2-40B4-BE49-F238E27FC236}">
                    <a16:creationId xmlns:a16="http://schemas.microsoft.com/office/drawing/2014/main" id="{B3442EA4-C8C1-4A46-8D8A-3D32D9ECEA5C}"/>
                  </a:ext>
                </a:extLst>
              </p:cNvPr>
              <p:cNvSpPr>
                <a:spLocks/>
              </p:cNvSpPr>
              <p:nvPr/>
            </p:nvSpPr>
            <p:spPr bwMode="auto">
              <a:xfrm>
                <a:off x="691" y="2012"/>
                <a:ext cx="407" cy="119"/>
              </a:xfrm>
              <a:custGeom>
                <a:avLst/>
                <a:gdLst>
                  <a:gd name="T0" fmla="*/ 13537 w 69"/>
                  <a:gd name="T1" fmla="*/ 983 h 19"/>
                  <a:gd name="T2" fmla="*/ 12735 w 69"/>
                  <a:gd name="T3" fmla="*/ 4434 h 19"/>
                  <a:gd name="T4" fmla="*/ 0 w 69"/>
                  <a:gd name="T5" fmla="*/ 4434 h 19"/>
                  <a:gd name="T6" fmla="*/ 12316 w 69"/>
                  <a:gd name="T7" fmla="*/ 3451 h 19"/>
                  <a:gd name="T8" fmla="*/ 13537 w 69"/>
                  <a:gd name="T9" fmla="*/ 983 h 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9" h="19">
                    <a:moveTo>
                      <a:pt x="66" y="4"/>
                    </a:moveTo>
                    <a:cubicBezTo>
                      <a:pt x="66" y="0"/>
                      <a:pt x="69" y="18"/>
                      <a:pt x="62" y="18"/>
                    </a:cubicBezTo>
                    <a:cubicBezTo>
                      <a:pt x="53" y="19"/>
                      <a:pt x="0" y="18"/>
                      <a:pt x="0" y="18"/>
                    </a:cubicBezTo>
                    <a:cubicBezTo>
                      <a:pt x="9" y="18"/>
                      <a:pt x="55" y="18"/>
                      <a:pt x="60" y="14"/>
                    </a:cubicBezTo>
                    <a:cubicBezTo>
                      <a:pt x="65" y="10"/>
                      <a:pt x="65" y="8"/>
                      <a:pt x="66" y="4"/>
                    </a:cubicBezTo>
                    <a:close/>
                  </a:path>
                </a:pathLst>
              </a:custGeom>
              <a:solidFill>
                <a:srgbClr val="EDCD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83" name="Freeform 58">
                <a:extLst>
                  <a:ext uri="{FF2B5EF4-FFF2-40B4-BE49-F238E27FC236}">
                    <a16:creationId xmlns:a16="http://schemas.microsoft.com/office/drawing/2014/main" id="{075E0134-903F-4CFD-9D55-CA79066AA027}"/>
                  </a:ext>
                </a:extLst>
              </p:cNvPr>
              <p:cNvSpPr>
                <a:spLocks/>
              </p:cNvSpPr>
              <p:nvPr/>
            </p:nvSpPr>
            <p:spPr bwMode="auto">
              <a:xfrm>
                <a:off x="120" y="2006"/>
                <a:ext cx="235" cy="106"/>
              </a:xfrm>
              <a:custGeom>
                <a:avLst/>
                <a:gdLst>
                  <a:gd name="T0" fmla="*/ 623 w 40"/>
                  <a:gd name="T1" fmla="*/ 4122 h 17"/>
                  <a:gd name="T2" fmla="*/ 623 w 40"/>
                  <a:gd name="T3" fmla="*/ 468 h 17"/>
                  <a:gd name="T4" fmla="*/ 8113 w 40"/>
                  <a:gd name="T5" fmla="*/ 0 h 17"/>
                  <a:gd name="T6" fmla="*/ 828 w 40"/>
                  <a:gd name="T7" fmla="*/ 2176 h 17"/>
                  <a:gd name="T8" fmla="*/ 623 w 40"/>
                  <a:gd name="T9" fmla="*/ 4122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0" h="17">
                    <a:moveTo>
                      <a:pt x="3" y="17"/>
                    </a:moveTo>
                    <a:cubicBezTo>
                      <a:pt x="0" y="13"/>
                      <a:pt x="0" y="4"/>
                      <a:pt x="3" y="2"/>
                    </a:cubicBezTo>
                    <a:cubicBezTo>
                      <a:pt x="5" y="0"/>
                      <a:pt x="23" y="0"/>
                      <a:pt x="40" y="0"/>
                    </a:cubicBezTo>
                    <a:cubicBezTo>
                      <a:pt x="32" y="0"/>
                      <a:pt x="5" y="1"/>
                      <a:pt x="4" y="9"/>
                    </a:cubicBezTo>
                    <a:cubicBezTo>
                      <a:pt x="3" y="11"/>
                      <a:pt x="3" y="17"/>
                      <a:pt x="3" y="17"/>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84" name="Freeform 59">
                <a:extLst>
                  <a:ext uri="{FF2B5EF4-FFF2-40B4-BE49-F238E27FC236}">
                    <a16:creationId xmlns:a16="http://schemas.microsoft.com/office/drawing/2014/main" id="{6359BDBD-42BC-4991-8F41-B818EC644E3E}"/>
                  </a:ext>
                </a:extLst>
              </p:cNvPr>
              <p:cNvSpPr>
                <a:spLocks/>
              </p:cNvSpPr>
              <p:nvPr/>
            </p:nvSpPr>
            <p:spPr bwMode="auto">
              <a:xfrm>
                <a:off x="102" y="1981"/>
                <a:ext cx="1002" cy="169"/>
              </a:xfrm>
              <a:custGeom>
                <a:avLst/>
                <a:gdLst>
                  <a:gd name="T0" fmla="*/ 34811 w 170"/>
                  <a:gd name="T1" fmla="*/ 3173 h 27"/>
                  <a:gd name="T2" fmla="*/ 33178 w 170"/>
                  <a:gd name="T3" fmla="*/ 6622 h 27"/>
                  <a:gd name="T4" fmla="*/ 1839 w 170"/>
                  <a:gd name="T5" fmla="*/ 6622 h 27"/>
                  <a:gd name="T6" fmla="*/ 0 w 170"/>
                  <a:gd name="T7" fmla="*/ 3173 h 27"/>
                  <a:gd name="T8" fmla="*/ 0 w 170"/>
                  <a:gd name="T9" fmla="*/ 3173 h 27"/>
                  <a:gd name="T10" fmla="*/ 1839 w 170"/>
                  <a:gd name="T11" fmla="*/ 0 h 27"/>
                  <a:gd name="T12" fmla="*/ 33178 w 170"/>
                  <a:gd name="T13" fmla="*/ 0 h 27"/>
                  <a:gd name="T14" fmla="*/ 34811 w 170"/>
                  <a:gd name="T15" fmla="*/ 3173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0" h="27">
                    <a:moveTo>
                      <a:pt x="170" y="13"/>
                    </a:moveTo>
                    <a:cubicBezTo>
                      <a:pt x="170" y="21"/>
                      <a:pt x="170" y="27"/>
                      <a:pt x="162" y="27"/>
                    </a:cubicBezTo>
                    <a:cubicBezTo>
                      <a:pt x="9" y="27"/>
                      <a:pt x="9" y="27"/>
                      <a:pt x="9" y="27"/>
                    </a:cubicBezTo>
                    <a:cubicBezTo>
                      <a:pt x="1" y="27"/>
                      <a:pt x="0" y="21"/>
                      <a:pt x="0" y="13"/>
                    </a:cubicBezTo>
                    <a:cubicBezTo>
                      <a:pt x="0" y="13"/>
                      <a:pt x="0" y="13"/>
                      <a:pt x="0" y="13"/>
                    </a:cubicBezTo>
                    <a:cubicBezTo>
                      <a:pt x="0" y="6"/>
                      <a:pt x="1" y="0"/>
                      <a:pt x="9" y="0"/>
                    </a:cubicBezTo>
                    <a:cubicBezTo>
                      <a:pt x="162" y="0"/>
                      <a:pt x="162" y="0"/>
                      <a:pt x="162" y="0"/>
                    </a:cubicBezTo>
                    <a:cubicBezTo>
                      <a:pt x="170" y="0"/>
                      <a:pt x="170" y="6"/>
                      <a:pt x="170" y="13"/>
                    </a:cubicBezTo>
                    <a:close/>
                  </a:path>
                </a:pathLst>
              </a:custGeom>
              <a:noFill/>
              <a:ln w="19050"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85" name="Oval 60">
                <a:extLst>
                  <a:ext uri="{FF2B5EF4-FFF2-40B4-BE49-F238E27FC236}">
                    <a16:creationId xmlns:a16="http://schemas.microsoft.com/office/drawing/2014/main" id="{05FC4C0C-5984-4479-AA27-5E04C228B303}"/>
                  </a:ext>
                </a:extLst>
              </p:cNvPr>
              <p:cNvSpPr>
                <a:spLocks noChangeArrowheads="1"/>
              </p:cNvSpPr>
              <p:nvPr/>
            </p:nvSpPr>
            <p:spPr bwMode="auto">
              <a:xfrm>
                <a:off x="515" y="2025"/>
                <a:ext cx="141" cy="62"/>
              </a:xfrm>
              <a:prstGeom prst="ellipse">
                <a:avLst/>
              </a:prstGeom>
              <a:noFill/>
              <a:ln w="9525"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86" name="Freeform 61">
                <a:extLst>
                  <a:ext uri="{FF2B5EF4-FFF2-40B4-BE49-F238E27FC236}">
                    <a16:creationId xmlns:a16="http://schemas.microsoft.com/office/drawing/2014/main" id="{2C2727D9-EDD4-4F2E-B1F7-1FAA5542656B}"/>
                  </a:ext>
                </a:extLst>
              </p:cNvPr>
              <p:cNvSpPr>
                <a:spLocks/>
              </p:cNvSpPr>
              <p:nvPr/>
            </p:nvSpPr>
            <p:spPr bwMode="auto">
              <a:xfrm>
                <a:off x="114" y="1993"/>
                <a:ext cx="978" cy="144"/>
              </a:xfrm>
              <a:custGeom>
                <a:avLst/>
                <a:gdLst>
                  <a:gd name="T0" fmla="*/ 0 w 166"/>
                  <a:gd name="T1" fmla="*/ 2705 h 23"/>
                  <a:gd name="T2" fmla="*/ 1426 w 166"/>
                  <a:gd name="T3" fmla="*/ 0 h 23"/>
                  <a:gd name="T4" fmla="*/ 32734 w 166"/>
                  <a:gd name="T5" fmla="*/ 0 h 23"/>
                  <a:gd name="T6" fmla="*/ 33947 w 166"/>
                  <a:gd name="T7" fmla="*/ 2705 h 23"/>
                  <a:gd name="T8" fmla="*/ 32734 w 166"/>
                  <a:gd name="T9" fmla="*/ 5647 h 23"/>
                  <a:gd name="T10" fmla="*/ 1426 w 166"/>
                  <a:gd name="T11" fmla="*/ 5647 h 23"/>
                  <a:gd name="T12" fmla="*/ 0 w 166"/>
                  <a:gd name="T13" fmla="*/ 2705 h 2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6" h="23">
                    <a:moveTo>
                      <a:pt x="0" y="11"/>
                    </a:moveTo>
                    <a:cubicBezTo>
                      <a:pt x="0" y="2"/>
                      <a:pt x="3" y="0"/>
                      <a:pt x="7" y="0"/>
                    </a:cubicBezTo>
                    <a:cubicBezTo>
                      <a:pt x="160" y="0"/>
                      <a:pt x="160" y="0"/>
                      <a:pt x="160" y="0"/>
                    </a:cubicBezTo>
                    <a:cubicBezTo>
                      <a:pt x="165" y="0"/>
                      <a:pt x="166" y="3"/>
                      <a:pt x="166" y="11"/>
                    </a:cubicBezTo>
                    <a:cubicBezTo>
                      <a:pt x="166" y="20"/>
                      <a:pt x="165" y="23"/>
                      <a:pt x="160" y="23"/>
                    </a:cubicBezTo>
                    <a:cubicBezTo>
                      <a:pt x="7" y="23"/>
                      <a:pt x="7" y="23"/>
                      <a:pt x="7" y="23"/>
                    </a:cubicBezTo>
                    <a:cubicBezTo>
                      <a:pt x="3" y="23"/>
                      <a:pt x="0" y="21"/>
                      <a:pt x="0" y="11"/>
                    </a:cubicBezTo>
                    <a:close/>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grpSp>
        <p:grpSp>
          <p:nvGrpSpPr>
            <p:cNvPr id="287" name="Group 51">
              <a:extLst>
                <a:ext uri="{FF2B5EF4-FFF2-40B4-BE49-F238E27FC236}">
                  <a16:creationId xmlns:a16="http://schemas.microsoft.com/office/drawing/2014/main" id="{493ED5B2-0501-46A7-B789-BB48C4476156}"/>
                </a:ext>
              </a:extLst>
            </p:cNvPr>
            <p:cNvGrpSpPr>
              <a:grpSpLocks/>
            </p:cNvGrpSpPr>
            <p:nvPr/>
          </p:nvGrpSpPr>
          <p:grpSpPr bwMode="auto">
            <a:xfrm rot="170542">
              <a:off x="7335952" y="2844768"/>
              <a:ext cx="1590675" cy="268288"/>
              <a:chOff x="102" y="1981"/>
              <a:chExt cx="1002" cy="169"/>
            </a:xfrm>
          </p:grpSpPr>
          <p:sp>
            <p:nvSpPr>
              <p:cNvPr id="288" name="Freeform 52">
                <a:extLst>
                  <a:ext uri="{FF2B5EF4-FFF2-40B4-BE49-F238E27FC236}">
                    <a16:creationId xmlns:a16="http://schemas.microsoft.com/office/drawing/2014/main" id="{A889365D-A10F-4DBE-AFBC-C5B3094C61D2}"/>
                  </a:ext>
                </a:extLst>
              </p:cNvPr>
              <p:cNvSpPr>
                <a:spLocks/>
              </p:cNvSpPr>
              <p:nvPr/>
            </p:nvSpPr>
            <p:spPr bwMode="auto">
              <a:xfrm>
                <a:off x="102" y="1981"/>
                <a:ext cx="1002" cy="169"/>
              </a:xfrm>
              <a:custGeom>
                <a:avLst/>
                <a:gdLst>
                  <a:gd name="T0" fmla="*/ 34811 w 170"/>
                  <a:gd name="T1" fmla="*/ 3173 h 27"/>
                  <a:gd name="T2" fmla="*/ 33178 w 170"/>
                  <a:gd name="T3" fmla="*/ 6622 h 27"/>
                  <a:gd name="T4" fmla="*/ 1839 w 170"/>
                  <a:gd name="T5" fmla="*/ 6622 h 27"/>
                  <a:gd name="T6" fmla="*/ 0 w 170"/>
                  <a:gd name="T7" fmla="*/ 3173 h 27"/>
                  <a:gd name="T8" fmla="*/ 0 w 170"/>
                  <a:gd name="T9" fmla="*/ 3173 h 27"/>
                  <a:gd name="T10" fmla="*/ 1839 w 170"/>
                  <a:gd name="T11" fmla="*/ 0 h 27"/>
                  <a:gd name="T12" fmla="*/ 33178 w 170"/>
                  <a:gd name="T13" fmla="*/ 0 h 27"/>
                  <a:gd name="T14" fmla="*/ 34811 w 170"/>
                  <a:gd name="T15" fmla="*/ 3173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0" h="27">
                    <a:moveTo>
                      <a:pt x="170" y="13"/>
                    </a:moveTo>
                    <a:cubicBezTo>
                      <a:pt x="170" y="21"/>
                      <a:pt x="170" y="27"/>
                      <a:pt x="162" y="27"/>
                    </a:cubicBezTo>
                    <a:cubicBezTo>
                      <a:pt x="9" y="27"/>
                      <a:pt x="9" y="27"/>
                      <a:pt x="9" y="27"/>
                    </a:cubicBezTo>
                    <a:cubicBezTo>
                      <a:pt x="1" y="27"/>
                      <a:pt x="0" y="21"/>
                      <a:pt x="0" y="13"/>
                    </a:cubicBezTo>
                    <a:cubicBezTo>
                      <a:pt x="0" y="13"/>
                      <a:pt x="0" y="13"/>
                      <a:pt x="0" y="13"/>
                    </a:cubicBezTo>
                    <a:cubicBezTo>
                      <a:pt x="0" y="6"/>
                      <a:pt x="1" y="0"/>
                      <a:pt x="9" y="0"/>
                    </a:cubicBezTo>
                    <a:cubicBezTo>
                      <a:pt x="162" y="0"/>
                      <a:pt x="162" y="0"/>
                      <a:pt x="162" y="0"/>
                    </a:cubicBezTo>
                    <a:cubicBezTo>
                      <a:pt x="170" y="0"/>
                      <a:pt x="170" y="6"/>
                      <a:pt x="170" y="13"/>
                    </a:cubicBezTo>
                    <a:close/>
                  </a:path>
                </a:pathLst>
              </a:custGeom>
              <a:solidFill>
                <a:srgbClr val="A59A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89" name="Oval 53">
                <a:extLst>
                  <a:ext uri="{FF2B5EF4-FFF2-40B4-BE49-F238E27FC236}">
                    <a16:creationId xmlns:a16="http://schemas.microsoft.com/office/drawing/2014/main" id="{22F12890-C4BD-44BE-B649-88458498E01F}"/>
                  </a:ext>
                </a:extLst>
              </p:cNvPr>
              <p:cNvSpPr>
                <a:spLocks noChangeArrowheads="1"/>
              </p:cNvSpPr>
              <p:nvPr/>
            </p:nvSpPr>
            <p:spPr bwMode="auto">
              <a:xfrm>
                <a:off x="503" y="2012"/>
                <a:ext cx="135" cy="63"/>
              </a:xfrm>
              <a:prstGeom prst="ellipse">
                <a:avLst/>
              </a:pr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90" name="Oval 54">
                <a:extLst>
                  <a:ext uri="{FF2B5EF4-FFF2-40B4-BE49-F238E27FC236}">
                    <a16:creationId xmlns:a16="http://schemas.microsoft.com/office/drawing/2014/main" id="{B19084B2-3922-40CD-9F5F-F9CF19DC461A}"/>
                  </a:ext>
                </a:extLst>
              </p:cNvPr>
              <p:cNvSpPr>
                <a:spLocks noChangeArrowheads="1"/>
              </p:cNvSpPr>
              <p:nvPr/>
            </p:nvSpPr>
            <p:spPr bwMode="auto">
              <a:xfrm>
                <a:off x="532" y="2043"/>
                <a:ext cx="130" cy="57"/>
              </a:xfrm>
              <a:prstGeom prst="ellipse">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91" name="Oval 55">
                <a:extLst>
                  <a:ext uri="{FF2B5EF4-FFF2-40B4-BE49-F238E27FC236}">
                    <a16:creationId xmlns:a16="http://schemas.microsoft.com/office/drawing/2014/main" id="{308A5E43-4C0E-416B-BC8C-641D66E4722A}"/>
                  </a:ext>
                </a:extLst>
              </p:cNvPr>
              <p:cNvSpPr>
                <a:spLocks noChangeArrowheads="1"/>
              </p:cNvSpPr>
              <p:nvPr/>
            </p:nvSpPr>
            <p:spPr bwMode="auto">
              <a:xfrm>
                <a:off x="515" y="2025"/>
                <a:ext cx="141" cy="62"/>
              </a:xfrm>
              <a:prstGeom prst="ellipse">
                <a:avLst/>
              </a:pr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92" name="Freeform 56">
                <a:extLst>
                  <a:ext uri="{FF2B5EF4-FFF2-40B4-BE49-F238E27FC236}">
                    <a16:creationId xmlns:a16="http://schemas.microsoft.com/office/drawing/2014/main" id="{4580A808-0ED1-48FB-A37F-599BB6EFEE4A}"/>
                  </a:ext>
                </a:extLst>
              </p:cNvPr>
              <p:cNvSpPr>
                <a:spLocks/>
              </p:cNvSpPr>
              <p:nvPr/>
            </p:nvSpPr>
            <p:spPr bwMode="auto">
              <a:xfrm>
                <a:off x="526" y="2031"/>
                <a:ext cx="95" cy="44"/>
              </a:xfrm>
              <a:custGeom>
                <a:avLst/>
                <a:gdLst>
                  <a:gd name="T0" fmla="*/ 214 w 16"/>
                  <a:gd name="T1" fmla="*/ 987 h 7"/>
                  <a:gd name="T2" fmla="*/ 2078 w 16"/>
                  <a:gd name="T3" fmla="*/ 239 h 7"/>
                  <a:gd name="T4" fmla="*/ 3349 w 16"/>
                  <a:gd name="T5" fmla="*/ 515 h 7"/>
                  <a:gd name="T6" fmla="*/ 1870 w 16"/>
                  <a:gd name="T7" fmla="*/ 0 h 7"/>
                  <a:gd name="T8" fmla="*/ 0 w 16"/>
                  <a:gd name="T9" fmla="*/ 987 h 7"/>
                  <a:gd name="T10" fmla="*/ 849 w 16"/>
                  <a:gd name="T11" fmla="*/ 1741 h 7"/>
                  <a:gd name="T12" fmla="*/ 214 w 16"/>
                  <a:gd name="T13" fmla="*/ 987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 h="7">
                    <a:moveTo>
                      <a:pt x="1" y="4"/>
                    </a:moveTo>
                    <a:cubicBezTo>
                      <a:pt x="1" y="2"/>
                      <a:pt x="6" y="1"/>
                      <a:pt x="10" y="1"/>
                    </a:cubicBezTo>
                    <a:cubicBezTo>
                      <a:pt x="12" y="1"/>
                      <a:pt x="14" y="1"/>
                      <a:pt x="16" y="2"/>
                    </a:cubicBezTo>
                    <a:cubicBezTo>
                      <a:pt x="14" y="1"/>
                      <a:pt x="12" y="0"/>
                      <a:pt x="9" y="0"/>
                    </a:cubicBezTo>
                    <a:cubicBezTo>
                      <a:pt x="4" y="0"/>
                      <a:pt x="0" y="2"/>
                      <a:pt x="0" y="4"/>
                    </a:cubicBezTo>
                    <a:cubicBezTo>
                      <a:pt x="0" y="5"/>
                      <a:pt x="2" y="6"/>
                      <a:pt x="4" y="7"/>
                    </a:cubicBezTo>
                    <a:cubicBezTo>
                      <a:pt x="3" y="6"/>
                      <a:pt x="1" y="6"/>
                      <a:pt x="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93" name="Freeform 57">
                <a:extLst>
                  <a:ext uri="{FF2B5EF4-FFF2-40B4-BE49-F238E27FC236}">
                    <a16:creationId xmlns:a16="http://schemas.microsoft.com/office/drawing/2014/main" id="{316C37B2-423D-41D1-A04D-5564786F9F4B}"/>
                  </a:ext>
                </a:extLst>
              </p:cNvPr>
              <p:cNvSpPr>
                <a:spLocks/>
              </p:cNvSpPr>
              <p:nvPr/>
            </p:nvSpPr>
            <p:spPr bwMode="auto">
              <a:xfrm>
                <a:off x="691" y="2012"/>
                <a:ext cx="407" cy="119"/>
              </a:xfrm>
              <a:custGeom>
                <a:avLst/>
                <a:gdLst>
                  <a:gd name="T0" fmla="*/ 13537 w 69"/>
                  <a:gd name="T1" fmla="*/ 983 h 19"/>
                  <a:gd name="T2" fmla="*/ 12735 w 69"/>
                  <a:gd name="T3" fmla="*/ 4434 h 19"/>
                  <a:gd name="T4" fmla="*/ 0 w 69"/>
                  <a:gd name="T5" fmla="*/ 4434 h 19"/>
                  <a:gd name="T6" fmla="*/ 12316 w 69"/>
                  <a:gd name="T7" fmla="*/ 3451 h 19"/>
                  <a:gd name="T8" fmla="*/ 13537 w 69"/>
                  <a:gd name="T9" fmla="*/ 983 h 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9" h="19">
                    <a:moveTo>
                      <a:pt x="66" y="4"/>
                    </a:moveTo>
                    <a:cubicBezTo>
                      <a:pt x="66" y="0"/>
                      <a:pt x="69" y="18"/>
                      <a:pt x="62" y="18"/>
                    </a:cubicBezTo>
                    <a:cubicBezTo>
                      <a:pt x="53" y="19"/>
                      <a:pt x="0" y="18"/>
                      <a:pt x="0" y="18"/>
                    </a:cubicBezTo>
                    <a:cubicBezTo>
                      <a:pt x="9" y="18"/>
                      <a:pt x="55" y="18"/>
                      <a:pt x="60" y="14"/>
                    </a:cubicBezTo>
                    <a:cubicBezTo>
                      <a:pt x="65" y="10"/>
                      <a:pt x="65" y="8"/>
                      <a:pt x="66" y="4"/>
                    </a:cubicBezTo>
                    <a:close/>
                  </a:path>
                </a:pathLst>
              </a:custGeom>
              <a:solidFill>
                <a:srgbClr val="EDCD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94" name="Freeform 58">
                <a:extLst>
                  <a:ext uri="{FF2B5EF4-FFF2-40B4-BE49-F238E27FC236}">
                    <a16:creationId xmlns:a16="http://schemas.microsoft.com/office/drawing/2014/main" id="{4699DC86-E447-437F-BB5A-AFBD6203915E}"/>
                  </a:ext>
                </a:extLst>
              </p:cNvPr>
              <p:cNvSpPr>
                <a:spLocks/>
              </p:cNvSpPr>
              <p:nvPr/>
            </p:nvSpPr>
            <p:spPr bwMode="auto">
              <a:xfrm>
                <a:off x="120" y="2006"/>
                <a:ext cx="235" cy="106"/>
              </a:xfrm>
              <a:custGeom>
                <a:avLst/>
                <a:gdLst>
                  <a:gd name="T0" fmla="*/ 623 w 40"/>
                  <a:gd name="T1" fmla="*/ 4122 h 17"/>
                  <a:gd name="T2" fmla="*/ 623 w 40"/>
                  <a:gd name="T3" fmla="*/ 468 h 17"/>
                  <a:gd name="T4" fmla="*/ 8113 w 40"/>
                  <a:gd name="T5" fmla="*/ 0 h 17"/>
                  <a:gd name="T6" fmla="*/ 828 w 40"/>
                  <a:gd name="T7" fmla="*/ 2176 h 17"/>
                  <a:gd name="T8" fmla="*/ 623 w 40"/>
                  <a:gd name="T9" fmla="*/ 4122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0" h="17">
                    <a:moveTo>
                      <a:pt x="3" y="17"/>
                    </a:moveTo>
                    <a:cubicBezTo>
                      <a:pt x="0" y="13"/>
                      <a:pt x="0" y="4"/>
                      <a:pt x="3" y="2"/>
                    </a:cubicBezTo>
                    <a:cubicBezTo>
                      <a:pt x="5" y="0"/>
                      <a:pt x="23" y="0"/>
                      <a:pt x="40" y="0"/>
                    </a:cubicBezTo>
                    <a:cubicBezTo>
                      <a:pt x="32" y="0"/>
                      <a:pt x="5" y="1"/>
                      <a:pt x="4" y="9"/>
                    </a:cubicBezTo>
                    <a:cubicBezTo>
                      <a:pt x="3" y="11"/>
                      <a:pt x="3" y="17"/>
                      <a:pt x="3" y="17"/>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95" name="Freeform 59">
                <a:extLst>
                  <a:ext uri="{FF2B5EF4-FFF2-40B4-BE49-F238E27FC236}">
                    <a16:creationId xmlns:a16="http://schemas.microsoft.com/office/drawing/2014/main" id="{FD766EF4-CBF0-4F62-9BD3-133CC5B64D0F}"/>
                  </a:ext>
                </a:extLst>
              </p:cNvPr>
              <p:cNvSpPr>
                <a:spLocks/>
              </p:cNvSpPr>
              <p:nvPr/>
            </p:nvSpPr>
            <p:spPr bwMode="auto">
              <a:xfrm>
                <a:off x="102" y="1981"/>
                <a:ext cx="1002" cy="169"/>
              </a:xfrm>
              <a:custGeom>
                <a:avLst/>
                <a:gdLst>
                  <a:gd name="T0" fmla="*/ 34811 w 170"/>
                  <a:gd name="T1" fmla="*/ 3173 h 27"/>
                  <a:gd name="T2" fmla="*/ 33178 w 170"/>
                  <a:gd name="T3" fmla="*/ 6622 h 27"/>
                  <a:gd name="T4" fmla="*/ 1839 w 170"/>
                  <a:gd name="T5" fmla="*/ 6622 h 27"/>
                  <a:gd name="T6" fmla="*/ 0 w 170"/>
                  <a:gd name="T7" fmla="*/ 3173 h 27"/>
                  <a:gd name="T8" fmla="*/ 0 w 170"/>
                  <a:gd name="T9" fmla="*/ 3173 h 27"/>
                  <a:gd name="T10" fmla="*/ 1839 w 170"/>
                  <a:gd name="T11" fmla="*/ 0 h 27"/>
                  <a:gd name="T12" fmla="*/ 33178 w 170"/>
                  <a:gd name="T13" fmla="*/ 0 h 27"/>
                  <a:gd name="T14" fmla="*/ 34811 w 170"/>
                  <a:gd name="T15" fmla="*/ 3173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0" h="27">
                    <a:moveTo>
                      <a:pt x="170" y="13"/>
                    </a:moveTo>
                    <a:cubicBezTo>
                      <a:pt x="170" y="21"/>
                      <a:pt x="170" y="27"/>
                      <a:pt x="162" y="27"/>
                    </a:cubicBezTo>
                    <a:cubicBezTo>
                      <a:pt x="9" y="27"/>
                      <a:pt x="9" y="27"/>
                      <a:pt x="9" y="27"/>
                    </a:cubicBezTo>
                    <a:cubicBezTo>
                      <a:pt x="1" y="27"/>
                      <a:pt x="0" y="21"/>
                      <a:pt x="0" y="13"/>
                    </a:cubicBezTo>
                    <a:cubicBezTo>
                      <a:pt x="0" y="13"/>
                      <a:pt x="0" y="13"/>
                      <a:pt x="0" y="13"/>
                    </a:cubicBezTo>
                    <a:cubicBezTo>
                      <a:pt x="0" y="6"/>
                      <a:pt x="1" y="0"/>
                      <a:pt x="9" y="0"/>
                    </a:cubicBezTo>
                    <a:cubicBezTo>
                      <a:pt x="162" y="0"/>
                      <a:pt x="162" y="0"/>
                      <a:pt x="162" y="0"/>
                    </a:cubicBezTo>
                    <a:cubicBezTo>
                      <a:pt x="170" y="0"/>
                      <a:pt x="170" y="6"/>
                      <a:pt x="170" y="13"/>
                    </a:cubicBezTo>
                    <a:close/>
                  </a:path>
                </a:pathLst>
              </a:custGeom>
              <a:noFill/>
              <a:ln w="19050"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296" name="Oval 60">
                <a:extLst>
                  <a:ext uri="{FF2B5EF4-FFF2-40B4-BE49-F238E27FC236}">
                    <a16:creationId xmlns:a16="http://schemas.microsoft.com/office/drawing/2014/main" id="{02EE619F-C403-46B3-8E78-F27D5203A5AD}"/>
                  </a:ext>
                </a:extLst>
              </p:cNvPr>
              <p:cNvSpPr>
                <a:spLocks noChangeArrowheads="1"/>
              </p:cNvSpPr>
              <p:nvPr/>
            </p:nvSpPr>
            <p:spPr bwMode="auto">
              <a:xfrm>
                <a:off x="515" y="2025"/>
                <a:ext cx="141" cy="62"/>
              </a:xfrm>
              <a:prstGeom prst="ellipse">
                <a:avLst/>
              </a:prstGeom>
              <a:noFill/>
              <a:ln w="9525"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297" name="Freeform 61">
                <a:extLst>
                  <a:ext uri="{FF2B5EF4-FFF2-40B4-BE49-F238E27FC236}">
                    <a16:creationId xmlns:a16="http://schemas.microsoft.com/office/drawing/2014/main" id="{5EB90391-3EBC-4A7C-A034-1B4BDD4541DA}"/>
                  </a:ext>
                </a:extLst>
              </p:cNvPr>
              <p:cNvSpPr>
                <a:spLocks/>
              </p:cNvSpPr>
              <p:nvPr/>
            </p:nvSpPr>
            <p:spPr bwMode="auto">
              <a:xfrm>
                <a:off x="114" y="1993"/>
                <a:ext cx="978" cy="144"/>
              </a:xfrm>
              <a:custGeom>
                <a:avLst/>
                <a:gdLst>
                  <a:gd name="T0" fmla="*/ 0 w 166"/>
                  <a:gd name="T1" fmla="*/ 2705 h 23"/>
                  <a:gd name="T2" fmla="*/ 1426 w 166"/>
                  <a:gd name="T3" fmla="*/ 0 h 23"/>
                  <a:gd name="T4" fmla="*/ 32734 w 166"/>
                  <a:gd name="T5" fmla="*/ 0 h 23"/>
                  <a:gd name="T6" fmla="*/ 33947 w 166"/>
                  <a:gd name="T7" fmla="*/ 2705 h 23"/>
                  <a:gd name="T8" fmla="*/ 32734 w 166"/>
                  <a:gd name="T9" fmla="*/ 5647 h 23"/>
                  <a:gd name="T10" fmla="*/ 1426 w 166"/>
                  <a:gd name="T11" fmla="*/ 5647 h 23"/>
                  <a:gd name="T12" fmla="*/ 0 w 166"/>
                  <a:gd name="T13" fmla="*/ 2705 h 2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6" h="23">
                    <a:moveTo>
                      <a:pt x="0" y="11"/>
                    </a:moveTo>
                    <a:cubicBezTo>
                      <a:pt x="0" y="2"/>
                      <a:pt x="3" y="0"/>
                      <a:pt x="7" y="0"/>
                    </a:cubicBezTo>
                    <a:cubicBezTo>
                      <a:pt x="160" y="0"/>
                      <a:pt x="160" y="0"/>
                      <a:pt x="160" y="0"/>
                    </a:cubicBezTo>
                    <a:cubicBezTo>
                      <a:pt x="165" y="0"/>
                      <a:pt x="166" y="3"/>
                      <a:pt x="166" y="11"/>
                    </a:cubicBezTo>
                    <a:cubicBezTo>
                      <a:pt x="166" y="20"/>
                      <a:pt x="165" y="23"/>
                      <a:pt x="160" y="23"/>
                    </a:cubicBezTo>
                    <a:cubicBezTo>
                      <a:pt x="7" y="23"/>
                      <a:pt x="7" y="23"/>
                      <a:pt x="7" y="23"/>
                    </a:cubicBezTo>
                    <a:cubicBezTo>
                      <a:pt x="3" y="23"/>
                      <a:pt x="0" y="21"/>
                      <a:pt x="0" y="11"/>
                    </a:cubicBezTo>
                    <a:close/>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grpSp>
        <p:grpSp>
          <p:nvGrpSpPr>
            <p:cNvPr id="298" name="Group 51">
              <a:extLst>
                <a:ext uri="{FF2B5EF4-FFF2-40B4-BE49-F238E27FC236}">
                  <a16:creationId xmlns:a16="http://schemas.microsoft.com/office/drawing/2014/main" id="{34427E22-2FB0-4465-A5E2-C6323ECDBF35}"/>
                </a:ext>
              </a:extLst>
            </p:cNvPr>
            <p:cNvGrpSpPr>
              <a:grpSpLocks/>
            </p:cNvGrpSpPr>
            <p:nvPr/>
          </p:nvGrpSpPr>
          <p:grpSpPr bwMode="auto">
            <a:xfrm>
              <a:off x="8933276" y="2894999"/>
              <a:ext cx="1590675" cy="268288"/>
              <a:chOff x="102" y="1981"/>
              <a:chExt cx="1002" cy="169"/>
            </a:xfrm>
          </p:grpSpPr>
          <p:sp>
            <p:nvSpPr>
              <p:cNvPr id="299" name="Freeform 52">
                <a:extLst>
                  <a:ext uri="{FF2B5EF4-FFF2-40B4-BE49-F238E27FC236}">
                    <a16:creationId xmlns:a16="http://schemas.microsoft.com/office/drawing/2014/main" id="{30DF8B44-B31E-4A85-ADFE-D257A3E2D5B4}"/>
                  </a:ext>
                </a:extLst>
              </p:cNvPr>
              <p:cNvSpPr>
                <a:spLocks/>
              </p:cNvSpPr>
              <p:nvPr/>
            </p:nvSpPr>
            <p:spPr bwMode="auto">
              <a:xfrm>
                <a:off x="102" y="1981"/>
                <a:ext cx="1002" cy="169"/>
              </a:xfrm>
              <a:custGeom>
                <a:avLst/>
                <a:gdLst>
                  <a:gd name="T0" fmla="*/ 34811 w 170"/>
                  <a:gd name="T1" fmla="*/ 3173 h 27"/>
                  <a:gd name="T2" fmla="*/ 33178 w 170"/>
                  <a:gd name="T3" fmla="*/ 6622 h 27"/>
                  <a:gd name="T4" fmla="*/ 1839 w 170"/>
                  <a:gd name="T5" fmla="*/ 6622 h 27"/>
                  <a:gd name="T6" fmla="*/ 0 w 170"/>
                  <a:gd name="T7" fmla="*/ 3173 h 27"/>
                  <a:gd name="T8" fmla="*/ 0 w 170"/>
                  <a:gd name="T9" fmla="*/ 3173 h 27"/>
                  <a:gd name="T10" fmla="*/ 1839 w 170"/>
                  <a:gd name="T11" fmla="*/ 0 h 27"/>
                  <a:gd name="T12" fmla="*/ 33178 w 170"/>
                  <a:gd name="T13" fmla="*/ 0 h 27"/>
                  <a:gd name="T14" fmla="*/ 34811 w 170"/>
                  <a:gd name="T15" fmla="*/ 3173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0" h="27">
                    <a:moveTo>
                      <a:pt x="170" y="13"/>
                    </a:moveTo>
                    <a:cubicBezTo>
                      <a:pt x="170" y="21"/>
                      <a:pt x="170" y="27"/>
                      <a:pt x="162" y="27"/>
                    </a:cubicBezTo>
                    <a:cubicBezTo>
                      <a:pt x="9" y="27"/>
                      <a:pt x="9" y="27"/>
                      <a:pt x="9" y="27"/>
                    </a:cubicBezTo>
                    <a:cubicBezTo>
                      <a:pt x="1" y="27"/>
                      <a:pt x="0" y="21"/>
                      <a:pt x="0" y="13"/>
                    </a:cubicBezTo>
                    <a:cubicBezTo>
                      <a:pt x="0" y="13"/>
                      <a:pt x="0" y="13"/>
                      <a:pt x="0" y="13"/>
                    </a:cubicBezTo>
                    <a:cubicBezTo>
                      <a:pt x="0" y="6"/>
                      <a:pt x="1" y="0"/>
                      <a:pt x="9" y="0"/>
                    </a:cubicBezTo>
                    <a:cubicBezTo>
                      <a:pt x="162" y="0"/>
                      <a:pt x="162" y="0"/>
                      <a:pt x="162" y="0"/>
                    </a:cubicBezTo>
                    <a:cubicBezTo>
                      <a:pt x="170" y="0"/>
                      <a:pt x="170" y="6"/>
                      <a:pt x="170" y="13"/>
                    </a:cubicBezTo>
                    <a:close/>
                  </a:path>
                </a:pathLst>
              </a:custGeom>
              <a:solidFill>
                <a:srgbClr val="A59A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00" name="Oval 53">
                <a:extLst>
                  <a:ext uri="{FF2B5EF4-FFF2-40B4-BE49-F238E27FC236}">
                    <a16:creationId xmlns:a16="http://schemas.microsoft.com/office/drawing/2014/main" id="{CCABEB4A-FF90-43B6-81E3-F1F5142DDD1A}"/>
                  </a:ext>
                </a:extLst>
              </p:cNvPr>
              <p:cNvSpPr>
                <a:spLocks noChangeArrowheads="1"/>
              </p:cNvSpPr>
              <p:nvPr/>
            </p:nvSpPr>
            <p:spPr bwMode="auto">
              <a:xfrm>
                <a:off x="503" y="2012"/>
                <a:ext cx="135" cy="63"/>
              </a:xfrm>
              <a:prstGeom prst="ellipse">
                <a:avLst/>
              </a:pr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01" name="Oval 54">
                <a:extLst>
                  <a:ext uri="{FF2B5EF4-FFF2-40B4-BE49-F238E27FC236}">
                    <a16:creationId xmlns:a16="http://schemas.microsoft.com/office/drawing/2014/main" id="{2D83F8F5-54FE-4A80-8381-C59C66F95E16}"/>
                  </a:ext>
                </a:extLst>
              </p:cNvPr>
              <p:cNvSpPr>
                <a:spLocks noChangeArrowheads="1"/>
              </p:cNvSpPr>
              <p:nvPr/>
            </p:nvSpPr>
            <p:spPr bwMode="auto">
              <a:xfrm>
                <a:off x="532" y="2043"/>
                <a:ext cx="130" cy="57"/>
              </a:xfrm>
              <a:prstGeom prst="ellipse">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02" name="Oval 55">
                <a:extLst>
                  <a:ext uri="{FF2B5EF4-FFF2-40B4-BE49-F238E27FC236}">
                    <a16:creationId xmlns:a16="http://schemas.microsoft.com/office/drawing/2014/main" id="{EB512DE6-A98E-4552-9FBA-7ACCFF387143}"/>
                  </a:ext>
                </a:extLst>
              </p:cNvPr>
              <p:cNvSpPr>
                <a:spLocks noChangeArrowheads="1"/>
              </p:cNvSpPr>
              <p:nvPr/>
            </p:nvSpPr>
            <p:spPr bwMode="auto">
              <a:xfrm>
                <a:off x="515" y="2025"/>
                <a:ext cx="141" cy="62"/>
              </a:xfrm>
              <a:prstGeom prst="ellipse">
                <a:avLst/>
              </a:pr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03" name="Freeform 56">
                <a:extLst>
                  <a:ext uri="{FF2B5EF4-FFF2-40B4-BE49-F238E27FC236}">
                    <a16:creationId xmlns:a16="http://schemas.microsoft.com/office/drawing/2014/main" id="{E74B334E-7E56-496E-B69A-759CBB0B8B8D}"/>
                  </a:ext>
                </a:extLst>
              </p:cNvPr>
              <p:cNvSpPr>
                <a:spLocks/>
              </p:cNvSpPr>
              <p:nvPr/>
            </p:nvSpPr>
            <p:spPr bwMode="auto">
              <a:xfrm>
                <a:off x="526" y="2031"/>
                <a:ext cx="95" cy="44"/>
              </a:xfrm>
              <a:custGeom>
                <a:avLst/>
                <a:gdLst>
                  <a:gd name="T0" fmla="*/ 214 w 16"/>
                  <a:gd name="T1" fmla="*/ 987 h 7"/>
                  <a:gd name="T2" fmla="*/ 2078 w 16"/>
                  <a:gd name="T3" fmla="*/ 239 h 7"/>
                  <a:gd name="T4" fmla="*/ 3349 w 16"/>
                  <a:gd name="T5" fmla="*/ 515 h 7"/>
                  <a:gd name="T6" fmla="*/ 1870 w 16"/>
                  <a:gd name="T7" fmla="*/ 0 h 7"/>
                  <a:gd name="T8" fmla="*/ 0 w 16"/>
                  <a:gd name="T9" fmla="*/ 987 h 7"/>
                  <a:gd name="T10" fmla="*/ 849 w 16"/>
                  <a:gd name="T11" fmla="*/ 1741 h 7"/>
                  <a:gd name="T12" fmla="*/ 214 w 16"/>
                  <a:gd name="T13" fmla="*/ 987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 h="7">
                    <a:moveTo>
                      <a:pt x="1" y="4"/>
                    </a:moveTo>
                    <a:cubicBezTo>
                      <a:pt x="1" y="2"/>
                      <a:pt x="6" y="1"/>
                      <a:pt x="10" y="1"/>
                    </a:cubicBezTo>
                    <a:cubicBezTo>
                      <a:pt x="12" y="1"/>
                      <a:pt x="14" y="1"/>
                      <a:pt x="16" y="2"/>
                    </a:cubicBezTo>
                    <a:cubicBezTo>
                      <a:pt x="14" y="1"/>
                      <a:pt x="12" y="0"/>
                      <a:pt x="9" y="0"/>
                    </a:cubicBezTo>
                    <a:cubicBezTo>
                      <a:pt x="4" y="0"/>
                      <a:pt x="0" y="2"/>
                      <a:pt x="0" y="4"/>
                    </a:cubicBezTo>
                    <a:cubicBezTo>
                      <a:pt x="0" y="5"/>
                      <a:pt x="2" y="6"/>
                      <a:pt x="4" y="7"/>
                    </a:cubicBezTo>
                    <a:cubicBezTo>
                      <a:pt x="3" y="6"/>
                      <a:pt x="1" y="6"/>
                      <a:pt x="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04" name="Freeform 57">
                <a:extLst>
                  <a:ext uri="{FF2B5EF4-FFF2-40B4-BE49-F238E27FC236}">
                    <a16:creationId xmlns:a16="http://schemas.microsoft.com/office/drawing/2014/main" id="{13C37D8D-217B-4A77-B9EB-D36D48E06845}"/>
                  </a:ext>
                </a:extLst>
              </p:cNvPr>
              <p:cNvSpPr>
                <a:spLocks/>
              </p:cNvSpPr>
              <p:nvPr/>
            </p:nvSpPr>
            <p:spPr bwMode="auto">
              <a:xfrm>
                <a:off x="691" y="2012"/>
                <a:ext cx="407" cy="119"/>
              </a:xfrm>
              <a:custGeom>
                <a:avLst/>
                <a:gdLst>
                  <a:gd name="T0" fmla="*/ 13537 w 69"/>
                  <a:gd name="T1" fmla="*/ 983 h 19"/>
                  <a:gd name="T2" fmla="*/ 12735 w 69"/>
                  <a:gd name="T3" fmla="*/ 4434 h 19"/>
                  <a:gd name="T4" fmla="*/ 0 w 69"/>
                  <a:gd name="T5" fmla="*/ 4434 h 19"/>
                  <a:gd name="T6" fmla="*/ 12316 w 69"/>
                  <a:gd name="T7" fmla="*/ 3451 h 19"/>
                  <a:gd name="T8" fmla="*/ 13537 w 69"/>
                  <a:gd name="T9" fmla="*/ 983 h 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9" h="19">
                    <a:moveTo>
                      <a:pt x="66" y="4"/>
                    </a:moveTo>
                    <a:cubicBezTo>
                      <a:pt x="66" y="0"/>
                      <a:pt x="69" y="18"/>
                      <a:pt x="62" y="18"/>
                    </a:cubicBezTo>
                    <a:cubicBezTo>
                      <a:pt x="53" y="19"/>
                      <a:pt x="0" y="18"/>
                      <a:pt x="0" y="18"/>
                    </a:cubicBezTo>
                    <a:cubicBezTo>
                      <a:pt x="9" y="18"/>
                      <a:pt x="55" y="18"/>
                      <a:pt x="60" y="14"/>
                    </a:cubicBezTo>
                    <a:cubicBezTo>
                      <a:pt x="65" y="10"/>
                      <a:pt x="65" y="8"/>
                      <a:pt x="66" y="4"/>
                    </a:cubicBezTo>
                    <a:close/>
                  </a:path>
                </a:pathLst>
              </a:custGeom>
              <a:solidFill>
                <a:srgbClr val="EDCD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05" name="Freeform 58">
                <a:extLst>
                  <a:ext uri="{FF2B5EF4-FFF2-40B4-BE49-F238E27FC236}">
                    <a16:creationId xmlns:a16="http://schemas.microsoft.com/office/drawing/2014/main" id="{F0AE8170-3687-47AA-9771-72E54F8F6EA6}"/>
                  </a:ext>
                </a:extLst>
              </p:cNvPr>
              <p:cNvSpPr>
                <a:spLocks/>
              </p:cNvSpPr>
              <p:nvPr/>
            </p:nvSpPr>
            <p:spPr bwMode="auto">
              <a:xfrm>
                <a:off x="120" y="2006"/>
                <a:ext cx="235" cy="106"/>
              </a:xfrm>
              <a:custGeom>
                <a:avLst/>
                <a:gdLst>
                  <a:gd name="T0" fmla="*/ 623 w 40"/>
                  <a:gd name="T1" fmla="*/ 4122 h 17"/>
                  <a:gd name="T2" fmla="*/ 623 w 40"/>
                  <a:gd name="T3" fmla="*/ 468 h 17"/>
                  <a:gd name="T4" fmla="*/ 8113 w 40"/>
                  <a:gd name="T5" fmla="*/ 0 h 17"/>
                  <a:gd name="T6" fmla="*/ 828 w 40"/>
                  <a:gd name="T7" fmla="*/ 2176 h 17"/>
                  <a:gd name="T8" fmla="*/ 623 w 40"/>
                  <a:gd name="T9" fmla="*/ 4122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0" h="17">
                    <a:moveTo>
                      <a:pt x="3" y="17"/>
                    </a:moveTo>
                    <a:cubicBezTo>
                      <a:pt x="0" y="13"/>
                      <a:pt x="0" y="4"/>
                      <a:pt x="3" y="2"/>
                    </a:cubicBezTo>
                    <a:cubicBezTo>
                      <a:pt x="5" y="0"/>
                      <a:pt x="23" y="0"/>
                      <a:pt x="40" y="0"/>
                    </a:cubicBezTo>
                    <a:cubicBezTo>
                      <a:pt x="32" y="0"/>
                      <a:pt x="5" y="1"/>
                      <a:pt x="4" y="9"/>
                    </a:cubicBezTo>
                    <a:cubicBezTo>
                      <a:pt x="3" y="11"/>
                      <a:pt x="3" y="17"/>
                      <a:pt x="3" y="17"/>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06" name="Freeform 59">
                <a:extLst>
                  <a:ext uri="{FF2B5EF4-FFF2-40B4-BE49-F238E27FC236}">
                    <a16:creationId xmlns:a16="http://schemas.microsoft.com/office/drawing/2014/main" id="{A6E6A636-02A6-49FC-8E49-5879449418EB}"/>
                  </a:ext>
                </a:extLst>
              </p:cNvPr>
              <p:cNvSpPr>
                <a:spLocks/>
              </p:cNvSpPr>
              <p:nvPr/>
            </p:nvSpPr>
            <p:spPr bwMode="auto">
              <a:xfrm>
                <a:off x="102" y="1981"/>
                <a:ext cx="1002" cy="169"/>
              </a:xfrm>
              <a:custGeom>
                <a:avLst/>
                <a:gdLst>
                  <a:gd name="T0" fmla="*/ 34811 w 170"/>
                  <a:gd name="T1" fmla="*/ 3173 h 27"/>
                  <a:gd name="T2" fmla="*/ 33178 w 170"/>
                  <a:gd name="T3" fmla="*/ 6622 h 27"/>
                  <a:gd name="T4" fmla="*/ 1839 w 170"/>
                  <a:gd name="T5" fmla="*/ 6622 h 27"/>
                  <a:gd name="T6" fmla="*/ 0 w 170"/>
                  <a:gd name="T7" fmla="*/ 3173 h 27"/>
                  <a:gd name="T8" fmla="*/ 0 w 170"/>
                  <a:gd name="T9" fmla="*/ 3173 h 27"/>
                  <a:gd name="T10" fmla="*/ 1839 w 170"/>
                  <a:gd name="T11" fmla="*/ 0 h 27"/>
                  <a:gd name="T12" fmla="*/ 33178 w 170"/>
                  <a:gd name="T13" fmla="*/ 0 h 27"/>
                  <a:gd name="T14" fmla="*/ 34811 w 170"/>
                  <a:gd name="T15" fmla="*/ 3173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0" h="27">
                    <a:moveTo>
                      <a:pt x="170" y="13"/>
                    </a:moveTo>
                    <a:cubicBezTo>
                      <a:pt x="170" y="21"/>
                      <a:pt x="170" y="27"/>
                      <a:pt x="162" y="27"/>
                    </a:cubicBezTo>
                    <a:cubicBezTo>
                      <a:pt x="9" y="27"/>
                      <a:pt x="9" y="27"/>
                      <a:pt x="9" y="27"/>
                    </a:cubicBezTo>
                    <a:cubicBezTo>
                      <a:pt x="1" y="27"/>
                      <a:pt x="0" y="21"/>
                      <a:pt x="0" y="13"/>
                    </a:cubicBezTo>
                    <a:cubicBezTo>
                      <a:pt x="0" y="13"/>
                      <a:pt x="0" y="13"/>
                      <a:pt x="0" y="13"/>
                    </a:cubicBezTo>
                    <a:cubicBezTo>
                      <a:pt x="0" y="6"/>
                      <a:pt x="1" y="0"/>
                      <a:pt x="9" y="0"/>
                    </a:cubicBezTo>
                    <a:cubicBezTo>
                      <a:pt x="162" y="0"/>
                      <a:pt x="162" y="0"/>
                      <a:pt x="162" y="0"/>
                    </a:cubicBezTo>
                    <a:cubicBezTo>
                      <a:pt x="170" y="0"/>
                      <a:pt x="170" y="6"/>
                      <a:pt x="170" y="13"/>
                    </a:cubicBezTo>
                    <a:close/>
                  </a:path>
                </a:pathLst>
              </a:custGeom>
              <a:noFill/>
              <a:ln w="19050"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07" name="Oval 60">
                <a:extLst>
                  <a:ext uri="{FF2B5EF4-FFF2-40B4-BE49-F238E27FC236}">
                    <a16:creationId xmlns:a16="http://schemas.microsoft.com/office/drawing/2014/main" id="{0CFBD3EB-D946-44E1-889E-2DF134E44F79}"/>
                  </a:ext>
                </a:extLst>
              </p:cNvPr>
              <p:cNvSpPr>
                <a:spLocks noChangeArrowheads="1"/>
              </p:cNvSpPr>
              <p:nvPr/>
            </p:nvSpPr>
            <p:spPr bwMode="auto">
              <a:xfrm>
                <a:off x="515" y="2025"/>
                <a:ext cx="141" cy="62"/>
              </a:xfrm>
              <a:prstGeom prst="ellipse">
                <a:avLst/>
              </a:prstGeom>
              <a:noFill/>
              <a:ln w="9525"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08" name="Freeform 61">
                <a:extLst>
                  <a:ext uri="{FF2B5EF4-FFF2-40B4-BE49-F238E27FC236}">
                    <a16:creationId xmlns:a16="http://schemas.microsoft.com/office/drawing/2014/main" id="{452AF6CA-7148-4F76-BF13-8F429DB44373}"/>
                  </a:ext>
                </a:extLst>
              </p:cNvPr>
              <p:cNvSpPr>
                <a:spLocks/>
              </p:cNvSpPr>
              <p:nvPr/>
            </p:nvSpPr>
            <p:spPr bwMode="auto">
              <a:xfrm>
                <a:off x="114" y="1993"/>
                <a:ext cx="978" cy="144"/>
              </a:xfrm>
              <a:custGeom>
                <a:avLst/>
                <a:gdLst>
                  <a:gd name="T0" fmla="*/ 0 w 166"/>
                  <a:gd name="T1" fmla="*/ 2705 h 23"/>
                  <a:gd name="T2" fmla="*/ 1426 w 166"/>
                  <a:gd name="T3" fmla="*/ 0 h 23"/>
                  <a:gd name="T4" fmla="*/ 32734 w 166"/>
                  <a:gd name="T5" fmla="*/ 0 h 23"/>
                  <a:gd name="T6" fmla="*/ 33947 w 166"/>
                  <a:gd name="T7" fmla="*/ 2705 h 23"/>
                  <a:gd name="T8" fmla="*/ 32734 w 166"/>
                  <a:gd name="T9" fmla="*/ 5647 h 23"/>
                  <a:gd name="T10" fmla="*/ 1426 w 166"/>
                  <a:gd name="T11" fmla="*/ 5647 h 23"/>
                  <a:gd name="T12" fmla="*/ 0 w 166"/>
                  <a:gd name="T13" fmla="*/ 2705 h 2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6" h="23">
                    <a:moveTo>
                      <a:pt x="0" y="11"/>
                    </a:moveTo>
                    <a:cubicBezTo>
                      <a:pt x="0" y="2"/>
                      <a:pt x="3" y="0"/>
                      <a:pt x="7" y="0"/>
                    </a:cubicBezTo>
                    <a:cubicBezTo>
                      <a:pt x="160" y="0"/>
                      <a:pt x="160" y="0"/>
                      <a:pt x="160" y="0"/>
                    </a:cubicBezTo>
                    <a:cubicBezTo>
                      <a:pt x="165" y="0"/>
                      <a:pt x="166" y="3"/>
                      <a:pt x="166" y="11"/>
                    </a:cubicBezTo>
                    <a:cubicBezTo>
                      <a:pt x="166" y="20"/>
                      <a:pt x="165" y="23"/>
                      <a:pt x="160" y="23"/>
                    </a:cubicBezTo>
                    <a:cubicBezTo>
                      <a:pt x="7" y="23"/>
                      <a:pt x="7" y="23"/>
                      <a:pt x="7" y="23"/>
                    </a:cubicBezTo>
                    <a:cubicBezTo>
                      <a:pt x="3" y="23"/>
                      <a:pt x="0" y="21"/>
                      <a:pt x="0" y="11"/>
                    </a:cubicBezTo>
                    <a:close/>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grpSp>
        <p:grpSp>
          <p:nvGrpSpPr>
            <p:cNvPr id="309" name="Group 51">
              <a:extLst>
                <a:ext uri="{FF2B5EF4-FFF2-40B4-BE49-F238E27FC236}">
                  <a16:creationId xmlns:a16="http://schemas.microsoft.com/office/drawing/2014/main" id="{05AD9719-9384-43BD-9288-7288864B7485}"/>
                </a:ext>
              </a:extLst>
            </p:cNvPr>
            <p:cNvGrpSpPr>
              <a:grpSpLocks/>
            </p:cNvGrpSpPr>
            <p:nvPr/>
          </p:nvGrpSpPr>
          <p:grpSpPr bwMode="auto">
            <a:xfrm>
              <a:off x="10541212" y="2884849"/>
              <a:ext cx="1301065" cy="268288"/>
              <a:chOff x="102" y="1981"/>
              <a:chExt cx="1002" cy="169"/>
            </a:xfrm>
          </p:grpSpPr>
          <p:sp>
            <p:nvSpPr>
              <p:cNvPr id="310" name="Freeform 52">
                <a:extLst>
                  <a:ext uri="{FF2B5EF4-FFF2-40B4-BE49-F238E27FC236}">
                    <a16:creationId xmlns:a16="http://schemas.microsoft.com/office/drawing/2014/main" id="{FEFE23EB-B07A-498F-A68B-CA785B252A80}"/>
                  </a:ext>
                </a:extLst>
              </p:cNvPr>
              <p:cNvSpPr>
                <a:spLocks/>
              </p:cNvSpPr>
              <p:nvPr/>
            </p:nvSpPr>
            <p:spPr bwMode="auto">
              <a:xfrm>
                <a:off x="102" y="1981"/>
                <a:ext cx="1002" cy="169"/>
              </a:xfrm>
              <a:custGeom>
                <a:avLst/>
                <a:gdLst>
                  <a:gd name="T0" fmla="*/ 34811 w 170"/>
                  <a:gd name="T1" fmla="*/ 3173 h 27"/>
                  <a:gd name="T2" fmla="*/ 33178 w 170"/>
                  <a:gd name="T3" fmla="*/ 6622 h 27"/>
                  <a:gd name="T4" fmla="*/ 1839 w 170"/>
                  <a:gd name="T5" fmla="*/ 6622 h 27"/>
                  <a:gd name="T6" fmla="*/ 0 w 170"/>
                  <a:gd name="T7" fmla="*/ 3173 h 27"/>
                  <a:gd name="T8" fmla="*/ 0 w 170"/>
                  <a:gd name="T9" fmla="*/ 3173 h 27"/>
                  <a:gd name="T10" fmla="*/ 1839 w 170"/>
                  <a:gd name="T11" fmla="*/ 0 h 27"/>
                  <a:gd name="T12" fmla="*/ 33178 w 170"/>
                  <a:gd name="T13" fmla="*/ 0 h 27"/>
                  <a:gd name="T14" fmla="*/ 34811 w 170"/>
                  <a:gd name="T15" fmla="*/ 3173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0" h="27">
                    <a:moveTo>
                      <a:pt x="170" y="13"/>
                    </a:moveTo>
                    <a:cubicBezTo>
                      <a:pt x="170" y="21"/>
                      <a:pt x="170" y="27"/>
                      <a:pt x="162" y="27"/>
                    </a:cubicBezTo>
                    <a:cubicBezTo>
                      <a:pt x="9" y="27"/>
                      <a:pt x="9" y="27"/>
                      <a:pt x="9" y="27"/>
                    </a:cubicBezTo>
                    <a:cubicBezTo>
                      <a:pt x="1" y="27"/>
                      <a:pt x="0" y="21"/>
                      <a:pt x="0" y="13"/>
                    </a:cubicBezTo>
                    <a:cubicBezTo>
                      <a:pt x="0" y="13"/>
                      <a:pt x="0" y="13"/>
                      <a:pt x="0" y="13"/>
                    </a:cubicBezTo>
                    <a:cubicBezTo>
                      <a:pt x="0" y="6"/>
                      <a:pt x="1" y="0"/>
                      <a:pt x="9" y="0"/>
                    </a:cubicBezTo>
                    <a:cubicBezTo>
                      <a:pt x="162" y="0"/>
                      <a:pt x="162" y="0"/>
                      <a:pt x="162" y="0"/>
                    </a:cubicBezTo>
                    <a:cubicBezTo>
                      <a:pt x="170" y="0"/>
                      <a:pt x="170" y="6"/>
                      <a:pt x="170" y="13"/>
                    </a:cubicBezTo>
                    <a:close/>
                  </a:path>
                </a:pathLst>
              </a:custGeom>
              <a:solidFill>
                <a:srgbClr val="A59AC0"/>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11" name="Oval 53">
                <a:extLst>
                  <a:ext uri="{FF2B5EF4-FFF2-40B4-BE49-F238E27FC236}">
                    <a16:creationId xmlns:a16="http://schemas.microsoft.com/office/drawing/2014/main" id="{4A01809D-59DA-4B8C-9C6B-755294903868}"/>
                  </a:ext>
                </a:extLst>
              </p:cNvPr>
              <p:cNvSpPr>
                <a:spLocks noChangeArrowheads="1"/>
              </p:cNvSpPr>
              <p:nvPr/>
            </p:nvSpPr>
            <p:spPr bwMode="auto">
              <a:xfrm>
                <a:off x="503" y="2012"/>
                <a:ext cx="135" cy="63"/>
              </a:xfrm>
              <a:prstGeom prst="ellipse">
                <a:avLst/>
              </a:pr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12" name="Oval 54">
                <a:extLst>
                  <a:ext uri="{FF2B5EF4-FFF2-40B4-BE49-F238E27FC236}">
                    <a16:creationId xmlns:a16="http://schemas.microsoft.com/office/drawing/2014/main" id="{3FA1A634-2715-46CB-AF0F-A4A56ADC991E}"/>
                  </a:ext>
                </a:extLst>
              </p:cNvPr>
              <p:cNvSpPr>
                <a:spLocks noChangeArrowheads="1"/>
              </p:cNvSpPr>
              <p:nvPr/>
            </p:nvSpPr>
            <p:spPr bwMode="auto">
              <a:xfrm>
                <a:off x="532" y="2043"/>
                <a:ext cx="130" cy="57"/>
              </a:xfrm>
              <a:prstGeom prst="ellipse">
                <a:avLst/>
              </a:pr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13" name="Oval 55">
                <a:extLst>
                  <a:ext uri="{FF2B5EF4-FFF2-40B4-BE49-F238E27FC236}">
                    <a16:creationId xmlns:a16="http://schemas.microsoft.com/office/drawing/2014/main" id="{AF177BCB-7754-46E8-B1D1-07A938563658}"/>
                  </a:ext>
                </a:extLst>
              </p:cNvPr>
              <p:cNvSpPr>
                <a:spLocks noChangeArrowheads="1"/>
              </p:cNvSpPr>
              <p:nvPr/>
            </p:nvSpPr>
            <p:spPr bwMode="auto">
              <a:xfrm>
                <a:off x="515" y="2025"/>
                <a:ext cx="141" cy="62"/>
              </a:xfrm>
              <a:prstGeom prst="ellipse">
                <a:avLst/>
              </a:prstGeom>
              <a:solidFill>
                <a:srgbClr val="7E6FA5"/>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14" name="Freeform 56">
                <a:extLst>
                  <a:ext uri="{FF2B5EF4-FFF2-40B4-BE49-F238E27FC236}">
                    <a16:creationId xmlns:a16="http://schemas.microsoft.com/office/drawing/2014/main" id="{345141CD-8289-4990-BB6A-A255D5ACB266}"/>
                  </a:ext>
                </a:extLst>
              </p:cNvPr>
              <p:cNvSpPr>
                <a:spLocks/>
              </p:cNvSpPr>
              <p:nvPr/>
            </p:nvSpPr>
            <p:spPr bwMode="auto">
              <a:xfrm>
                <a:off x="526" y="2031"/>
                <a:ext cx="95" cy="44"/>
              </a:xfrm>
              <a:custGeom>
                <a:avLst/>
                <a:gdLst>
                  <a:gd name="T0" fmla="*/ 214 w 16"/>
                  <a:gd name="T1" fmla="*/ 987 h 7"/>
                  <a:gd name="T2" fmla="*/ 2078 w 16"/>
                  <a:gd name="T3" fmla="*/ 239 h 7"/>
                  <a:gd name="T4" fmla="*/ 3349 w 16"/>
                  <a:gd name="T5" fmla="*/ 515 h 7"/>
                  <a:gd name="T6" fmla="*/ 1870 w 16"/>
                  <a:gd name="T7" fmla="*/ 0 h 7"/>
                  <a:gd name="T8" fmla="*/ 0 w 16"/>
                  <a:gd name="T9" fmla="*/ 987 h 7"/>
                  <a:gd name="T10" fmla="*/ 849 w 16"/>
                  <a:gd name="T11" fmla="*/ 1741 h 7"/>
                  <a:gd name="T12" fmla="*/ 214 w 16"/>
                  <a:gd name="T13" fmla="*/ 987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 h="7">
                    <a:moveTo>
                      <a:pt x="1" y="4"/>
                    </a:moveTo>
                    <a:cubicBezTo>
                      <a:pt x="1" y="2"/>
                      <a:pt x="6" y="1"/>
                      <a:pt x="10" y="1"/>
                    </a:cubicBezTo>
                    <a:cubicBezTo>
                      <a:pt x="12" y="1"/>
                      <a:pt x="14" y="1"/>
                      <a:pt x="16" y="2"/>
                    </a:cubicBezTo>
                    <a:cubicBezTo>
                      <a:pt x="14" y="1"/>
                      <a:pt x="12" y="0"/>
                      <a:pt x="9" y="0"/>
                    </a:cubicBezTo>
                    <a:cubicBezTo>
                      <a:pt x="4" y="0"/>
                      <a:pt x="0" y="2"/>
                      <a:pt x="0" y="4"/>
                    </a:cubicBezTo>
                    <a:cubicBezTo>
                      <a:pt x="0" y="5"/>
                      <a:pt x="2" y="6"/>
                      <a:pt x="4" y="7"/>
                    </a:cubicBezTo>
                    <a:cubicBezTo>
                      <a:pt x="3" y="6"/>
                      <a:pt x="1" y="6"/>
                      <a:pt x="1" y="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15" name="Freeform 57">
                <a:extLst>
                  <a:ext uri="{FF2B5EF4-FFF2-40B4-BE49-F238E27FC236}">
                    <a16:creationId xmlns:a16="http://schemas.microsoft.com/office/drawing/2014/main" id="{1B9A575F-C6C9-4026-9BD7-DE352D5A0E60}"/>
                  </a:ext>
                </a:extLst>
              </p:cNvPr>
              <p:cNvSpPr>
                <a:spLocks/>
              </p:cNvSpPr>
              <p:nvPr/>
            </p:nvSpPr>
            <p:spPr bwMode="auto">
              <a:xfrm>
                <a:off x="691" y="2012"/>
                <a:ext cx="407" cy="119"/>
              </a:xfrm>
              <a:custGeom>
                <a:avLst/>
                <a:gdLst>
                  <a:gd name="T0" fmla="*/ 13537 w 69"/>
                  <a:gd name="T1" fmla="*/ 983 h 19"/>
                  <a:gd name="T2" fmla="*/ 12735 w 69"/>
                  <a:gd name="T3" fmla="*/ 4434 h 19"/>
                  <a:gd name="T4" fmla="*/ 0 w 69"/>
                  <a:gd name="T5" fmla="*/ 4434 h 19"/>
                  <a:gd name="T6" fmla="*/ 12316 w 69"/>
                  <a:gd name="T7" fmla="*/ 3451 h 19"/>
                  <a:gd name="T8" fmla="*/ 13537 w 69"/>
                  <a:gd name="T9" fmla="*/ 983 h 19"/>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9" h="19">
                    <a:moveTo>
                      <a:pt x="66" y="4"/>
                    </a:moveTo>
                    <a:cubicBezTo>
                      <a:pt x="66" y="0"/>
                      <a:pt x="69" y="18"/>
                      <a:pt x="62" y="18"/>
                    </a:cubicBezTo>
                    <a:cubicBezTo>
                      <a:pt x="53" y="19"/>
                      <a:pt x="0" y="18"/>
                      <a:pt x="0" y="18"/>
                    </a:cubicBezTo>
                    <a:cubicBezTo>
                      <a:pt x="9" y="18"/>
                      <a:pt x="55" y="18"/>
                      <a:pt x="60" y="14"/>
                    </a:cubicBezTo>
                    <a:cubicBezTo>
                      <a:pt x="65" y="10"/>
                      <a:pt x="65" y="8"/>
                      <a:pt x="66" y="4"/>
                    </a:cubicBezTo>
                    <a:close/>
                  </a:path>
                </a:pathLst>
              </a:custGeom>
              <a:solidFill>
                <a:srgbClr val="EDCDEB"/>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16" name="Freeform 58">
                <a:extLst>
                  <a:ext uri="{FF2B5EF4-FFF2-40B4-BE49-F238E27FC236}">
                    <a16:creationId xmlns:a16="http://schemas.microsoft.com/office/drawing/2014/main" id="{CBD8A1A9-F6D3-40A1-85B6-44CE8779AC99}"/>
                  </a:ext>
                </a:extLst>
              </p:cNvPr>
              <p:cNvSpPr>
                <a:spLocks/>
              </p:cNvSpPr>
              <p:nvPr/>
            </p:nvSpPr>
            <p:spPr bwMode="auto">
              <a:xfrm>
                <a:off x="120" y="2006"/>
                <a:ext cx="235" cy="106"/>
              </a:xfrm>
              <a:custGeom>
                <a:avLst/>
                <a:gdLst>
                  <a:gd name="T0" fmla="*/ 623 w 40"/>
                  <a:gd name="T1" fmla="*/ 4122 h 17"/>
                  <a:gd name="T2" fmla="*/ 623 w 40"/>
                  <a:gd name="T3" fmla="*/ 468 h 17"/>
                  <a:gd name="T4" fmla="*/ 8113 w 40"/>
                  <a:gd name="T5" fmla="*/ 0 h 17"/>
                  <a:gd name="T6" fmla="*/ 828 w 40"/>
                  <a:gd name="T7" fmla="*/ 2176 h 17"/>
                  <a:gd name="T8" fmla="*/ 623 w 40"/>
                  <a:gd name="T9" fmla="*/ 4122 h 1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0" h="17">
                    <a:moveTo>
                      <a:pt x="3" y="17"/>
                    </a:moveTo>
                    <a:cubicBezTo>
                      <a:pt x="0" y="13"/>
                      <a:pt x="0" y="4"/>
                      <a:pt x="3" y="2"/>
                    </a:cubicBezTo>
                    <a:cubicBezTo>
                      <a:pt x="5" y="0"/>
                      <a:pt x="23" y="0"/>
                      <a:pt x="40" y="0"/>
                    </a:cubicBezTo>
                    <a:cubicBezTo>
                      <a:pt x="32" y="0"/>
                      <a:pt x="5" y="1"/>
                      <a:pt x="4" y="9"/>
                    </a:cubicBezTo>
                    <a:cubicBezTo>
                      <a:pt x="3" y="11"/>
                      <a:pt x="3" y="17"/>
                      <a:pt x="3" y="17"/>
                    </a:cubicBezTo>
                    <a:close/>
                  </a:path>
                </a:pathLst>
              </a:custGeom>
              <a:solidFill>
                <a:schemeClr val="accent6">
                  <a:lumMod val="20000"/>
                  <a:lumOff val="8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17" name="Freeform 59">
                <a:extLst>
                  <a:ext uri="{FF2B5EF4-FFF2-40B4-BE49-F238E27FC236}">
                    <a16:creationId xmlns:a16="http://schemas.microsoft.com/office/drawing/2014/main" id="{38993893-B631-4D71-B796-1CE10A073DFB}"/>
                  </a:ext>
                </a:extLst>
              </p:cNvPr>
              <p:cNvSpPr>
                <a:spLocks/>
              </p:cNvSpPr>
              <p:nvPr/>
            </p:nvSpPr>
            <p:spPr bwMode="auto">
              <a:xfrm>
                <a:off x="102" y="1981"/>
                <a:ext cx="1002" cy="169"/>
              </a:xfrm>
              <a:custGeom>
                <a:avLst/>
                <a:gdLst>
                  <a:gd name="T0" fmla="*/ 34811 w 170"/>
                  <a:gd name="T1" fmla="*/ 3173 h 27"/>
                  <a:gd name="T2" fmla="*/ 33178 w 170"/>
                  <a:gd name="T3" fmla="*/ 6622 h 27"/>
                  <a:gd name="T4" fmla="*/ 1839 w 170"/>
                  <a:gd name="T5" fmla="*/ 6622 h 27"/>
                  <a:gd name="T6" fmla="*/ 0 w 170"/>
                  <a:gd name="T7" fmla="*/ 3173 h 27"/>
                  <a:gd name="T8" fmla="*/ 0 w 170"/>
                  <a:gd name="T9" fmla="*/ 3173 h 27"/>
                  <a:gd name="T10" fmla="*/ 1839 w 170"/>
                  <a:gd name="T11" fmla="*/ 0 h 27"/>
                  <a:gd name="T12" fmla="*/ 33178 w 170"/>
                  <a:gd name="T13" fmla="*/ 0 h 27"/>
                  <a:gd name="T14" fmla="*/ 34811 w 170"/>
                  <a:gd name="T15" fmla="*/ 3173 h 27"/>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70" h="27">
                    <a:moveTo>
                      <a:pt x="170" y="13"/>
                    </a:moveTo>
                    <a:cubicBezTo>
                      <a:pt x="170" y="21"/>
                      <a:pt x="170" y="27"/>
                      <a:pt x="162" y="27"/>
                    </a:cubicBezTo>
                    <a:cubicBezTo>
                      <a:pt x="9" y="27"/>
                      <a:pt x="9" y="27"/>
                      <a:pt x="9" y="27"/>
                    </a:cubicBezTo>
                    <a:cubicBezTo>
                      <a:pt x="1" y="27"/>
                      <a:pt x="0" y="21"/>
                      <a:pt x="0" y="13"/>
                    </a:cubicBezTo>
                    <a:cubicBezTo>
                      <a:pt x="0" y="13"/>
                      <a:pt x="0" y="13"/>
                      <a:pt x="0" y="13"/>
                    </a:cubicBezTo>
                    <a:cubicBezTo>
                      <a:pt x="0" y="6"/>
                      <a:pt x="1" y="0"/>
                      <a:pt x="9" y="0"/>
                    </a:cubicBezTo>
                    <a:cubicBezTo>
                      <a:pt x="162" y="0"/>
                      <a:pt x="162" y="0"/>
                      <a:pt x="162" y="0"/>
                    </a:cubicBezTo>
                    <a:cubicBezTo>
                      <a:pt x="170" y="0"/>
                      <a:pt x="170" y="6"/>
                      <a:pt x="170" y="13"/>
                    </a:cubicBezTo>
                    <a:close/>
                  </a:path>
                </a:pathLst>
              </a:custGeom>
              <a:noFill/>
              <a:ln w="19050"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18" name="Oval 60">
                <a:extLst>
                  <a:ext uri="{FF2B5EF4-FFF2-40B4-BE49-F238E27FC236}">
                    <a16:creationId xmlns:a16="http://schemas.microsoft.com/office/drawing/2014/main" id="{8CE7DA4D-8C3D-4692-A3A2-6F178B75085A}"/>
                  </a:ext>
                </a:extLst>
              </p:cNvPr>
              <p:cNvSpPr>
                <a:spLocks noChangeArrowheads="1"/>
              </p:cNvSpPr>
              <p:nvPr/>
            </p:nvSpPr>
            <p:spPr bwMode="auto">
              <a:xfrm>
                <a:off x="515" y="2025"/>
                <a:ext cx="141" cy="62"/>
              </a:xfrm>
              <a:prstGeom prst="ellipse">
                <a:avLst/>
              </a:prstGeom>
              <a:noFill/>
              <a:ln w="9525"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19" name="Freeform 61">
                <a:extLst>
                  <a:ext uri="{FF2B5EF4-FFF2-40B4-BE49-F238E27FC236}">
                    <a16:creationId xmlns:a16="http://schemas.microsoft.com/office/drawing/2014/main" id="{FE77C2E4-2352-4251-89C8-8744FBC8EA1F}"/>
                  </a:ext>
                </a:extLst>
              </p:cNvPr>
              <p:cNvSpPr>
                <a:spLocks/>
              </p:cNvSpPr>
              <p:nvPr/>
            </p:nvSpPr>
            <p:spPr bwMode="auto">
              <a:xfrm>
                <a:off x="114" y="1993"/>
                <a:ext cx="978" cy="144"/>
              </a:xfrm>
              <a:custGeom>
                <a:avLst/>
                <a:gdLst>
                  <a:gd name="T0" fmla="*/ 0 w 166"/>
                  <a:gd name="T1" fmla="*/ 2705 h 23"/>
                  <a:gd name="T2" fmla="*/ 1426 w 166"/>
                  <a:gd name="T3" fmla="*/ 0 h 23"/>
                  <a:gd name="T4" fmla="*/ 32734 w 166"/>
                  <a:gd name="T5" fmla="*/ 0 h 23"/>
                  <a:gd name="T6" fmla="*/ 33947 w 166"/>
                  <a:gd name="T7" fmla="*/ 2705 h 23"/>
                  <a:gd name="T8" fmla="*/ 32734 w 166"/>
                  <a:gd name="T9" fmla="*/ 5647 h 23"/>
                  <a:gd name="T10" fmla="*/ 1426 w 166"/>
                  <a:gd name="T11" fmla="*/ 5647 h 23"/>
                  <a:gd name="T12" fmla="*/ 0 w 166"/>
                  <a:gd name="T13" fmla="*/ 2705 h 2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66" h="23">
                    <a:moveTo>
                      <a:pt x="0" y="11"/>
                    </a:moveTo>
                    <a:cubicBezTo>
                      <a:pt x="0" y="2"/>
                      <a:pt x="3" y="0"/>
                      <a:pt x="7" y="0"/>
                    </a:cubicBezTo>
                    <a:cubicBezTo>
                      <a:pt x="160" y="0"/>
                      <a:pt x="160" y="0"/>
                      <a:pt x="160" y="0"/>
                    </a:cubicBezTo>
                    <a:cubicBezTo>
                      <a:pt x="165" y="0"/>
                      <a:pt x="166" y="3"/>
                      <a:pt x="166" y="11"/>
                    </a:cubicBezTo>
                    <a:cubicBezTo>
                      <a:pt x="166" y="20"/>
                      <a:pt x="165" y="23"/>
                      <a:pt x="160" y="23"/>
                    </a:cubicBezTo>
                    <a:cubicBezTo>
                      <a:pt x="7" y="23"/>
                      <a:pt x="7" y="23"/>
                      <a:pt x="7" y="23"/>
                    </a:cubicBezTo>
                    <a:cubicBezTo>
                      <a:pt x="3" y="23"/>
                      <a:pt x="0" y="21"/>
                      <a:pt x="0" y="11"/>
                    </a:cubicBezTo>
                    <a:close/>
                  </a:path>
                </a:pathLst>
              </a:custGeom>
              <a:noFill/>
              <a:ln w="19050" cap="rnd">
                <a:solidFill>
                  <a:srgbClr val="FFFFFF"/>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grpSp>
        <p:sp>
          <p:nvSpPr>
            <p:cNvPr id="320" name="Rectangle 319">
              <a:extLst>
                <a:ext uri="{FF2B5EF4-FFF2-40B4-BE49-F238E27FC236}">
                  <a16:creationId xmlns:a16="http://schemas.microsoft.com/office/drawing/2014/main" id="{33E57D18-B639-47E9-BE34-62D5710E0D66}"/>
                </a:ext>
              </a:extLst>
            </p:cNvPr>
            <p:cNvSpPr/>
            <p:nvPr/>
          </p:nvSpPr>
          <p:spPr bwMode="auto">
            <a:xfrm>
              <a:off x="2594115" y="1592217"/>
              <a:ext cx="9254512" cy="4050096"/>
            </a:xfrm>
            <a:prstGeom prst="rect">
              <a:avLst/>
            </a:prstGeom>
            <a:noFill/>
            <a:ln w="28575"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grpSp>
          <p:nvGrpSpPr>
            <p:cNvPr id="321" name="Group 34">
              <a:extLst>
                <a:ext uri="{FF2B5EF4-FFF2-40B4-BE49-F238E27FC236}">
                  <a16:creationId xmlns:a16="http://schemas.microsoft.com/office/drawing/2014/main" id="{7E6FA135-59BD-40BF-AB06-F447B2A7304F}"/>
                </a:ext>
              </a:extLst>
            </p:cNvPr>
            <p:cNvGrpSpPr>
              <a:grpSpLocks/>
            </p:cNvGrpSpPr>
            <p:nvPr/>
          </p:nvGrpSpPr>
          <p:grpSpPr bwMode="auto">
            <a:xfrm rot="1101543">
              <a:off x="2600125" y="3795039"/>
              <a:ext cx="1216155" cy="572183"/>
              <a:chOff x="3557" y="2640"/>
              <a:chExt cx="940" cy="470"/>
            </a:xfrm>
          </p:grpSpPr>
          <p:sp>
            <p:nvSpPr>
              <p:cNvPr id="322" name="Freeform 23">
                <a:extLst>
                  <a:ext uri="{FF2B5EF4-FFF2-40B4-BE49-F238E27FC236}">
                    <a16:creationId xmlns:a16="http://schemas.microsoft.com/office/drawing/2014/main" id="{8BBE6B41-60CA-4F5F-8F1F-7B2EA20FCB24}"/>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23" name="Oval 25">
                <a:extLst>
                  <a:ext uri="{FF2B5EF4-FFF2-40B4-BE49-F238E27FC236}">
                    <a16:creationId xmlns:a16="http://schemas.microsoft.com/office/drawing/2014/main" id="{8F996FAF-C231-4CE9-A062-5A4E0A7DD68D}"/>
                  </a:ext>
                </a:extLst>
              </p:cNvPr>
              <p:cNvSpPr>
                <a:spLocks noChangeArrowheads="1"/>
              </p:cNvSpPr>
              <p:nvPr/>
            </p:nvSpPr>
            <p:spPr bwMode="auto">
              <a:xfrm>
                <a:off x="3942" y="2856"/>
                <a:ext cx="155" cy="72"/>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24" name="Oval 26">
                <a:extLst>
                  <a:ext uri="{FF2B5EF4-FFF2-40B4-BE49-F238E27FC236}">
                    <a16:creationId xmlns:a16="http://schemas.microsoft.com/office/drawing/2014/main" id="{2E0CA913-F2C1-4258-BE23-FD65A3C4682F}"/>
                  </a:ext>
                </a:extLst>
              </p:cNvPr>
              <p:cNvSpPr>
                <a:spLocks noChangeArrowheads="1"/>
              </p:cNvSpPr>
              <p:nvPr/>
            </p:nvSpPr>
            <p:spPr bwMode="auto">
              <a:xfrm>
                <a:off x="3925" y="2837"/>
                <a:ext cx="155" cy="72"/>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25" name="Freeform 27">
                <a:extLst>
                  <a:ext uri="{FF2B5EF4-FFF2-40B4-BE49-F238E27FC236}">
                    <a16:creationId xmlns:a16="http://schemas.microsoft.com/office/drawing/2014/main" id="{6A3D3F52-F51E-4FB3-97D9-592C195D4FBF}"/>
                  </a:ext>
                </a:extLst>
              </p:cNvPr>
              <p:cNvSpPr>
                <a:spLocks/>
              </p:cNvSpPr>
              <p:nvPr/>
            </p:nvSpPr>
            <p:spPr bwMode="auto">
              <a:xfrm>
                <a:off x="3952" y="2840"/>
                <a:ext cx="128" cy="69"/>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26" name="Freeform 28">
                <a:extLst>
                  <a:ext uri="{FF2B5EF4-FFF2-40B4-BE49-F238E27FC236}">
                    <a16:creationId xmlns:a16="http://schemas.microsoft.com/office/drawing/2014/main" id="{84FE1563-0C6F-4F13-ACD5-A630B7A42721}"/>
                  </a:ext>
                </a:extLst>
              </p:cNvPr>
              <p:cNvSpPr>
                <a:spLocks/>
              </p:cNvSpPr>
              <p:nvPr/>
            </p:nvSpPr>
            <p:spPr bwMode="auto">
              <a:xfrm>
                <a:off x="3940" y="2843"/>
                <a:ext cx="115" cy="5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27" name="Freeform 30">
                <a:extLst>
                  <a:ext uri="{FF2B5EF4-FFF2-40B4-BE49-F238E27FC236}">
                    <a16:creationId xmlns:a16="http://schemas.microsoft.com/office/drawing/2014/main" id="{52B328DB-135F-4533-9E3C-53CBF9FEDAA0}"/>
                  </a:ext>
                </a:extLst>
              </p:cNvPr>
              <p:cNvSpPr>
                <a:spLocks/>
              </p:cNvSpPr>
              <p:nvPr/>
            </p:nvSpPr>
            <p:spPr bwMode="auto">
              <a:xfrm>
                <a:off x="3672" y="2659"/>
                <a:ext cx="523" cy="160"/>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28" name="Freeform 32">
                <a:extLst>
                  <a:ext uri="{FF2B5EF4-FFF2-40B4-BE49-F238E27FC236}">
                    <a16:creationId xmlns:a16="http://schemas.microsoft.com/office/drawing/2014/main" id="{61DD52DC-8CF3-4FB1-B03A-FB1BD9BB348A}"/>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29" name="Oval 33">
                <a:extLst>
                  <a:ext uri="{FF2B5EF4-FFF2-40B4-BE49-F238E27FC236}">
                    <a16:creationId xmlns:a16="http://schemas.microsoft.com/office/drawing/2014/main" id="{15BD88D9-0DC8-4F88-AAB1-9F855C2508F4}"/>
                  </a:ext>
                </a:extLst>
              </p:cNvPr>
              <p:cNvSpPr>
                <a:spLocks noChangeArrowheads="1"/>
              </p:cNvSpPr>
              <p:nvPr/>
            </p:nvSpPr>
            <p:spPr bwMode="auto">
              <a:xfrm>
                <a:off x="3925" y="2837"/>
                <a:ext cx="155" cy="72"/>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330" name="Group 34">
              <a:extLst>
                <a:ext uri="{FF2B5EF4-FFF2-40B4-BE49-F238E27FC236}">
                  <a16:creationId xmlns:a16="http://schemas.microsoft.com/office/drawing/2014/main" id="{22235B19-C1AC-4792-BB19-CB0787195082}"/>
                </a:ext>
              </a:extLst>
            </p:cNvPr>
            <p:cNvGrpSpPr>
              <a:grpSpLocks/>
            </p:cNvGrpSpPr>
            <p:nvPr/>
          </p:nvGrpSpPr>
          <p:grpSpPr bwMode="auto">
            <a:xfrm rot="671323">
              <a:off x="3807611" y="4110489"/>
              <a:ext cx="1216155" cy="572183"/>
              <a:chOff x="3557" y="2640"/>
              <a:chExt cx="940" cy="470"/>
            </a:xfrm>
          </p:grpSpPr>
          <p:sp>
            <p:nvSpPr>
              <p:cNvPr id="331" name="Freeform 23">
                <a:extLst>
                  <a:ext uri="{FF2B5EF4-FFF2-40B4-BE49-F238E27FC236}">
                    <a16:creationId xmlns:a16="http://schemas.microsoft.com/office/drawing/2014/main" id="{5156C83F-B55D-49AB-AC31-DC57C651C34E}"/>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32" name="Oval 25">
                <a:extLst>
                  <a:ext uri="{FF2B5EF4-FFF2-40B4-BE49-F238E27FC236}">
                    <a16:creationId xmlns:a16="http://schemas.microsoft.com/office/drawing/2014/main" id="{4F51450F-119E-4EBF-A4C7-3AD45C0126A7}"/>
                  </a:ext>
                </a:extLst>
              </p:cNvPr>
              <p:cNvSpPr>
                <a:spLocks noChangeArrowheads="1"/>
              </p:cNvSpPr>
              <p:nvPr/>
            </p:nvSpPr>
            <p:spPr bwMode="auto">
              <a:xfrm>
                <a:off x="3942" y="2856"/>
                <a:ext cx="155" cy="72"/>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33" name="Oval 26">
                <a:extLst>
                  <a:ext uri="{FF2B5EF4-FFF2-40B4-BE49-F238E27FC236}">
                    <a16:creationId xmlns:a16="http://schemas.microsoft.com/office/drawing/2014/main" id="{40C769D5-D779-4B10-AC66-A00CC7AB3A40}"/>
                  </a:ext>
                </a:extLst>
              </p:cNvPr>
              <p:cNvSpPr>
                <a:spLocks noChangeArrowheads="1"/>
              </p:cNvSpPr>
              <p:nvPr/>
            </p:nvSpPr>
            <p:spPr bwMode="auto">
              <a:xfrm>
                <a:off x="3925" y="2837"/>
                <a:ext cx="155" cy="72"/>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34" name="Freeform 27">
                <a:extLst>
                  <a:ext uri="{FF2B5EF4-FFF2-40B4-BE49-F238E27FC236}">
                    <a16:creationId xmlns:a16="http://schemas.microsoft.com/office/drawing/2014/main" id="{67E59834-DA40-48C5-941B-E8C1804D362E}"/>
                  </a:ext>
                </a:extLst>
              </p:cNvPr>
              <p:cNvSpPr>
                <a:spLocks/>
              </p:cNvSpPr>
              <p:nvPr/>
            </p:nvSpPr>
            <p:spPr bwMode="auto">
              <a:xfrm>
                <a:off x="3952" y="2840"/>
                <a:ext cx="128" cy="69"/>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35" name="Freeform 28">
                <a:extLst>
                  <a:ext uri="{FF2B5EF4-FFF2-40B4-BE49-F238E27FC236}">
                    <a16:creationId xmlns:a16="http://schemas.microsoft.com/office/drawing/2014/main" id="{442EF015-AF6F-4DE1-B573-D51CE98B4C53}"/>
                  </a:ext>
                </a:extLst>
              </p:cNvPr>
              <p:cNvSpPr>
                <a:spLocks/>
              </p:cNvSpPr>
              <p:nvPr/>
            </p:nvSpPr>
            <p:spPr bwMode="auto">
              <a:xfrm>
                <a:off x="3940" y="2843"/>
                <a:ext cx="115" cy="5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36" name="Freeform 30">
                <a:extLst>
                  <a:ext uri="{FF2B5EF4-FFF2-40B4-BE49-F238E27FC236}">
                    <a16:creationId xmlns:a16="http://schemas.microsoft.com/office/drawing/2014/main" id="{DCC54CF0-A278-4216-9989-A572AEEC1A5F}"/>
                  </a:ext>
                </a:extLst>
              </p:cNvPr>
              <p:cNvSpPr>
                <a:spLocks/>
              </p:cNvSpPr>
              <p:nvPr/>
            </p:nvSpPr>
            <p:spPr bwMode="auto">
              <a:xfrm>
                <a:off x="3672" y="2659"/>
                <a:ext cx="523" cy="160"/>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37" name="Freeform 32">
                <a:extLst>
                  <a:ext uri="{FF2B5EF4-FFF2-40B4-BE49-F238E27FC236}">
                    <a16:creationId xmlns:a16="http://schemas.microsoft.com/office/drawing/2014/main" id="{1C788A11-6ABF-4D81-948A-CEE1408762F1}"/>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38" name="Oval 33">
                <a:extLst>
                  <a:ext uri="{FF2B5EF4-FFF2-40B4-BE49-F238E27FC236}">
                    <a16:creationId xmlns:a16="http://schemas.microsoft.com/office/drawing/2014/main" id="{EE23FC21-7E88-4469-AF4E-FF8C3092B9A6}"/>
                  </a:ext>
                </a:extLst>
              </p:cNvPr>
              <p:cNvSpPr>
                <a:spLocks noChangeArrowheads="1"/>
              </p:cNvSpPr>
              <p:nvPr/>
            </p:nvSpPr>
            <p:spPr bwMode="auto">
              <a:xfrm>
                <a:off x="3925" y="2837"/>
                <a:ext cx="155" cy="72"/>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339" name="Group 34">
              <a:extLst>
                <a:ext uri="{FF2B5EF4-FFF2-40B4-BE49-F238E27FC236}">
                  <a16:creationId xmlns:a16="http://schemas.microsoft.com/office/drawing/2014/main" id="{CAB61C3A-6FAF-4040-9348-7C57072E6624}"/>
                </a:ext>
              </a:extLst>
            </p:cNvPr>
            <p:cNvGrpSpPr>
              <a:grpSpLocks/>
            </p:cNvGrpSpPr>
            <p:nvPr/>
          </p:nvGrpSpPr>
          <p:grpSpPr bwMode="auto">
            <a:xfrm rot="671323">
              <a:off x="5030424" y="4351096"/>
              <a:ext cx="1216155" cy="572183"/>
              <a:chOff x="3557" y="2640"/>
              <a:chExt cx="940" cy="470"/>
            </a:xfrm>
          </p:grpSpPr>
          <p:sp>
            <p:nvSpPr>
              <p:cNvPr id="340" name="Freeform 23">
                <a:extLst>
                  <a:ext uri="{FF2B5EF4-FFF2-40B4-BE49-F238E27FC236}">
                    <a16:creationId xmlns:a16="http://schemas.microsoft.com/office/drawing/2014/main" id="{EE112F6F-2B58-4769-80ED-0D42D490F488}"/>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41" name="Oval 25">
                <a:extLst>
                  <a:ext uri="{FF2B5EF4-FFF2-40B4-BE49-F238E27FC236}">
                    <a16:creationId xmlns:a16="http://schemas.microsoft.com/office/drawing/2014/main" id="{2429E6C7-C70C-47D9-9A63-4D89BB80146C}"/>
                  </a:ext>
                </a:extLst>
              </p:cNvPr>
              <p:cNvSpPr>
                <a:spLocks noChangeArrowheads="1"/>
              </p:cNvSpPr>
              <p:nvPr/>
            </p:nvSpPr>
            <p:spPr bwMode="auto">
              <a:xfrm>
                <a:off x="3942" y="2856"/>
                <a:ext cx="155" cy="72"/>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42" name="Oval 26">
                <a:extLst>
                  <a:ext uri="{FF2B5EF4-FFF2-40B4-BE49-F238E27FC236}">
                    <a16:creationId xmlns:a16="http://schemas.microsoft.com/office/drawing/2014/main" id="{0CF76F51-A527-4089-B193-E5774A4D8F3B}"/>
                  </a:ext>
                </a:extLst>
              </p:cNvPr>
              <p:cNvSpPr>
                <a:spLocks noChangeArrowheads="1"/>
              </p:cNvSpPr>
              <p:nvPr/>
            </p:nvSpPr>
            <p:spPr bwMode="auto">
              <a:xfrm>
                <a:off x="3925" y="2837"/>
                <a:ext cx="155" cy="72"/>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43" name="Freeform 27">
                <a:extLst>
                  <a:ext uri="{FF2B5EF4-FFF2-40B4-BE49-F238E27FC236}">
                    <a16:creationId xmlns:a16="http://schemas.microsoft.com/office/drawing/2014/main" id="{F2241EEC-6162-4968-ADF9-16A44C03A141}"/>
                  </a:ext>
                </a:extLst>
              </p:cNvPr>
              <p:cNvSpPr>
                <a:spLocks/>
              </p:cNvSpPr>
              <p:nvPr/>
            </p:nvSpPr>
            <p:spPr bwMode="auto">
              <a:xfrm>
                <a:off x="3952" y="2840"/>
                <a:ext cx="128" cy="69"/>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44" name="Freeform 28">
                <a:extLst>
                  <a:ext uri="{FF2B5EF4-FFF2-40B4-BE49-F238E27FC236}">
                    <a16:creationId xmlns:a16="http://schemas.microsoft.com/office/drawing/2014/main" id="{C496778B-223A-4C95-A4A0-45962F4681DC}"/>
                  </a:ext>
                </a:extLst>
              </p:cNvPr>
              <p:cNvSpPr>
                <a:spLocks/>
              </p:cNvSpPr>
              <p:nvPr/>
            </p:nvSpPr>
            <p:spPr bwMode="auto">
              <a:xfrm>
                <a:off x="3940" y="2843"/>
                <a:ext cx="115" cy="5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45" name="Freeform 30">
                <a:extLst>
                  <a:ext uri="{FF2B5EF4-FFF2-40B4-BE49-F238E27FC236}">
                    <a16:creationId xmlns:a16="http://schemas.microsoft.com/office/drawing/2014/main" id="{72D9129C-F30F-4995-98B7-2B1EA49BA43F}"/>
                  </a:ext>
                </a:extLst>
              </p:cNvPr>
              <p:cNvSpPr>
                <a:spLocks/>
              </p:cNvSpPr>
              <p:nvPr/>
            </p:nvSpPr>
            <p:spPr bwMode="auto">
              <a:xfrm>
                <a:off x="3672" y="2659"/>
                <a:ext cx="523" cy="160"/>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46" name="Freeform 32">
                <a:extLst>
                  <a:ext uri="{FF2B5EF4-FFF2-40B4-BE49-F238E27FC236}">
                    <a16:creationId xmlns:a16="http://schemas.microsoft.com/office/drawing/2014/main" id="{A6371984-4AA2-418B-BDF8-A91BBCC736E9}"/>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47" name="Oval 33">
                <a:extLst>
                  <a:ext uri="{FF2B5EF4-FFF2-40B4-BE49-F238E27FC236}">
                    <a16:creationId xmlns:a16="http://schemas.microsoft.com/office/drawing/2014/main" id="{3FB9C27B-E274-4EF2-978E-1B3D56854C78}"/>
                  </a:ext>
                </a:extLst>
              </p:cNvPr>
              <p:cNvSpPr>
                <a:spLocks noChangeArrowheads="1"/>
              </p:cNvSpPr>
              <p:nvPr/>
            </p:nvSpPr>
            <p:spPr bwMode="auto">
              <a:xfrm>
                <a:off x="3925" y="2837"/>
                <a:ext cx="155" cy="72"/>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348" name="Group 34">
              <a:extLst>
                <a:ext uri="{FF2B5EF4-FFF2-40B4-BE49-F238E27FC236}">
                  <a16:creationId xmlns:a16="http://schemas.microsoft.com/office/drawing/2014/main" id="{1B494EB8-34D2-461F-A4ED-7E4B7FFCBF77}"/>
                </a:ext>
              </a:extLst>
            </p:cNvPr>
            <p:cNvGrpSpPr>
              <a:grpSpLocks/>
            </p:cNvGrpSpPr>
            <p:nvPr/>
          </p:nvGrpSpPr>
          <p:grpSpPr bwMode="auto">
            <a:xfrm rot="521830">
              <a:off x="6260926" y="4561810"/>
              <a:ext cx="1216155" cy="572183"/>
              <a:chOff x="3557" y="2640"/>
              <a:chExt cx="940" cy="470"/>
            </a:xfrm>
          </p:grpSpPr>
          <p:sp>
            <p:nvSpPr>
              <p:cNvPr id="349" name="Freeform 23">
                <a:extLst>
                  <a:ext uri="{FF2B5EF4-FFF2-40B4-BE49-F238E27FC236}">
                    <a16:creationId xmlns:a16="http://schemas.microsoft.com/office/drawing/2014/main" id="{71E10C1E-B0FD-49E9-9073-CA17BAAFEB49}"/>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50" name="Oval 25">
                <a:extLst>
                  <a:ext uri="{FF2B5EF4-FFF2-40B4-BE49-F238E27FC236}">
                    <a16:creationId xmlns:a16="http://schemas.microsoft.com/office/drawing/2014/main" id="{DA921104-D909-4B14-98E1-9FD404B2B534}"/>
                  </a:ext>
                </a:extLst>
              </p:cNvPr>
              <p:cNvSpPr>
                <a:spLocks noChangeArrowheads="1"/>
              </p:cNvSpPr>
              <p:nvPr/>
            </p:nvSpPr>
            <p:spPr bwMode="auto">
              <a:xfrm>
                <a:off x="3942" y="2856"/>
                <a:ext cx="155" cy="72"/>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51" name="Oval 26">
                <a:extLst>
                  <a:ext uri="{FF2B5EF4-FFF2-40B4-BE49-F238E27FC236}">
                    <a16:creationId xmlns:a16="http://schemas.microsoft.com/office/drawing/2014/main" id="{EA1395EB-787F-4E94-9C02-E7CE07D073C8}"/>
                  </a:ext>
                </a:extLst>
              </p:cNvPr>
              <p:cNvSpPr>
                <a:spLocks noChangeArrowheads="1"/>
              </p:cNvSpPr>
              <p:nvPr/>
            </p:nvSpPr>
            <p:spPr bwMode="auto">
              <a:xfrm>
                <a:off x="3925" y="2837"/>
                <a:ext cx="155" cy="72"/>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52" name="Freeform 27">
                <a:extLst>
                  <a:ext uri="{FF2B5EF4-FFF2-40B4-BE49-F238E27FC236}">
                    <a16:creationId xmlns:a16="http://schemas.microsoft.com/office/drawing/2014/main" id="{2E2CD173-B445-4551-B461-BEF9514494A1}"/>
                  </a:ext>
                </a:extLst>
              </p:cNvPr>
              <p:cNvSpPr>
                <a:spLocks/>
              </p:cNvSpPr>
              <p:nvPr/>
            </p:nvSpPr>
            <p:spPr bwMode="auto">
              <a:xfrm>
                <a:off x="3952" y="2840"/>
                <a:ext cx="128" cy="69"/>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53" name="Freeform 28">
                <a:extLst>
                  <a:ext uri="{FF2B5EF4-FFF2-40B4-BE49-F238E27FC236}">
                    <a16:creationId xmlns:a16="http://schemas.microsoft.com/office/drawing/2014/main" id="{EDBCE90A-87C7-4219-BC59-6FD1305955BB}"/>
                  </a:ext>
                </a:extLst>
              </p:cNvPr>
              <p:cNvSpPr>
                <a:spLocks/>
              </p:cNvSpPr>
              <p:nvPr/>
            </p:nvSpPr>
            <p:spPr bwMode="auto">
              <a:xfrm>
                <a:off x="3940" y="2843"/>
                <a:ext cx="115" cy="5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54" name="Freeform 30">
                <a:extLst>
                  <a:ext uri="{FF2B5EF4-FFF2-40B4-BE49-F238E27FC236}">
                    <a16:creationId xmlns:a16="http://schemas.microsoft.com/office/drawing/2014/main" id="{38A85349-B592-40F6-867B-0140A51DD379}"/>
                  </a:ext>
                </a:extLst>
              </p:cNvPr>
              <p:cNvSpPr>
                <a:spLocks/>
              </p:cNvSpPr>
              <p:nvPr/>
            </p:nvSpPr>
            <p:spPr bwMode="auto">
              <a:xfrm>
                <a:off x="3672" y="2659"/>
                <a:ext cx="523" cy="160"/>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55" name="Freeform 32">
                <a:extLst>
                  <a:ext uri="{FF2B5EF4-FFF2-40B4-BE49-F238E27FC236}">
                    <a16:creationId xmlns:a16="http://schemas.microsoft.com/office/drawing/2014/main" id="{A6B9A716-11FB-47CE-A4A2-70C8CC2A110A}"/>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56" name="Oval 33">
                <a:extLst>
                  <a:ext uri="{FF2B5EF4-FFF2-40B4-BE49-F238E27FC236}">
                    <a16:creationId xmlns:a16="http://schemas.microsoft.com/office/drawing/2014/main" id="{6856F9C6-7415-4409-80A0-E1FAEDB46F8F}"/>
                  </a:ext>
                </a:extLst>
              </p:cNvPr>
              <p:cNvSpPr>
                <a:spLocks noChangeArrowheads="1"/>
              </p:cNvSpPr>
              <p:nvPr/>
            </p:nvSpPr>
            <p:spPr bwMode="auto">
              <a:xfrm>
                <a:off x="3925" y="2837"/>
                <a:ext cx="155" cy="72"/>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357" name="Group 34">
              <a:extLst>
                <a:ext uri="{FF2B5EF4-FFF2-40B4-BE49-F238E27FC236}">
                  <a16:creationId xmlns:a16="http://schemas.microsoft.com/office/drawing/2014/main" id="{CCB9281E-DA99-4DF4-A8A5-A122A2899573}"/>
                </a:ext>
              </a:extLst>
            </p:cNvPr>
            <p:cNvGrpSpPr>
              <a:grpSpLocks/>
            </p:cNvGrpSpPr>
            <p:nvPr/>
          </p:nvGrpSpPr>
          <p:grpSpPr bwMode="auto">
            <a:xfrm rot="394922">
              <a:off x="7505341" y="4712924"/>
              <a:ext cx="1216155" cy="572183"/>
              <a:chOff x="3557" y="2640"/>
              <a:chExt cx="940" cy="470"/>
            </a:xfrm>
          </p:grpSpPr>
          <p:sp>
            <p:nvSpPr>
              <p:cNvPr id="358" name="Freeform 23">
                <a:extLst>
                  <a:ext uri="{FF2B5EF4-FFF2-40B4-BE49-F238E27FC236}">
                    <a16:creationId xmlns:a16="http://schemas.microsoft.com/office/drawing/2014/main" id="{B47C1C50-5ECC-498D-8F51-C4A406307D26}"/>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59" name="Oval 25">
                <a:extLst>
                  <a:ext uri="{FF2B5EF4-FFF2-40B4-BE49-F238E27FC236}">
                    <a16:creationId xmlns:a16="http://schemas.microsoft.com/office/drawing/2014/main" id="{E7B6F590-B934-4A2C-8A67-1350710463D8}"/>
                  </a:ext>
                </a:extLst>
              </p:cNvPr>
              <p:cNvSpPr>
                <a:spLocks noChangeArrowheads="1"/>
              </p:cNvSpPr>
              <p:nvPr/>
            </p:nvSpPr>
            <p:spPr bwMode="auto">
              <a:xfrm>
                <a:off x="3942" y="2856"/>
                <a:ext cx="155" cy="72"/>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60" name="Oval 26">
                <a:extLst>
                  <a:ext uri="{FF2B5EF4-FFF2-40B4-BE49-F238E27FC236}">
                    <a16:creationId xmlns:a16="http://schemas.microsoft.com/office/drawing/2014/main" id="{1306D69A-8186-4C43-AB3D-1637E88A5ED7}"/>
                  </a:ext>
                </a:extLst>
              </p:cNvPr>
              <p:cNvSpPr>
                <a:spLocks noChangeArrowheads="1"/>
              </p:cNvSpPr>
              <p:nvPr/>
            </p:nvSpPr>
            <p:spPr bwMode="auto">
              <a:xfrm>
                <a:off x="3925" y="2837"/>
                <a:ext cx="155" cy="72"/>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61" name="Freeform 27">
                <a:extLst>
                  <a:ext uri="{FF2B5EF4-FFF2-40B4-BE49-F238E27FC236}">
                    <a16:creationId xmlns:a16="http://schemas.microsoft.com/office/drawing/2014/main" id="{3A7DD445-35B0-4E6A-B2AD-66AEC6CF509A}"/>
                  </a:ext>
                </a:extLst>
              </p:cNvPr>
              <p:cNvSpPr>
                <a:spLocks/>
              </p:cNvSpPr>
              <p:nvPr/>
            </p:nvSpPr>
            <p:spPr bwMode="auto">
              <a:xfrm>
                <a:off x="3952" y="2840"/>
                <a:ext cx="128" cy="69"/>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62" name="Freeform 28">
                <a:extLst>
                  <a:ext uri="{FF2B5EF4-FFF2-40B4-BE49-F238E27FC236}">
                    <a16:creationId xmlns:a16="http://schemas.microsoft.com/office/drawing/2014/main" id="{F54B8237-2517-4D1E-B504-AFC242B67BE6}"/>
                  </a:ext>
                </a:extLst>
              </p:cNvPr>
              <p:cNvSpPr>
                <a:spLocks/>
              </p:cNvSpPr>
              <p:nvPr/>
            </p:nvSpPr>
            <p:spPr bwMode="auto">
              <a:xfrm>
                <a:off x="3940" y="2843"/>
                <a:ext cx="115" cy="5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63" name="Freeform 30">
                <a:extLst>
                  <a:ext uri="{FF2B5EF4-FFF2-40B4-BE49-F238E27FC236}">
                    <a16:creationId xmlns:a16="http://schemas.microsoft.com/office/drawing/2014/main" id="{5C7EBBC1-3D0E-4E69-A355-59A75A9F023B}"/>
                  </a:ext>
                </a:extLst>
              </p:cNvPr>
              <p:cNvSpPr>
                <a:spLocks/>
              </p:cNvSpPr>
              <p:nvPr/>
            </p:nvSpPr>
            <p:spPr bwMode="auto">
              <a:xfrm>
                <a:off x="3672" y="2659"/>
                <a:ext cx="523" cy="160"/>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64" name="Freeform 32">
                <a:extLst>
                  <a:ext uri="{FF2B5EF4-FFF2-40B4-BE49-F238E27FC236}">
                    <a16:creationId xmlns:a16="http://schemas.microsoft.com/office/drawing/2014/main" id="{2B6E606B-9C0F-4671-82BC-5ED2E05C0EB2}"/>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65" name="Oval 33">
                <a:extLst>
                  <a:ext uri="{FF2B5EF4-FFF2-40B4-BE49-F238E27FC236}">
                    <a16:creationId xmlns:a16="http://schemas.microsoft.com/office/drawing/2014/main" id="{91C88BB2-F35C-4376-B816-C141D24C7952}"/>
                  </a:ext>
                </a:extLst>
              </p:cNvPr>
              <p:cNvSpPr>
                <a:spLocks noChangeArrowheads="1"/>
              </p:cNvSpPr>
              <p:nvPr/>
            </p:nvSpPr>
            <p:spPr bwMode="auto">
              <a:xfrm>
                <a:off x="3925" y="2837"/>
                <a:ext cx="155" cy="72"/>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366" name="Group 34">
              <a:extLst>
                <a:ext uri="{FF2B5EF4-FFF2-40B4-BE49-F238E27FC236}">
                  <a16:creationId xmlns:a16="http://schemas.microsoft.com/office/drawing/2014/main" id="{6337A0AA-EAFD-4C0B-BAD2-41B5E6706839}"/>
                </a:ext>
              </a:extLst>
            </p:cNvPr>
            <p:cNvGrpSpPr>
              <a:grpSpLocks/>
            </p:cNvGrpSpPr>
            <p:nvPr/>
          </p:nvGrpSpPr>
          <p:grpSpPr bwMode="auto">
            <a:xfrm rot="306870">
              <a:off x="8770545" y="4835285"/>
              <a:ext cx="1216155" cy="572183"/>
              <a:chOff x="3557" y="2640"/>
              <a:chExt cx="940" cy="470"/>
            </a:xfrm>
          </p:grpSpPr>
          <p:sp>
            <p:nvSpPr>
              <p:cNvPr id="367" name="Freeform 23">
                <a:extLst>
                  <a:ext uri="{FF2B5EF4-FFF2-40B4-BE49-F238E27FC236}">
                    <a16:creationId xmlns:a16="http://schemas.microsoft.com/office/drawing/2014/main" id="{3C16C3A9-9012-43AD-93F4-28653F1753FF}"/>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68" name="Oval 25">
                <a:extLst>
                  <a:ext uri="{FF2B5EF4-FFF2-40B4-BE49-F238E27FC236}">
                    <a16:creationId xmlns:a16="http://schemas.microsoft.com/office/drawing/2014/main" id="{9798CEED-CB5A-494E-9701-54B3C9612A19}"/>
                  </a:ext>
                </a:extLst>
              </p:cNvPr>
              <p:cNvSpPr>
                <a:spLocks noChangeArrowheads="1"/>
              </p:cNvSpPr>
              <p:nvPr/>
            </p:nvSpPr>
            <p:spPr bwMode="auto">
              <a:xfrm>
                <a:off x="3942" y="2856"/>
                <a:ext cx="155" cy="72"/>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69" name="Oval 26">
                <a:extLst>
                  <a:ext uri="{FF2B5EF4-FFF2-40B4-BE49-F238E27FC236}">
                    <a16:creationId xmlns:a16="http://schemas.microsoft.com/office/drawing/2014/main" id="{4D573FD6-1651-4CD5-B067-CAC962D95440}"/>
                  </a:ext>
                </a:extLst>
              </p:cNvPr>
              <p:cNvSpPr>
                <a:spLocks noChangeArrowheads="1"/>
              </p:cNvSpPr>
              <p:nvPr/>
            </p:nvSpPr>
            <p:spPr bwMode="auto">
              <a:xfrm>
                <a:off x="3925" y="2837"/>
                <a:ext cx="155" cy="72"/>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70" name="Freeform 27">
                <a:extLst>
                  <a:ext uri="{FF2B5EF4-FFF2-40B4-BE49-F238E27FC236}">
                    <a16:creationId xmlns:a16="http://schemas.microsoft.com/office/drawing/2014/main" id="{56ECC856-2225-4B7D-8D45-1C3FC6C5B8AE}"/>
                  </a:ext>
                </a:extLst>
              </p:cNvPr>
              <p:cNvSpPr>
                <a:spLocks/>
              </p:cNvSpPr>
              <p:nvPr/>
            </p:nvSpPr>
            <p:spPr bwMode="auto">
              <a:xfrm>
                <a:off x="3952" y="2840"/>
                <a:ext cx="128" cy="69"/>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71" name="Freeform 28">
                <a:extLst>
                  <a:ext uri="{FF2B5EF4-FFF2-40B4-BE49-F238E27FC236}">
                    <a16:creationId xmlns:a16="http://schemas.microsoft.com/office/drawing/2014/main" id="{946BF5CC-8FE3-4767-8B7D-82ECF0370B60}"/>
                  </a:ext>
                </a:extLst>
              </p:cNvPr>
              <p:cNvSpPr>
                <a:spLocks/>
              </p:cNvSpPr>
              <p:nvPr/>
            </p:nvSpPr>
            <p:spPr bwMode="auto">
              <a:xfrm>
                <a:off x="3940" y="2843"/>
                <a:ext cx="115" cy="5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72" name="Freeform 30">
                <a:extLst>
                  <a:ext uri="{FF2B5EF4-FFF2-40B4-BE49-F238E27FC236}">
                    <a16:creationId xmlns:a16="http://schemas.microsoft.com/office/drawing/2014/main" id="{61347FA2-7B4F-4056-8285-5A6D191939DC}"/>
                  </a:ext>
                </a:extLst>
              </p:cNvPr>
              <p:cNvSpPr>
                <a:spLocks/>
              </p:cNvSpPr>
              <p:nvPr/>
            </p:nvSpPr>
            <p:spPr bwMode="auto">
              <a:xfrm>
                <a:off x="3672" y="2659"/>
                <a:ext cx="523" cy="160"/>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73" name="Freeform 32">
                <a:extLst>
                  <a:ext uri="{FF2B5EF4-FFF2-40B4-BE49-F238E27FC236}">
                    <a16:creationId xmlns:a16="http://schemas.microsoft.com/office/drawing/2014/main" id="{A26F0ECB-BBD8-4DCE-9BCA-F5125863AFF3}"/>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74" name="Oval 33">
                <a:extLst>
                  <a:ext uri="{FF2B5EF4-FFF2-40B4-BE49-F238E27FC236}">
                    <a16:creationId xmlns:a16="http://schemas.microsoft.com/office/drawing/2014/main" id="{1DF9081A-DC3B-4BAB-9FD9-731E95206737}"/>
                  </a:ext>
                </a:extLst>
              </p:cNvPr>
              <p:cNvSpPr>
                <a:spLocks noChangeArrowheads="1"/>
              </p:cNvSpPr>
              <p:nvPr/>
            </p:nvSpPr>
            <p:spPr bwMode="auto">
              <a:xfrm>
                <a:off x="3925" y="2837"/>
                <a:ext cx="155" cy="72"/>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375" name="Group 34">
              <a:extLst>
                <a:ext uri="{FF2B5EF4-FFF2-40B4-BE49-F238E27FC236}">
                  <a16:creationId xmlns:a16="http://schemas.microsoft.com/office/drawing/2014/main" id="{AEF3770D-F7EF-4AE8-B742-8B912A29659A}"/>
                </a:ext>
              </a:extLst>
            </p:cNvPr>
            <p:cNvGrpSpPr>
              <a:grpSpLocks/>
            </p:cNvGrpSpPr>
            <p:nvPr/>
          </p:nvGrpSpPr>
          <p:grpSpPr bwMode="auto">
            <a:xfrm rot="306870">
              <a:off x="10021601" y="4936560"/>
              <a:ext cx="1216155" cy="572183"/>
              <a:chOff x="3557" y="2640"/>
              <a:chExt cx="940" cy="470"/>
            </a:xfrm>
          </p:grpSpPr>
          <p:sp>
            <p:nvSpPr>
              <p:cNvPr id="376" name="Freeform 23">
                <a:extLst>
                  <a:ext uri="{FF2B5EF4-FFF2-40B4-BE49-F238E27FC236}">
                    <a16:creationId xmlns:a16="http://schemas.microsoft.com/office/drawing/2014/main" id="{AF56AEF5-C9B4-48E0-AFA0-2EB3D1EE6F6F}"/>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77" name="Oval 25">
                <a:extLst>
                  <a:ext uri="{FF2B5EF4-FFF2-40B4-BE49-F238E27FC236}">
                    <a16:creationId xmlns:a16="http://schemas.microsoft.com/office/drawing/2014/main" id="{B3B46C56-F2BE-4F75-ABCB-8DC2D29551AA}"/>
                  </a:ext>
                </a:extLst>
              </p:cNvPr>
              <p:cNvSpPr>
                <a:spLocks noChangeArrowheads="1"/>
              </p:cNvSpPr>
              <p:nvPr/>
            </p:nvSpPr>
            <p:spPr bwMode="auto">
              <a:xfrm>
                <a:off x="3942" y="2856"/>
                <a:ext cx="155" cy="72"/>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78" name="Oval 26">
                <a:extLst>
                  <a:ext uri="{FF2B5EF4-FFF2-40B4-BE49-F238E27FC236}">
                    <a16:creationId xmlns:a16="http://schemas.microsoft.com/office/drawing/2014/main" id="{5C6F96FB-3C31-42FD-ABA6-04A9E5963ADE}"/>
                  </a:ext>
                </a:extLst>
              </p:cNvPr>
              <p:cNvSpPr>
                <a:spLocks noChangeArrowheads="1"/>
              </p:cNvSpPr>
              <p:nvPr/>
            </p:nvSpPr>
            <p:spPr bwMode="auto">
              <a:xfrm>
                <a:off x="3925" y="2837"/>
                <a:ext cx="155" cy="72"/>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79" name="Freeform 27">
                <a:extLst>
                  <a:ext uri="{FF2B5EF4-FFF2-40B4-BE49-F238E27FC236}">
                    <a16:creationId xmlns:a16="http://schemas.microsoft.com/office/drawing/2014/main" id="{2E51B508-B1DD-40B7-B741-9B97EA68A34D}"/>
                  </a:ext>
                </a:extLst>
              </p:cNvPr>
              <p:cNvSpPr>
                <a:spLocks/>
              </p:cNvSpPr>
              <p:nvPr/>
            </p:nvSpPr>
            <p:spPr bwMode="auto">
              <a:xfrm>
                <a:off x="3952" y="2840"/>
                <a:ext cx="128" cy="69"/>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80" name="Freeform 28">
                <a:extLst>
                  <a:ext uri="{FF2B5EF4-FFF2-40B4-BE49-F238E27FC236}">
                    <a16:creationId xmlns:a16="http://schemas.microsoft.com/office/drawing/2014/main" id="{C919F9B4-8D74-46DA-9610-F6ED965CE8F8}"/>
                  </a:ext>
                </a:extLst>
              </p:cNvPr>
              <p:cNvSpPr>
                <a:spLocks/>
              </p:cNvSpPr>
              <p:nvPr/>
            </p:nvSpPr>
            <p:spPr bwMode="auto">
              <a:xfrm>
                <a:off x="3940" y="2843"/>
                <a:ext cx="115" cy="5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81" name="Freeform 30">
                <a:extLst>
                  <a:ext uri="{FF2B5EF4-FFF2-40B4-BE49-F238E27FC236}">
                    <a16:creationId xmlns:a16="http://schemas.microsoft.com/office/drawing/2014/main" id="{31918038-D352-4D85-9492-020640DD1A5E}"/>
                  </a:ext>
                </a:extLst>
              </p:cNvPr>
              <p:cNvSpPr>
                <a:spLocks/>
              </p:cNvSpPr>
              <p:nvPr/>
            </p:nvSpPr>
            <p:spPr bwMode="auto">
              <a:xfrm>
                <a:off x="3672" y="2659"/>
                <a:ext cx="523" cy="160"/>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82" name="Freeform 32">
                <a:extLst>
                  <a:ext uri="{FF2B5EF4-FFF2-40B4-BE49-F238E27FC236}">
                    <a16:creationId xmlns:a16="http://schemas.microsoft.com/office/drawing/2014/main" id="{2F861154-5DF7-4B97-8C94-250F7AB39B02}"/>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83" name="Oval 33">
                <a:extLst>
                  <a:ext uri="{FF2B5EF4-FFF2-40B4-BE49-F238E27FC236}">
                    <a16:creationId xmlns:a16="http://schemas.microsoft.com/office/drawing/2014/main" id="{393EB550-600D-42A5-B30B-9D3117048704}"/>
                  </a:ext>
                </a:extLst>
              </p:cNvPr>
              <p:cNvSpPr>
                <a:spLocks noChangeArrowheads="1"/>
              </p:cNvSpPr>
              <p:nvPr/>
            </p:nvSpPr>
            <p:spPr bwMode="auto">
              <a:xfrm>
                <a:off x="3925" y="2837"/>
                <a:ext cx="155" cy="72"/>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sp>
          <p:nvSpPr>
            <p:cNvPr id="384" name="Freeform: Shape 383">
              <a:extLst>
                <a:ext uri="{FF2B5EF4-FFF2-40B4-BE49-F238E27FC236}">
                  <a16:creationId xmlns:a16="http://schemas.microsoft.com/office/drawing/2014/main" id="{50617B81-3870-4F73-84E3-85B331D86205}"/>
                </a:ext>
              </a:extLst>
            </p:cNvPr>
            <p:cNvSpPr>
              <a:spLocks/>
            </p:cNvSpPr>
            <p:nvPr/>
          </p:nvSpPr>
          <p:spPr bwMode="auto">
            <a:xfrm rot="306870">
              <a:off x="11281552" y="5055645"/>
              <a:ext cx="574926" cy="504298"/>
            </a:xfrm>
            <a:custGeom>
              <a:avLst/>
              <a:gdLst>
                <a:gd name="connsiteX0" fmla="*/ 529790 w 574926"/>
                <a:gd name="connsiteY0" fmla="*/ 0 h 504298"/>
                <a:gd name="connsiteX1" fmla="*/ 574926 w 574926"/>
                <a:gd name="connsiteY1" fmla="*/ 504298 h 504298"/>
                <a:gd name="connsiteX2" fmla="*/ 569066 w 574926"/>
                <a:gd name="connsiteY2" fmla="*/ 502562 h 504298"/>
                <a:gd name="connsiteX3" fmla="*/ 336555 w 574926"/>
                <a:gd name="connsiteY3" fmla="*/ 415191 h 504298"/>
                <a:gd name="connsiteX4" fmla="*/ 0 w 574926"/>
                <a:gd name="connsiteY4" fmla="*/ 249388 h 504298"/>
                <a:gd name="connsiteX5" fmla="*/ 264177 w 574926"/>
                <a:gd name="connsiteY5" fmla="*/ 106342 h 504298"/>
                <a:gd name="connsiteX6" fmla="*/ 499403 w 574926"/>
                <a:gd name="connsiteY6" fmla="*/ 10843 h 5042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4926" h="504298">
                  <a:moveTo>
                    <a:pt x="529790" y="0"/>
                  </a:moveTo>
                  <a:lnTo>
                    <a:pt x="574926" y="504298"/>
                  </a:lnTo>
                  <a:lnTo>
                    <a:pt x="569066" y="502562"/>
                  </a:lnTo>
                  <a:cubicBezTo>
                    <a:pt x="513878" y="484275"/>
                    <a:pt x="437883" y="455829"/>
                    <a:pt x="336555" y="415191"/>
                  </a:cubicBezTo>
                  <a:cubicBezTo>
                    <a:pt x="141136" y="337165"/>
                    <a:pt x="0" y="285149"/>
                    <a:pt x="0" y="249388"/>
                  </a:cubicBezTo>
                  <a:cubicBezTo>
                    <a:pt x="0" y="210375"/>
                    <a:pt x="144755" y="151857"/>
                    <a:pt x="264177" y="106342"/>
                  </a:cubicBezTo>
                  <a:cubicBezTo>
                    <a:pt x="332935" y="78708"/>
                    <a:pt x="420692" y="41321"/>
                    <a:pt x="499403" y="10843"/>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85" name="Freeform: Shape 384">
              <a:extLst>
                <a:ext uri="{FF2B5EF4-FFF2-40B4-BE49-F238E27FC236}">
                  <a16:creationId xmlns:a16="http://schemas.microsoft.com/office/drawing/2014/main" id="{0F38D3A8-19B9-4007-80EF-06E4FC5C7FE2}"/>
                </a:ext>
              </a:extLst>
            </p:cNvPr>
            <p:cNvSpPr>
              <a:spLocks/>
            </p:cNvSpPr>
            <p:nvPr/>
          </p:nvSpPr>
          <p:spPr bwMode="auto">
            <a:xfrm rot="306870">
              <a:off x="11281552" y="5055492"/>
              <a:ext cx="575452" cy="504631"/>
            </a:xfrm>
            <a:custGeom>
              <a:avLst/>
              <a:gdLst>
                <a:gd name="connsiteX0" fmla="*/ 530286 w 575452"/>
                <a:gd name="connsiteY0" fmla="*/ 0 h 504631"/>
                <a:gd name="connsiteX1" fmla="*/ 575452 w 575452"/>
                <a:gd name="connsiteY1" fmla="*/ 504631 h 504631"/>
                <a:gd name="connsiteX2" fmla="*/ 569066 w 575452"/>
                <a:gd name="connsiteY2" fmla="*/ 502739 h 504631"/>
                <a:gd name="connsiteX3" fmla="*/ 336555 w 575452"/>
                <a:gd name="connsiteY3" fmla="*/ 415368 h 504631"/>
                <a:gd name="connsiteX4" fmla="*/ 0 w 575452"/>
                <a:gd name="connsiteY4" fmla="*/ 249565 h 504631"/>
                <a:gd name="connsiteX5" fmla="*/ 264177 w 575452"/>
                <a:gd name="connsiteY5" fmla="*/ 106519 h 504631"/>
                <a:gd name="connsiteX6" fmla="*/ 499403 w 575452"/>
                <a:gd name="connsiteY6" fmla="*/ 11020 h 504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75452" h="504631">
                  <a:moveTo>
                    <a:pt x="530286" y="0"/>
                  </a:moveTo>
                  <a:lnTo>
                    <a:pt x="575452" y="504631"/>
                  </a:lnTo>
                  <a:lnTo>
                    <a:pt x="569066" y="502739"/>
                  </a:lnTo>
                  <a:cubicBezTo>
                    <a:pt x="513878" y="484452"/>
                    <a:pt x="437883" y="456006"/>
                    <a:pt x="336555" y="415368"/>
                  </a:cubicBezTo>
                  <a:cubicBezTo>
                    <a:pt x="141136" y="337342"/>
                    <a:pt x="0" y="285326"/>
                    <a:pt x="0" y="249565"/>
                  </a:cubicBezTo>
                  <a:cubicBezTo>
                    <a:pt x="0" y="210552"/>
                    <a:pt x="144755" y="152034"/>
                    <a:pt x="264177" y="106519"/>
                  </a:cubicBezTo>
                  <a:cubicBezTo>
                    <a:pt x="332935" y="78885"/>
                    <a:pt x="420692" y="41498"/>
                    <a:pt x="499403" y="1102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grpSp>
          <p:nvGrpSpPr>
            <p:cNvPr id="386" name="Group 34">
              <a:extLst>
                <a:ext uri="{FF2B5EF4-FFF2-40B4-BE49-F238E27FC236}">
                  <a16:creationId xmlns:a16="http://schemas.microsoft.com/office/drawing/2014/main" id="{89E9D88F-19ED-4084-904D-ECD8B56F474B}"/>
                </a:ext>
              </a:extLst>
            </p:cNvPr>
            <p:cNvGrpSpPr>
              <a:grpSpLocks/>
            </p:cNvGrpSpPr>
            <p:nvPr/>
          </p:nvGrpSpPr>
          <p:grpSpPr bwMode="auto">
            <a:xfrm rot="1101543">
              <a:off x="3088195" y="4351287"/>
              <a:ext cx="1216155" cy="572183"/>
              <a:chOff x="3557" y="2640"/>
              <a:chExt cx="940" cy="470"/>
            </a:xfrm>
          </p:grpSpPr>
          <p:sp>
            <p:nvSpPr>
              <p:cNvPr id="387" name="Freeform 23">
                <a:extLst>
                  <a:ext uri="{FF2B5EF4-FFF2-40B4-BE49-F238E27FC236}">
                    <a16:creationId xmlns:a16="http://schemas.microsoft.com/office/drawing/2014/main" id="{66A8818B-3F6E-46A2-BA1E-A915D793B57D}"/>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88" name="Oval 25">
                <a:extLst>
                  <a:ext uri="{FF2B5EF4-FFF2-40B4-BE49-F238E27FC236}">
                    <a16:creationId xmlns:a16="http://schemas.microsoft.com/office/drawing/2014/main" id="{327D184D-9800-4B56-973E-E5C9E22C579D}"/>
                  </a:ext>
                </a:extLst>
              </p:cNvPr>
              <p:cNvSpPr>
                <a:spLocks noChangeArrowheads="1"/>
              </p:cNvSpPr>
              <p:nvPr/>
            </p:nvSpPr>
            <p:spPr bwMode="auto">
              <a:xfrm>
                <a:off x="3942" y="2856"/>
                <a:ext cx="155" cy="72"/>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89" name="Oval 26">
                <a:extLst>
                  <a:ext uri="{FF2B5EF4-FFF2-40B4-BE49-F238E27FC236}">
                    <a16:creationId xmlns:a16="http://schemas.microsoft.com/office/drawing/2014/main" id="{0DD6B1C8-06C5-40C6-B532-4D9EFAC8EADC}"/>
                  </a:ext>
                </a:extLst>
              </p:cNvPr>
              <p:cNvSpPr>
                <a:spLocks noChangeArrowheads="1"/>
              </p:cNvSpPr>
              <p:nvPr/>
            </p:nvSpPr>
            <p:spPr bwMode="auto">
              <a:xfrm>
                <a:off x="3925" y="2837"/>
                <a:ext cx="155" cy="72"/>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90" name="Freeform 27">
                <a:extLst>
                  <a:ext uri="{FF2B5EF4-FFF2-40B4-BE49-F238E27FC236}">
                    <a16:creationId xmlns:a16="http://schemas.microsoft.com/office/drawing/2014/main" id="{16D9FC64-DB18-4168-8DD0-260953B40EBB}"/>
                  </a:ext>
                </a:extLst>
              </p:cNvPr>
              <p:cNvSpPr>
                <a:spLocks/>
              </p:cNvSpPr>
              <p:nvPr/>
            </p:nvSpPr>
            <p:spPr bwMode="auto">
              <a:xfrm>
                <a:off x="3952" y="2840"/>
                <a:ext cx="128" cy="69"/>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91" name="Freeform 28">
                <a:extLst>
                  <a:ext uri="{FF2B5EF4-FFF2-40B4-BE49-F238E27FC236}">
                    <a16:creationId xmlns:a16="http://schemas.microsoft.com/office/drawing/2014/main" id="{A845A338-4F34-49F4-A1F5-90389C8D96D6}"/>
                  </a:ext>
                </a:extLst>
              </p:cNvPr>
              <p:cNvSpPr>
                <a:spLocks/>
              </p:cNvSpPr>
              <p:nvPr/>
            </p:nvSpPr>
            <p:spPr bwMode="auto">
              <a:xfrm>
                <a:off x="3940" y="2843"/>
                <a:ext cx="115" cy="5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92" name="Freeform 30">
                <a:extLst>
                  <a:ext uri="{FF2B5EF4-FFF2-40B4-BE49-F238E27FC236}">
                    <a16:creationId xmlns:a16="http://schemas.microsoft.com/office/drawing/2014/main" id="{7604DD0A-1239-47E4-9C66-D9A2C54E38E4}"/>
                  </a:ext>
                </a:extLst>
              </p:cNvPr>
              <p:cNvSpPr>
                <a:spLocks/>
              </p:cNvSpPr>
              <p:nvPr/>
            </p:nvSpPr>
            <p:spPr bwMode="auto">
              <a:xfrm>
                <a:off x="3672" y="2659"/>
                <a:ext cx="523" cy="160"/>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93" name="Freeform 32">
                <a:extLst>
                  <a:ext uri="{FF2B5EF4-FFF2-40B4-BE49-F238E27FC236}">
                    <a16:creationId xmlns:a16="http://schemas.microsoft.com/office/drawing/2014/main" id="{A59F1E8C-45A3-4EA7-926A-C5C6306D01F2}"/>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94" name="Oval 33">
                <a:extLst>
                  <a:ext uri="{FF2B5EF4-FFF2-40B4-BE49-F238E27FC236}">
                    <a16:creationId xmlns:a16="http://schemas.microsoft.com/office/drawing/2014/main" id="{833D121B-CC3A-4E83-AB10-8290A022B1B0}"/>
                  </a:ext>
                </a:extLst>
              </p:cNvPr>
              <p:cNvSpPr>
                <a:spLocks noChangeArrowheads="1"/>
              </p:cNvSpPr>
              <p:nvPr/>
            </p:nvSpPr>
            <p:spPr bwMode="auto">
              <a:xfrm>
                <a:off x="3925" y="2837"/>
                <a:ext cx="155" cy="72"/>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395" name="Group 34">
              <a:extLst>
                <a:ext uri="{FF2B5EF4-FFF2-40B4-BE49-F238E27FC236}">
                  <a16:creationId xmlns:a16="http://schemas.microsoft.com/office/drawing/2014/main" id="{659FC7D0-3B0B-49AB-A1B6-D65AFE9E7306}"/>
                </a:ext>
              </a:extLst>
            </p:cNvPr>
            <p:cNvGrpSpPr>
              <a:grpSpLocks/>
            </p:cNvGrpSpPr>
            <p:nvPr/>
          </p:nvGrpSpPr>
          <p:grpSpPr bwMode="auto">
            <a:xfrm rot="840103">
              <a:off x="4322297" y="4644391"/>
              <a:ext cx="1216155" cy="572183"/>
              <a:chOff x="3557" y="2640"/>
              <a:chExt cx="940" cy="470"/>
            </a:xfrm>
          </p:grpSpPr>
          <p:sp>
            <p:nvSpPr>
              <p:cNvPr id="396" name="Freeform 23">
                <a:extLst>
                  <a:ext uri="{FF2B5EF4-FFF2-40B4-BE49-F238E27FC236}">
                    <a16:creationId xmlns:a16="http://schemas.microsoft.com/office/drawing/2014/main" id="{05FC3736-C416-4722-819A-B248D96AE764}"/>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397" name="Oval 25">
                <a:extLst>
                  <a:ext uri="{FF2B5EF4-FFF2-40B4-BE49-F238E27FC236}">
                    <a16:creationId xmlns:a16="http://schemas.microsoft.com/office/drawing/2014/main" id="{ED406E6D-0E06-4FBF-A858-AEE2C1EA2EC2}"/>
                  </a:ext>
                </a:extLst>
              </p:cNvPr>
              <p:cNvSpPr>
                <a:spLocks noChangeArrowheads="1"/>
              </p:cNvSpPr>
              <p:nvPr/>
            </p:nvSpPr>
            <p:spPr bwMode="auto">
              <a:xfrm>
                <a:off x="3942" y="2856"/>
                <a:ext cx="155" cy="72"/>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98" name="Oval 26">
                <a:extLst>
                  <a:ext uri="{FF2B5EF4-FFF2-40B4-BE49-F238E27FC236}">
                    <a16:creationId xmlns:a16="http://schemas.microsoft.com/office/drawing/2014/main" id="{1FF5069D-6636-4A9F-A602-AAC31952DD2B}"/>
                  </a:ext>
                </a:extLst>
              </p:cNvPr>
              <p:cNvSpPr>
                <a:spLocks noChangeArrowheads="1"/>
              </p:cNvSpPr>
              <p:nvPr/>
            </p:nvSpPr>
            <p:spPr bwMode="auto">
              <a:xfrm>
                <a:off x="3925" y="2837"/>
                <a:ext cx="155" cy="72"/>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399" name="Freeform 27">
                <a:extLst>
                  <a:ext uri="{FF2B5EF4-FFF2-40B4-BE49-F238E27FC236}">
                    <a16:creationId xmlns:a16="http://schemas.microsoft.com/office/drawing/2014/main" id="{A1354092-C53B-4991-A19C-DEBA8095C3CD}"/>
                  </a:ext>
                </a:extLst>
              </p:cNvPr>
              <p:cNvSpPr>
                <a:spLocks/>
              </p:cNvSpPr>
              <p:nvPr/>
            </p:nvSpPr>
            <p:spPr bwMode="auto">
              <a:xfrm>
                <a:off x="3952" y="2840"/>
                <a:ext cx="128" cy="69"/>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00" name="Freeform 28">
                <a:extLst>
                  <a:ext uri="{FF2B5EF4-FFF2-40B4-BE49-F238E27FC236}">
                    <a16:creationId xmlns:a16="http://schemas.microsoft.com/office/drawing/2014/main" id="{358B3997-ECA3-48FF-8335-D8EA068EF030}"/>
                  </a:ext>
                </a:extLst>
              </p:cNvPr>
              <p:cNvSpPr>
                <a:spLocks/>
              </p:cNvSpPr>
              <p:nvPr/>
            </p:nvSpPr>
            <p:spPr bwMode="auto">
              <a:xfrm>
                <a:off x="3940" y="2843"/>
                <a:ext cx="115" cy="5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01" name="Freeform 30">
                <a:extLst>
                  <a:ext uri="{FF2B5EF4-FFF2-40B4-BE49-F238E27FC236}">
                    <a16:creationId xmlns:a16="http://schemas.microsoft.com/office/drawing/2014/main" id="{070C290A-A9FC-4190-8E68-BB18E65E8C2F}"/>
                  </a:ext>
                </a:extLst>
              </p:cNvPr>
              <p:cNvSpPr>
                <a:spLocks/>
              </p:cNvSpPr>
              <p:nvPr/>
            </p:nvSpPr>
            <p:spPr bwMode="auto">
              <a:xfrm>
                <a:off x="3672" y="2659"/>
                <a:ext cx="523" cy="160"/>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02" name="Freeform 32">
                <a:extLst>
                  <a:ext uri="{FF2B5EF4-FFF2-40B4-BE49-F238E27FC236}">
                    <a16:creationId xmlns:a16="http://schemas.microsoft.com/office/drawing/2014/main" id="{78FFDA32-DCEC-42A7-8EE8-CDC74F2B22C1}"/>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03" name="Oval 33">
                <a:extLst>
                  <a:ext uri="{FF2B5EF4-FFF2-40B4-BE49-F238E27FC236}">
                    <a16:creationId xmlns:a16="http://schemas.microsoft.com/office/drawing/2014/main" id="{1C7F22F7-7DE9-45DD-AC5C-E913BE6161E8}"/>
                  </a:ext>
                </a:extLst>
              </p:cNvPr>
              <p:cNvSpPr>
                <a:spLocks noChangeArrowheads="1"/>
              </p:cNvSpPr>
              <p:nvPr/>
            </p:nvSpPr>
            <p:spPr bwMode="auto">
              <a:xfrm>
                <a:off x="3925" y="2837"/>
                <a:ext cx="155" cy="72"/>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404" name="Group 34">
              <a:extLst>
                <a:ext uri="{FF2B5EF4-FFF2-40B4-BE49-F238E27FC236}">
                  <a16:creationId xmlns:a16="http://schemas.microsoft.com/office/drawing/2014/main" id="{C7B89478-E809-4C0A-872A-427BCE660A13}"/>
                </a:ext>
              </a:extLst>
            </p:cNvPr>
            <p:cNvGrpSpPr>
              <a:grpSpLocks/>
            </p:cNvGrpSpPr>
            <p:nvPr/>
          </p:nvGrpSpPr>
          <p:grpSpPr bwMode="auto">
            <a:xfrm rot="562302">
              <a:off x="5571526" y="4863978"/>
              <a:ext cx="1216155" cy="572183"/>
              <a:chOff x="3557" y="2640"/>
              <a:chExt cx="940" cy="470"/>
            </a:xfrm>
          </p:grpSpPr>
          <p:sp>
            <p:nvSpPr>
              <p:cNvPr id="405" name="Freeform 23">
                <a:extLst>
                  <a:ext uri="{FF2B5EF4-FFF2-40B4-BE49-F238E27FC236}">
                    <a16:creationId xmlns:a16="http://schemas.microsoft.com/office/drawing/2014/main" id="{C20BE87D-6DB6-4F5F-9B01-4E1815318E49}"/>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06" name="Oval 25">
                <a:extLst>
                  <a:ext uri="{FF2B5EF4-FFF2-40B4-BE49-F238E27FC236}">
                    <a16:creationId xmlns:a16="http://schemas.microsoft.com/office/drawing/2014/main" id="{0F57BC5F-0A80-45E8-B64A-8A8C1A5C9807}"/>
                  </a:ext>
                </a:extLst>
              </p:cNvPr>
              <p:cNvSpPr>
                <a:spLocks noChangeArrowheads="1"/>
              </p:cNvSpPr>
              <p:nvPr/>
            </p:nvSpPr>
            <p:spPr bwMode="auto">
              <a:xfrm>
                <a:off x="3942" y="2856"/>
                <a:ext cx="155" cy="72"/>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07" name="Oval 26">
                <a:extLst>
                  <a:ext uri="{FF2B5EF4-FFF2-40B4-BE49-F238E27FC236}">
                    <a16:creationId xmlns:a16="http://schemas.microsoft.com/office/drawing/2014/main" id="{412773D8-D42A-4574-A2F5-82B884835972}"/>
                  </a:ext>
                </a:extLst>
              </p:cNvPr>
              <p:cNvSpPr>
                <a:spLocks noChangeArrowheads="1"/>
              </p:cNvSpPr>
              <p:nvPr/>
            </p:nvSpPr>
            <p:spPr bwMode="auto">
              <a:xfrm>
                <a:off x="3925" y="2837"/>
                <a:ext cx="155" cy="72"/>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08" name="Freeform 27">
                <a:extLst>
                  <a:ext uri="{FF2B5EF4-FFF2-40B4-BE49-F238E27FC236}">
                    <a16:creationId xmlns:a16="http://schemas.microsoft.com/office/drawing/2014/main" id="{E028484B-F5D7-4631-A7E1-E5E6B3BAE048}"/>
                  </a:ext>
                </a:extLst>
              </p:cNvPr>
              <p:cNvSpPr>
                <a:spLocks/>
              </p:cNvSpPr>
              <p:nvPr/>
            </p:nvSpPr>
            <p:spPr bwMode="auto">
              <a:xfrm>
                <a:off x="3952" y="2840"/>
                <a:ext cx="128" cy="69"/>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09" name="Freeform 28">
                <a:extLst>
                  <a:ext uri="{FF2B5EF4-FFF2-40B4-BE49-F238E27FC236}">
                    <a16:creationId xmlns:a16="http://schemas.microsoft.com/office/drawing/2014/main" id="{D81A0F5D-E256-43A2-9853-182436A34E29}"/>
                  </a:ext>
                </a:extLst>
              </p:cNvPr>
              <p:cNvSpPr>
                <a:spLocks/>
              </p:cNvSpPr>
              <p:nvPr/>
            </p:nvSpPr>
            <p:spPr bwMode="auto">
              <a:xfrm>
                <a:off x="3940" y="2843"/>
                <a:ext cx="115" cy="5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10" name="Freeform 30">
                <a:extLst>
                  <a:ext uri="{FF2B5EF4-FFF2-40B4-BE49-F238E27FC236}">
                    <a16:creationId xmlns:a16="http://schemas.microsoft.com/office/drawing/2014/main" id="{3C31E1BF-9343-46DC-AC41-F1A77A252170}"/>
                  </a:ext>
                </a:extLst>
              </p:cNvPr>
              <p:cNvSpPr>
                <a:spLocks/>
              </p:cNvSpPr>
              <p:nvPr/>
            </p:nvSpPr>
            <p:spPr bwMode="auto">
              <a:xfrm>
                <a:off x="3672" y="2659"/>
                <a:ext cx="523" cy="160"/>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11" name="Freeform 32">
                <a:extLst>
                  <a:ext uri="{FF2B5EF4-FFF2-40B4-BE49-F238E27FC236}">
                    <a16:creationId xmlns:a16="http://schemas.microsoft.com/office/drawing/2014/main" id="{1531D6DD-DF13-4510-8334-CA9109C72510}"/>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12" name="Oval 33">
                <a:extLst>
                  <a:ext uri="{FF2B5EF4-FFF2-40B4-BE49-F238E27FC236}">
                    <a16:creationId xmlns:a16="http://schemas.microsoft.com/office/drawing/2014/main" id="{9FC301E4-30F0-403E-A254-747CB79F60AD}"/>
                  </a:ext>
                </a:extLst>
              </p:cNvPr>
              <p:cNvSpPr>
                <a:spLocks noChangeArrowheads="1"/>
              </p:cNvSpPr>
              <p:nvPr/>
            </p:nvSpPr>
            <p:spPr bwMode="auto">
              <a:xfrm>
                <a:off x="3925" y="2837"/>
                <a:ext cx="155" cy="72"/>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413" name="Group 34">
              <a:extLst>
                <a:ext uri="{FF2B5EF4-FFF2-40B4-BE49-F238E27FC236}">
                  <a16:creationId xmlns:a16="http://schemas.microsoft.com/office/drawing/2014/main" id="{8F75473C-28C1-40D7-B06D-97AA2B5CF83E}"/>
                </a:ext>
              </a:extLst>
            </p:cNvPr>
            <p:cNvGrpSpPr>
              <a:grpSpLocks/>
            </p:cNvGrpSpPr>
            <p:nvPr/>
          </p:nvGrpSpPr>
          <p:grpSpPr bwMode="auto">
            <a:xfrm rot="317393">
              <a:off x="6843120" y="5038999"/>
              <a:ext cx="1216155" cy="572183"/>
              <a:chOff x="3557" y="2640"/>
              <a:chExt cx="940" cy="470"/>
            </a:xfrm>
          </p:grpSpPr>
          <p:sp>
            <p:nvSpPr>
              <p:cNvPr id="414" name="Freeform 23">
                <a:extLst>
                  <a:ext uri="{FF2B5EF4-FFF2-40B4-BE49-F238E27FC236}">
                    <a16:creationId xmlns:a16="http://schemas.microsoft.com/office/drawing/2014/main" id="{63522497-2582-4351-982C-7652B213E1D0}"/>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15" name="Oval 25">
                <a:extLst>
                  <a:ext uri="{FF2B5EF4-FFF2-40B4-BE49-F238E27FC236}">
                    <a16:creationId xmlns:a16="http://schemas.microsoft.com/office/drawing/2014/main" id="{3F1C8FBF-0345-4E23-8D6B-AC8DFCC86B29}"/>
                  </a:ext>
                </a:extLst>
              </p:cNvPr>
              <p:cNvSpPr>
                <a:spLocks noChangeArrowheads="1"/>
              </p:cNvSpPr>
              <p:nvPr/>
            </p:nvSpPr>
            <p:spPr bwMode="auto">
              <a:xfrm>
                <a:off x="3942" y="2856"/>
                <a:ext cx="155" cy="72"/>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16" name="Oval 26">
                <a:extLst>
                  <a:ext uri="{FF2B5EF4-FFF2-40B4-BE49-F238E27FC236}">
                    <a16:creationId xmlns:a16="http://schemas.microsoft.com/office/drawing/2014/main" id="{8DB04F82-4723-4A81-A67D-D1D7ECDEC907}"/>
                  </a:ext>
                </a:extLst>
              </p:cNvPr>
              <p:cNvSpPr>
                <a:spLocks noChangeArrowheads="1"/>
              </p:cNvSpPr>
              <p:nvPr/>
            </p:nvSpPr>
            <p:spPr bwMode="auto">
              <a:xfrm>
                <a:off x="3925" y="2837"/>
                <a:ext cx="155" cy="72"/>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17" name="Freeform 27">
                <a:extLst>
                  <a:ext uri="{FF2B5EF4-FFF2-40B4-BE49-F238E27FC236}">
                    <a16:creationId xmlns:a16="http://schemas.microsoft.com/office/drawing/2014/main" id="{B418F54A-6007-4C4E-90BE-77D38E996F5C}"/>
                  </a:ext>
                </a:extLst>
              </p:cNvPr>
              <p:cNvSpPr>
                <a:spLocks/>
              </p:cNvSpPr>
              <p:nvPr/>
            </p:nvSpPr>
            <p:spPr bwMode="auto">
              <a:xfrm>
                <a:off x="3952" y="2840"/>
                <a:ext cx="128" cy="69"/>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18" name="Freeform 28">
                <a:extLst>
                  <a:ext uri="{FF2B5EF4-FFF2-40B4-BE49-F238E27FC236}">
                    <a16:creationId xmlns:a16="http://schemas.microsoft.com/office/drawing/2014/main" id="{DDAB1EDF-AC5C-449A-A974-B35885944F1F}"/>
                  </a:ext>
                </a:extLst>
              </p:cNvPr>
              <p:cNvSpPr>
                <a:spLocks/>
              </p:cNvSpPr>
              <p:nvPr/>
            </p:nvSpPr>
            <p:spPr bwMode="auto">
              <a:xfrm>
                <a:off x="3940" y="2843"/>
                <a:ext cx="115" cy="5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19" name="Freeform 30">
                <a:extLst>
                  <a:ext uri="{FF2B5EF4-FFF2-40B4-BE49-F238E27FC236}">
                    <a16:creationId xmlns:a16="http://schemas.microsoft.com/office/drawing/2014/main" id="{ECFC8BB6-8E2A-4FC3-A498-67394431161B}"/>
                  </a:ext>
                </a:extLst>
              </p:cNvPr>
              <p:cNvSpPr>
                <a:spLocks/>
              </p:cNvSpPr>
              <p:nvPr/>
            </p:nvSpPr>
            <p:spPr bwMode="auto">
              <a:xfrm>
                <a:off x="3672" y="2659"/>
                <a:ext cx="523" cy="160"/>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20" name="Freeform 32">
                <a:extLst>
                  <a:ext uri="{FF2B5EF4-FFF2-40B4-BE49-F238E27FC236}">
                    <a16:creationId xmlns:a16="http://schemas.microsoft.com/office/drawing/2014/main" id="{AB4D5F06-8183-4A13-8ADB-E9EF10282681}"/>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21" name="Oval 33">
                <a:extLst>
                  <a:ext uri="{FF2B5EF4-FFF2-40B4-BE49-F238E27FC236}">
                    <a16:creationId xmlns:a16="http://schemas.microsoft.com/office/drawing/2014/main" id="{000436D9-5F53-4410-91D4-5EC5BA987092}"/>
                  </a:ext>
                </a:extLst>
              </p:cNvPr>
              <p:cNvSpPr>
                <a:spLocks noChangeArrowheads="1"/>
              </p:cNvSpPr>
              <p:nvPr/>
            </p:nvSpPr>
            <p:spPr bwMode="auto">
              <a:xfrm>
                <a:off x="3925" y="2837"/>
                <a:ext cx="155" cy="72"/>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422" name="Group 421">
              <a:extLst>
                <a:ext uri="{FF2B5EF4-FFF2-40B4-BE49-F238E27FC236}">
                  <a16:creationId xmlns:a16="http://schemas.microsoft.com/office/drawing/2014/main" id="{E523A79F-380F-4652-9A9C-81159B3F9B56}"/>
                </a:ext>
              </a:extLst>
            </p:cNvPr>
            <p:cNvGrpSpPr/>
            <p:nvPr/>
          </p:nvGrpSpPr>
          <p:grpSpPr>
            <a:xfrm>
              <a:off x="8093337" y="5166972"/>
              <a:ext cx="1216176" cy="492910"/>
              <a:chOff x="8093337" y="5597231"/>
              <a:chExt cx="1216176" cy="492910"/>
            </a:xfrm>
          </p:grpSpPr>
          <p:sp>
            <p:nvSpPr>
              <p:cNvPr id="423" name="Freeform: Shape 422">
                <a:extLst>
                  <a:ext uri="{FF2B5EF4-FFF2-40B4-BE49-F238E27FC236}">
                    <a16:creationId xmlns:a16="http://schemas.microsoft.com/office/drawing/2014/main" id="{431ED58E-85C7-4E3F-B2EF-6D09368238E2}"/>
                  </a:ext>
                </a:extLst>
              </p:cNvPr>
              <p:cNvSpPr>
                <a:spLocks/>
              </p:cNvSpPr>
              <p:nvPr/>
            </p:nvSpPr>
            <p:spPr bwMode="auto">
              <a:xfrm rot="224093">
                <a:off x="8093358" y="5597232"/>
                <a:ext cx="1216155" cy="492273"/>
              </a:xfrm>
              <a:custGeom>
                <a:avLst/>
                <a:gdLst>
                  <a:gd name="connsiteX0" fmla="*/ 608077 w 1216155"/>
                  <a:gd name="connsiteY0" fmla="*/ 0 h 492273"/>
                  <a:gd name="connsiteX1" fmla="*/ 905647 w 1216155"/>
                  <a:gd name="connsiteY1" fmla="*/ 113786 h 492273"/>
                  <a:gd name="connsiteX2" fmla="*/ 1216155 w 1216155"/>
                  <a:gd name="connsiteY2" fmla="*/ 286091 h 492273"/>
                  <a:gd name="connsiteX3" fmla="*/ 931523 w 1216155"/>
                  <a:gd name="connsiteY3" fmla="*/ 445393 h 492273"/>
                  <a:gd name="connsiteX4" fmla="*/ 902554 w 1216155"/>
                  <a:gd name="connsiteY4" fmla="*/ 458062 h 492273"/>
                  <a:gd name="connsiteX5" fmla="*/ 378471 w 1216155"/>
                  <a:gd name="connsiteY5" fmla="*/ 492273 h 492273"/>
                  <a:gd name="connsiteX6" fmla="*/ 300804 w 1216155"/>
                  <a:gd name="connsiteY6" fmla="*/ 458397 h 492273"/>
                  <a:gd name="connsiteX7" fmla="*/ 0 w 1216155"/>
                  <a:gd name="connsiteY7" fmla="*/ 292593 h 492273"/>
                  <a:gd name="connsiteX8" fmla="*/ 236115 w 1216155"/>
                  <a:gd name="connsiteY8" fmla="*/ 149548 h 492273"/>
                  <a:gd name="connsiteX9" fmla="*/ 608077 w 1216155"/>
                  <a:gd name="connsiteY9" fmla="*/ 0 h 4922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6155" h="492273">
                    <a:moveTo>
                      <a:pt x="608077" y="0"/>
                    </a:moveTo>
                    <a:cubicBezTo>
                      <a:pt x="682470" y="0"/>
                      <a:pt x="818318" y="71523"/>
                      <a:pt x="905647" y="113786"/>
                    </a:cubicBezTo>
                    <a:cubicBezTo>
                      <a:pt x="992978" y="156050"/>
                      <a:pt x="1216155" y="250330"/>
                      <a:pt x="1216155" y="286091"/>
                    </a:cubicBezTo>
                    <a:cubicBezTo>
                      <a:pt x="1216155" y="325104"/>
                      <a:pt x="1025322" y="403129"/>
                      <a:pt x="931523" y="445393"/>
                    </a:cubicBezTo>
                    <a:lnTo>
                      <a:pt x="902554" y="458062"/>
                    </a:lnTo>
                    <a:lnTo>
                      <a:pt x="378471" y="492273"/>
                    </a:lnTo>
                    <a:lnTo>
                      <a:pt x="300804" y="458397"/>
                    </a:lnTo>
                    <a:cubicBezTo>
                      <a:pt x="126144" y="380372"/>
                      <a:pt x="0" y="328355"/>
                      <a:pt x="0" y="292593"/>
                    </a:cubicBezTo>
                    <a:cubicBezTo>
                      <a:pt x="0" y="253581"/>
                      <a:pt x="129378" y="195063"/>
                      <a:pt x="236115" y="149548"/>
                    </a:cubicBezTo>
                    <a:cubicBezTo>
                      <a:pt x="359024" y="94280"/>
                      <a:pt x="549857" y="0"/>
                      <a:pt x="608077"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24" name="Oval 25">
                <a:extLst>
                  <a:ext uri="{FF2B5EF4-FFF2-40B4-BE49-F238E27FC236}">
                    <a16:creationId xmlns:a16="http://schemas.microsoft.com/office/drawing/2014/main" id="{2DC6E357-AB00-4DC4-8C6E-202CE4C6EC2A}"/>
                  </a:ext>
                </a:extLst>
              </p:cNvPr>
              <p:cNvSpPr>
                <a:spLocks noChangeArrowheads="1"/>
              </p:cNvSpPr>
              <p:nvPr/>
            </p:nvSpPr>
            <p:spPr bwMode="auto">
              <a:xfrm rot="224093">
                <a:off x="8587534" y="5859432"/>
                <a:ext cx="200536" cy="87654"/>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25" name="Oval 26">
                <a:extLst>
                  <a:ext uri="{FF2B5EF4-FFF2-40B4-BE49-F238E27FC236}">
                    <a16:creationId xmlns:a16="http://schemas.microsoft.com/office/drawing/2014/main" id="{61A30E24-BC1A-4CA9-B8DF-423D552096B4}"/>
                  </a:ext>
                </a:extLst>
              </p:cNvPr>
              <p:cNvSpPr>
                <a:spLocks noChangeArrowheads="1"/>
              </p:cNvSpPr>
              <p:nvPr/>
            </p:nvSpPr>
            <p:spPr bwMode="auto">
              <a:xfrm rot="224093">
                <a:off x="8567093" y="5834917"/>
                <a:ext cx="200536" cy="87654"/>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26" name="Freeform 27">
                <a:extLst>
                  <a:ext uri="{FF2B5EF4-FFF2-40B4-BE49-F238E27FC236}">
                    <a16:creationId xmlns:a16="http://schemas.microsoft.com/office/drawing/2014/main" id="{72CA7808-B035-4F3E-8CB2-148419A733AF}"/>
                  </a:ext>
                </a:extLst>
              </p:cNvPr>
              <p:cNvSpPr>
                <a:spLocks/>
              </p:cNvSpPr>
              <p:nvPr/>
            </p:nvSpPr>
            <p:spPr bwMode="auto">
              <a:xfrm rot="224093">
                <a:off x="8601869" y="5839703"/>
                <a:ext cx="165604" cy="84001"/>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27" name="Freeform 28">
                <a:extLst>
                  <a:ext uri="{FF2B5EF4-FFF2-40B4-BE49-F238E27FC236}">
                    <a16:creationId xmlns:a16="http://schemas.microsoft.com/office/drawing/2014/main" id="{401754F7-5BDB-4B47-B1F5-EDCAED7FBC11}"/>
                  </a:ext>
                </a:extLst>
              </p:cNvPr>
              <p:cNvSpPr>
                <a:spLocks/>
              </p:cNvSpPr>
              <p:nvPr/>
            </p:nvSpPr>
            <p:spPr bwMode="auto">
              <a:xfrm rot="224093">
                <a:off x="8586791" y="5841809"/>
                <a:ext cx="148785" cy="6452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28" name="Freeform 30">
                <a:extLst>
                  <a:ext uri="{FF2B5EF4-FFF2-40B4-BE49-F238E27FC236}">
                    <a16:creationId xmlns:a16="http://schemas.microsoft.com/office/drawing/2014/main" id="{9A872C42-EE1C-48F8-BA7C-ACFBD15717F0}"/>
                  </a:ext>
                </a:extLst>
              </p:cNvPr>
              <p:cNvSpPr>
                <a:spLocks/>
              </p:cNvSpPr>
              <p:nvPr/>
            </p:nvSpPr>
            <p:spPr bwMode="auto">
              <a:xfrm rot="224093">
                <a:off x="8250582" y="5612750"/>
                <a:ext cx="676648" cy="194786"/>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29" name="Freeform: Shape 428">
                <a:extLst>
                  <a:ext uri="{FF2B5EF4-FFF2-40B4-BE49-F238E27FC236}">
                    <a16:creationId xmlns:a16="http://schemas.microsoft.com/office/drawing/2014/main" id="{8D94EFD7-B74C-4ECB-899F-CBA67EBDE1F3}"/>
                  </a:ext>
                </a:extLst>
              </p:cNvPr>
              <p:cNvSpPr>
                <a:spLocks/>
              </p:cNvSpPr>
              <p:nvPr/>
            </p:nvSpPr>
            <p:spPr bwMode="auto">
              <a:xfrm rot="224093">
                <a:off x="8093337" y="5597231"/>
                <a:ext cx="1216155" cy="492910"/>
              </a:xfrm>
              <a:custGeom>
                <a:avLst/>
                <a:gdLst>
                  <a:gd name="connsiteX0" fmla="*/ 608077 w 1216155"/>
                  <a:gd name="connsiteY0" fmla="*/ 0 h 492910"/>
                  <a:gd name="connsiteX1" fmla="*/ 905647 w 1216155"/>
                  <a:gd name="connsiteY1" fmla="*/ 113786 h 492910"/>
                  <a:gd name="connsiteX2" fmla="*/ 1216155 w 1216155"/>
                  <a:gd name="connsiteY2" fmla="*/ 286091 h 492910"/>
                  <a:gd name="connsiteX3" fmla="*/ 931523 w 1216155"/>
                  <a:gd name="connsiteY3" fmla="*/ 445393 h 492910"/>
                  <a:gd name="connsiteX4" fmla="*/ 900587 w 1216155"/>
                  <a:gd name="connsiteY4" fmla="*/ 458922 h 492910"/>
                  <a:gd name="connsiteX5" fmla="*/ 379931 w 1216155"/>
                  <a:gd name="connsiteY5" fmla="*/ 492910 h 492910"/>
                  <a:gd name="connsiteX6" fmla="*/ 300804 w 1216155"/>
                  <a:gd name="connsiteY6" fmla="*/ 458397 h 492910"/>
                  <a:gd name="connsiteX7" fmla="*/ 0 w 1216155"/>
                  <a:gd name="connsiteY7" fmla="*/ 292593 h 492910"/>
                  <a:gd name="connsiteX8" fmla="*/ 236115 w 1216155"/>
                  <a:gd name="connsiteY8" fmla="*/ 149548 h 492910"/>
                  <a:gd name="connsiteX9" fmla="*/ 608077 w 1216155"/>
                  <a:gd name="connsiteY9" fmla="*/ 0 h 4929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6155" h="492910">
                    <a:moveTo>
                      <a:pt x="608077" y="0"/>
                    </a:moveTo>
                    <a:cubicBezTo>
                      <a:pt x="682470" y="0"/>
                      <a:pt x="818318" y="71523"/>
                      <a:pt x="905647" y="113786"/>
                    </a:cubicBezTo>
                    <a:cubicBezTo>
                      <a:pt x="992978" y="156050"/>
                      <a:pt x="1216155" y="250330"/>
                      <a:pt x="1216155" y="286091"/>
                    </a:cubicBezTo>
                    <a:cubicBezTo>
                      <a:pt x="1216155" y="325104"/>
                      <a:pt x="1025322" y="403129"/>
                      <a:pt x="931523" y="445393"/>
                    </a:cubicBezTo>
                    <a:lnTo>
                      <a:pt x="900587" y="458922"/>
                    </a:lnTo>
                    <a:lnTo>
                      <a:pt x="379931" y="492910"/>
                    </a:lnTo>
                    <a:lnTo>
                      <a:pt x="300804" y="458397"/>
                    </a:lnTo>
                    <a:cubicBezTo>
                      <a:pt x="126144" y="380372"/>
                      <a:pt x="0" y="328355"/>
                      <a:pt x="0" y="292593"/>
                    </a:cubicBezTo>
                    <a:cubicBezTo>
                      <a:pt x="0" y="253581"/>
                      <a:pt x="129378" y="195063"/>
                      <a:pt x="236115" y="149548"/>
                    </a:cubicBezTo>
                    <a:cubicBezTo>
                      <a:pt x="359024" y="94280"/>
                      <a:pt x="549857" y="0"/>
                      <a:pt x="608077"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30" name="Oval 33">
                <a:extLst>
                  <a:ext uri="{FF2B5EF4-FFF2-40B4-BE49-F238E27FC236}">
                    <a16:creationId xmlns:a16="http://schemas.microsoft.com/office/drawing/2014/main" id="{69C63969-9E70-4E3A-8F8C-7C693253EFF6}"/>
                  </a:ext>
                </a:extLst>
              </p:cNvPr>
              <p:cNvSpPr>
                <a:spLocks noChangeArrowheads="1"/>
              </p:cNvSpPr>
              <p:nvPr/>
            </p:nvSpPr>
            <p:spPr bwMode="auto">
              <a:xfrm rot="224093">
                <a:off x="8567093" y="5834917"/>
                <a:ext cx="200536" cy="87654"/>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431" name="Group 430">
              <a:extLst>
                <a:ext uri="{FF2B5EF4-FFF2-40B4-BE49-F238E27FC236}">
                  <a16:creationId xmlns:a16="http://schemas.microsoft.com/office/drawing/2014/main" id="{78B67C68-189C-4486-9EEB-8732948BCE32}"/>
                </a:ext>
              </a:extLst>
            </p:cNvPr>
            <p:cNvGrpSpPr/>
            <p:nvPr/>
          </p:nvGrpSpPr>
          <p:grpSpPr>
            <a:xfrm>
              <a:off x="9344494" y="5256301"/>
              <a:ext cx="1216164" cy="415928"/>
              <a:chOff x="9344494" y="5686560"/>
              <a:chExt cx="1216164" cy="415928"/>
            </a:xfrm>
          </p:grpSpPr>
          <p:sp>
            <p:nvSpPr>
              <p:cNvPr id="432" name="Freeform: Shape 431">
                <a:extLst>
                  <a:ext uri="{FF2B5EF4-FFF2-40B4-BE49-F238E27FC236}">
                    <a16:creationId xmlns:a16="http://schemas.microsoft.com/office/drawing/2014/main" id="{64456839-386E-4CFA-BA5A-E6D3A5DBA1A5}"/>
                  </a:ext>
                </a:extLst>
              </p:cNvPr>
              <p:cNvSpPr>
                <a:spLocks/>
              </p:cNvSpPr>
              <p:nvPr/>
            </p:nvSpPr>
            <p:spPr bwMode="auto">
              <a:xfrm rot="261105">
                <a:off x="9344503" y="5686561"/>
                <a:ext cx="1216155" cy="415699"/>
              </a:xfrm>
              <a:custGeom>
                <a:avLst/>
                <a:gdLst>
                  <a:gd name="connsiteX0" fmla="*/ 608078 w 1216155"/>
                  <a:gd name="connsiteY0" fmla="*/ 0 h 415699"/>
                  <a:gd name="connsiteX1" fmla="*/ 905647 w 1216155"/>
                  <a:gd name="connsiteY1" fmla="*/ 113786 h 415699"/>
                  <a:gd name="connsiteX2" fmla="*/ 1216155 w 1216155"/>
                  <a:gd name="connsiteY2" fmla="*/ 286091 h 415699"/>
                  <a:gd name="connsiteX3" fmla="*/ 1184872 w 1216155"/>
                  <a:gd name="connsiteY3" fmla="*/ 321497 h 415699"/>
                  <a:gd name="connsiteX4" fmla="*/ 1144888 w 1216155"/>
                  <a:gd name="connsiteY4" fmla="*/ 344176 h 415699"/>
                  <a:gd name="connsiteX5" fmla="*/ 205014 w 1216155"/>
                  <a:gd name="connsiteY5" fmla="*/ 415699 h 415699"/>
                  <a:gd name="connsiteX6" fmla="*/ 180119 w 1216155"/>
                  <a:gd name="connsiteY6" fmla="*/ 404602 h 415699"/>
                  <a:gd name="connsiteX7" fmla="*/ 0 w 1216155"/>
                  <a:gd name="connsiteY7" fmla="*/ 292594 h 415699"/>
                  <a:gd name="connsiteX8" fmla="*/ 236115 w 1216155"/>
                  <a:gd name="connsiteY8" fmla="*/ 149548 h 415699"/>
                  <a:gd name="connsiteX9" fmla="*/ 608078 w 1216155"/>
                  <a:gd name="connsiteY9" fmla="*/ 0 h 415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6155" h="415699">
                    <a:moveTo>
                      <a:pt x="608078" y="0"/>
                    </a:moveTo>
                    <a:cubicBezTo>
                      <a:pt x="682470" y="0"/>
                      <a:pt x="818317" y="71523"/>
                      <a:pt x="905647" y="113786"/>
                    </a:cubicBezTo>
                    <a:cubicBezTo>
                      <a:pt x="992977" y="156050"/>
                      <a:pt x="1216155" y="250330"/>
                      <a:pt x="1216155" y="286091"/>
                    </a:cubicBezTo>
                    <a:cubicBezTo>
                      <a:pt x="1216155" y="295845"/>
                      <a:pt x="1204228" y="308036"/>
                      <a:pt x="1184872" y="321497"/>
                    </a:cubicBezTo>
                    <a:lnTo>
                      <a:pt x="1144888" y="344176"/>
                    </a:lnTo>
                    <a:lnTo>
                      <a:pt x="205014" y="415699"/>
                    </a:lnTo>
                    <a:lnTo>
                      <a:pt x="180119" y="404602"/>
                    </a:lnTo>
                    <a:cubicBezTo>
                      <a:pt x="70956" y="355379"/>
                      <a:pt x="0" y="319415"/>
                      <a:pt x="0" y="292594"/>
                    </a:cubicBezTo>
                    <a:cubicBezTo>
                      <a:pt x="0" y="253581"/>
                      <a:pt x="129379" y="195062"/>
                      <a:pt x="236115" y="149548"/>
                    </a:cubicBezTo>
                    <a:cubicBezTo>
                      <a:pt x="359024" y="94280"/>
                      <a:pt x="549858" y="0"/>
                      <a:pt x="60807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33" name="Oval 25">
                <a:extLst>
                  <a:ext uri="{FF2B5EF4-FFF2-40B4-BE49-F238E27FC236}">
                    <a16:creationId xmlns:a16="http://schemas.microsoft.com/office/drawing/2014/main" id="{6A0CAC1B-3669-47B6-86BD-CA61A1F5907A}"/>
                  </a:ext>
                </a:extLst>
              </p:cNvPr>
              <p:cNvSpPr>
                <a:spLocks noChangeArrowheads="1"/>
              </p:cNvSpPr>
              <p:nvPr/>
            </p:nvSpPr>
            <p:spPr bwMode="auto">
              <a:xfrm rot="261105">
                <a:off x="9835130" y="5948500"/>
                <a:ext cx="200536" cy="87654"/>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34" name="Oval 26">
                <a:extLst>
                  <a:ext uri="{FF2B5EF4-FFF2-40B4-BE49-F238E27FC236}">
                    <a16:creationId xmlns:a16="http://schemas.microsoft.com/office/drawing/2014/main" id="{78F69E48-E459-493F-BE1D-94550325B415}"/>
                  </a:ext>
                </a:extLst>
              </p:cNvPr>
              <p:cNvSpPr>
                <a:spLocks noChangeArrowheads="1"/>
              </p:cNvSpPr>
              <p:nvPr/>
            </p:nvSpPr>
            <p:spPr bwMode="auto">
              <a:xfrm rot="261105">
                <a:off x="9814954" y="5923767"/>
                <a:ext cx="200536" cy="87654"/>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35" name="Freeform 27">
                <a:extLst>
                  <a:ext uri="{FF2B5EF4-FFF2-40B4-BE49-F238E27FC236}">
                    <a16:creationId xmlns:a16="http://schemas.microsoft.com/office/drawing/2014/main" id="{BF61EFB3-A480-433F-915C-5B1D3F7BE88B}"/>
                  </a:ext>
                </a:extLst>
              </p:cNvPr>
              <p:cNvSpPr>
                <a:spLocks/>
              </p:cNvSpPr>
              <p:nvPr/>
            </p:nvSpPr>
            <p:spPr bwMode="auto">
              <a:xfrm rot="261105">
                <a:off x="9849697" y="5928739"/>
                <a:ext cx="165604" cy="84001"/>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36" name="Freeform 28">
                <a:extLst>
                  <a:ext uri="{FF2B5EF4-FFF2-40B4-BE49-F238E27FC236}">
                    <a16:creationId xmlns:a16="http://schemas.microsoft.com/office/drawing/2014/main" id="{7708D434-3CDD-4BC3-BB28-4C9CC57213DB}"/>
                  </a:ext>
                </a:extLst>
              </p:cNvPr>
              <p:cNvSpPr>
                <a:spLocks/>
              </p:cNvSpPr>
              <p:nvPr/>
            </p:nvSpPr>
            <p:spPr bwMode="auto">
              <a:xfrm rot="261105">
                <a:off x="9834703" y="5930593"/>
                <a:ext cx="148785" cy="6452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37" name="Freeform 30">
                <a:extLst>
                  <a:ext uri="{FF2B5EF4-FFF2-40B4-BE49-F238E27FC236}">
                    <a16:creationId xmlns:a16="http://schemas.microsoft.com/office/drawing/2014/main" id="{27730DB4-60B9-4623-B3EC-F0BB5A0DABBD}"/>
                  </a:ext>
                </a:extLst>
              </p:cNvPr>
              <p:cNvSpPr>
                <a:spLocks/>
              </p:cNvSpPr>
              <p:nvPr/>
            </p:nvSpPr>
            <p:spPr bwMode="auto">
              <a:xfrm rot="261105">
                <a:off x="9500263" y="5700764"/>
                <a:ext cx="676648" cy="194786"/>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38" name="Freeform: Shape 437">
                <a:extLst>
                  <a:ext uri="{FF2B5EF4-FFF2-40B4-BE49-F238E27FC236}">
                    <a16:creationId xmlns:a16="http://schemas.microsoft.com/office/drawing/2014/main" id="{7A521A61-2F20-4803-94D6-0B6F1BF19609}"/>
                  </a:ext>
                </a:extLst>
              </p:cNvPr>
              <p:cNvSpPr>
                <a:spLocks/>
              </p:cNvSpPr>
              <p:nvPr/>
            </p:nvSpPr>
            <p:spPr bwMode="auto">
              <a:xfrm rot="261105">
                <a:off x="9344494" y="5686560"/>
                <a:ext cx="1216155" cy="415928"/>
              </a:xfrm>
              <a:custGeom>
                <a:avLst/>
                <a:gdLst>
                  <a:gd name="connsiteX0" fmla="*/ 608078 w 1216155"/>
                  <a:gd name="connsiteY0" fmla="*/ 0 h 415928"/>
                  <a:gd name="connsiteX1" fmla="*/ 905647 w 1216155"/>
                  <a:gd name="connsiteY1" fmla="*/ 113786 h 415928"/>
                  <a:gd name="connsiteX2" fmla="*/ 1216155 w 1216155"/>
                  <a:gd name="connsiteY2" fmla="*/ 286091 h 415928"/>
                  <a:gd name="connsiteX3" fmla="*/ 1184872 w 1216155"/>
                  <a:gd name="connsiteY3" fmla="*/ 321497 h 415928"/>
                  <a:gd name="connsiteX4" fmla="*/ 1144343 w 1216155"/>
                  <a:gd name="connsiteY4" fmla="*/ 344485 h 415928"/>
                  <a:gd name="connsiteX5" fmla="*/ 205527 w 1216155"/>
                  <a:gd name="connsiteY5" fmla="*/ 415928 h 415928"/>
                  <a:gd name="connsiteX6" fmla="*/ 180119 w 1216155"/>
                  <a:gd name="connsiteY6" fmla="*/ 404602 h 415928"/>
                  <a:gd name="connsiteX7" fmla="*/ 0 w 1216155"/>
                  <a:gd name="connsiteY7" fmla="*/ 292594 h 415928"/>
                  <a:gd name="connsiteX8" fmla="*/ 236115 w 1216155"/>
                  <a:gd name="connsiteY8" fmla="*/ 149548 h 415928"/>
                  <a:gd name="connsiteX9" fmla="*/ 608078 w 1216155"/>
                  <a:gd name="connsiteY9" fmla="*/ 0 h 4159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6155" h="415928">
                    <a:moveTo>
                      <a:pt x="608078" y="0"/>
                    </a:moveTo>
                    <a:cubicBezTo>
                      <a:pt x="682470" y="0"/>
                      <a:pt x="818317" y="71523"/>
                      <a:pt x="905647" y="113786"/>
                    </a:cubicBezTo>
                    <a:cubicBezTo>
                      <a:pt x="992977" y="156050"/>
                      <a:pt x="1216155" y="250330"/>
                      <a:pt x="1216155" y="286091"/>
                    </a:cubicBezTo>
                    <a:cubicBezTo>
                      <a:pt x="1216155" y="295845"/>
                      <a:pt x="1204228" y="308036"/>
                      <a:pt x="1184872" y="321497"/>
                    </a:cubicBezTo>
                    <a:lnTo>
                      <a:pt x="1144343" y="344485"/>
                    </a:lnTo>
                    <a:lnTo>
                      <a:pt x="205527" y="415928"/>
                    </a:lnTo>
                    <a:lnTo>
                      <a:pt x="180119" y="404602"/>
                    </a:lnTo>
                    <a:cubicBezTo>
                      <a:pt x="70956" y="355379"/>
                      <a:pt x="0" y="319415"/>
                      <a:pt x="0" y="292594"/>
                    </a:cubicBezTo>
                    <a:cubicBezTo>
                      <a:pt x="0" y="253581"/>
                      <a:pt x="129379" y="195062"/>
                      <a:pt x="236115" y="149548"/>
                    </a:cubicBezTo>
                    <a:cubicBezTo>
                      <a:pt x="359024" y="94280"/>
                      <a:pt x="549858" y="0"/>
                      <a:pt x="60807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39" name="Oval 33">
                <a:extLst>
                  <a:ext uri="{FF2B5EF4-FFF2-40B4-BE49-F238E27FC236}">
                    <a16:creationId xmlns:a16="http://schemas.microsoft.com/office/drawing/2014/main" id="{281075DD-1CE7-424E-9984-D2125E8C4979}"/>
                  </a:ext>
                </a:extLst>
              </p:cNvPr>
              <p:cNvSpPr>
                <a:spLocks noChangeArrowheads="1"/>
              </p:cNvSpPr>
              <p:nvPr/>
            </p:nvSpPr>
            <p:spPr bwMode="auto">
              <a:xfrm rot="261105">
                <a:off x="9814954" y="5923767"/>
                <a:ext cx="200536" cy="87654"/>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sp>
          <p:nvSpPr>
            <p:cNvPr id="440" name="Freeform: Shape 439">
              <a:extLst>
                <a:ext uri="{FF2B5EF4-FFF2-40B4-BE49-F238E27FC236}">
                  <a16:creationId xmlns:a16="http://schemas.microsoft.com/office/drawing/2014/main" id="{13366801-97EB-4AA3-B2D2-650065E07C94}"/>
                </a:ext>
              </a:extLst>
            </p:cNvPr>
            <p:cNvSpPr>
              <a:spLocks/>
            </p:cNvSpPr>
            <p:nvPr/>
          </p:nvSpPr>
          <p:spPr bwMode="auto">
            <a:xfrm rot="160649">
              <a:off x="10631032" y="5368703"/>
              <a:ext cx="1178189" cy="303777"/>
            </a:xfrm>
            <a:custGeom>
              <a:avLst/>
              <a:gdLst>
                <a:gd name="connsiteX0" fmla="*/ 608078 w 1178189"/>
                <a:gd name="connsiteY0" fmla="*/ 0 h 303777"/>
                <a:gd name="connsiteX1" fmla="*/ 905648 w 1178189"/>
                <a:gd name="connsiteY1" fmla="*/ 113786 h 303777"/>
                <a:gd name="connsiteX2" fmla="*/ 1093650 w 1178189"/>
                <a:gd name="connsiteY2" fmla="*/ 202377 h 303777"/>
                <a:gd name="connsiteX3" fmla="*/ 1178189 w 1178189"/>
                <a:gd name="connsiteY3" fmla="*/ 249069 h 303777"/>
                <a:gd name="connsiteX4" fmla="*/ 8358 w 1178189"/>
                <a:gd name="connsiteY4" fmla="*/ 303777 h 303777"/>
                <a:gd name="connsiteX5" fmla="*/ 0 w 1178189"/>
                <a:gd name="connsiteY5" fmla="*/ 292594 h 303777"/>
                <a:gd name="connsiteX6" fmla="*/ 236115 w 1178189"/>
                <a:gd name="connsiteY6" fmla="*/ 149548 h 303777"/>
                <a:gd name="connsiteX7" fmla="*/ 608078 w 1178189"/>
                <a:gd name="connsiteY7" fmla="*/ 0 h 3037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8189" h="303777">
                  <a:moveTo>
                    <a:pt x="608078" y="0"/>
                  </a:moveTo>
                  <a:cubicBezTo>
                    <a:pt x="682470" y="0"/>
                    <a:pt x="818317" y="71523"/>
                    <a:pt x="905648" y="113786"/>
                  </a:cubicBezTo>
                  <a:cubicBezTo>
                    <a:pt x="949313" y="134918"/>
                    <a:pt x="1026940" y="169054"/>
                    <a:pt x="1093650" y="202377"/>
                  </a:cubicBezTo>
                  <a:lnTo>
                    <a:pt x="1178189" y="249069"/>
                  </a:lnTo>
                  <a:lnTo>
                    <a:pt x="8358" y="303777"/>
                  </a:lnTo>
                  <a:lnTo>
                    <a:pt x="0" y="292594"/>
                  </a:lnTo>
                  <a:cubicBezTo>
                    <a:pt x="0" y="253581"/>
                    <a:pt x="129378" y="195063"/>
                    <a:pt x="236115" y="149548"/>
                  </a:cubicBezTo>
                  <a:cubicBezTo>
                    <a:pt x="359025" y="94280"/>
                    <a:pt x="549857" y="0"/>
                    <a:pt x="60807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41" name="Freeform 30">
              <a:extLst>
                <a:ext uri="{FF2B5EF4-FFF2-40B4-BE49-F238E27FC236}">
                  <a16:creationId xmlns:a16="http://schemas.microsoft.com/office/drawing/2014/main" id="{59843C12-009D-4E40-B8BF-30FC46061297}"/>
                </a:ext>
              </a:extLst>
            </p:cNvPr>
            <p:cNvSpPr>
              <a:spLocks/>
            </p:cNvSpPr>
            <p:nvPr/>
          </p:nvSpPr>
          <p:spPr bwMode="auto">
            <a:xfrm rot="160649">
              <a:off x="10781393" y="5387104"/>
              <a:ext cx="676648" cy="194786"/>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42" name="Freeform: Shape 441">
              <a:extLst>
                <a:ext uri="{FF2B5EF4-FFF2-40B4-BE49-F238E27FC236}">
                  <a16:creationId xmlns:a16="http://schemas.microsoft.com/office/drawing/2014/main" id="{6827879F-CDD1-43C7-87E9-7003AA3411A8}"/>
                </a:ext>
              </a:extLst>
            </p:cNvPr>
            <p:cNvSpPr>
              <a:spLocks/>
            </p:cNvSpPr>
            <p:nvPr/>
          </p:nvSpPr>
          <p:spPr bwMode="auto">
            <a:xfrm rot="160649">
              <a:off x="10631099" y="5368592"/>
              <a:ext cx="1173389" cy="300998"/>
            </a:xfrm>
            <a:custGeom>
              <a:avLst/>
              <a:gdLst>
                <a:gd name="connsiteX0" fmla="*/ 608078 w 1173389"/>
                <a:gd name="connsiteY0" fmla="*/ 0 h 300998"/>
                <a:gd name="connsiteX1" fmla="*/ 905648 w 1173389"/>
                <a:gd name="connsiteY1" fmla="*/ 113786 h 300998"/>
                <a:gd name="connsiteX2" fmla="*/ 1093650 w 1173389"/>
                <a:gd name="connsiteY2" fmla="*/ 202377 h 300998"/>
                <a:gd name="connsiteX3" fmla="*/ 1173389 w 1173389"/>
                <a:gd name="connsiteY3" fmla="*/ 246419 h 300998"/>
                <a:gd name="connsiteX4" fmla="*/ 6282 w 1173389"/>
                <a:gd name="connsiteY4" fmla="*/ 300998 h 300998"/>
                <a:gd name="connsiteX5" fmla="*/ 0 w 1173389"/>
                <a:gd name="connsiteY5" fmla="*/ 292594 h 300998"/>
                <a:gd name="connsiteX6" fmla="*/ 236115 w 1173389"/>
                <a:gd name="connsiteY6" fmla="*/ 149548 h 300998"/>
                <a:gd name="connsiteX7" fmla="*/ 608078 w 1173389"/>
                <a:gd name="connsiteY7" fmla="*/ 0 h 3009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73389" h="300998">
                  <a:moveTo>
                    <a:pt x="608078" y="0"/>
                  </a:moveTo>
                  <a:cubicBezTo>
                    <a:pt x="682470" y="0"/>
                    <a:pt x="818317" y="71523"/>
                    <a:pt x="905648" y="113786"/>
                  </a:cubicBezTo>
                  <a:cubicBezTo>
                    <a:pt x="949313" y="134918"/>
                    <a:pt x="1026940" y="169054"/>
                    <a:pt x="1093650" y="202377"/>
                  </a:cubicBezTo>
                  <a:lnTo>
                    <a:pt x="1173389" y="246419"/>
                  </a:lnTo>
                  <a:lnTo>
                    <a:pt x="6282" y="300998"/>
                  </a:lnTo>
                  <a:lnTo>
                    <a:pt x="0" y="292594"/>
                  </a:lnTo>
                  <a:cubicBezTo>
                    <a:pt x="0" y="253581"/>
                    <a:pt x="129378" y="195063"/>
                    <a:pt x="236115" y="149548"/>
                  </a:cubicBezTo>
                  <a:cubicBezTo>
                    <a:pt x="359025" y="94280"/>
                    <a:pt x="549857" y="0"/>
                    <a:pt x="60807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grpSp>
          <p:nvGrpSpPr>
            <p:cNvPr id="443" name="Group 34">
              <a:extLst>
                <a:ext uri="{FF2B5EF4-FFF2-40B4-BE49-F238E27FC236}">
                  <a16:creationId xmlns:a16="http://schemas.microsoft.com/office/drawing/2014/main" id="{C2654A79-7642-4A22-A5E5-0BE6E361B8B3}"/>
                </a:ext>
              </a:extLst>
            </p:cNvPr>
            <p:cNvGrpSpPr>
              <a:grpSpLocks/>
            </p:cNvGrpSpPr>
            <p:nvPr/>
          </p:nvGrpSpPr>
          <p:grpSpPr bwMode="auto">
            <a:xfrm rot="896089">
              <a:off x="3629456" y="4892006"/>
              <a:ext cx="1216155" cy="572183"/>
              <a:chOff x="3557" y="2640"/>
              <a:chExt cx="940" cy="470"/>
            </a:xfrm>
          </p:grpSpPr>
          <p:sp>
            <p:nvSpPr>
              <p:cNvPr id="444" name="Freeform 23">
                <a:extLst>
                  <a:ext uri="{FF2B5EF4-FFF2-40B4-BE49-F238E27FC236}">
                    <a16:creationId xmlns:a16="http://schemas.microsoft.com/office/drawing/2014/main" id="{391F34E1-FD4F-40D7-8171-A63BD18E1092}"/>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45" name="Oval 25">
                <a:extLst>
                  <a:ext uri="{FF2B5EF4-FFF2-40B4-BE49-F238E27FC236}">
                    <a16:creationId xmlns:a16="http://schemas.microsoft.com/office/drawing/2014/main" id="{F45DE829-2072-457F-A87D-51C981696E5D}"/>
                  </a:ext>
                </a:extLst>
              </p:cNvPr>
              <p:cNvSpPr>
                <a:spLocks noChangeArrowheads="1"/>
              </p:cNvSpPr>
              <p:nvPr/>
            </p:nvSpPr>
            <p:spPr bwMode="auto">
              <a:xfrm>
                <a:off x="3942" y="2856"/>
                <a:ext cx="155" cy="72"/>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46" name="Oval 26">
                <a:extLst>
                  <a:ext uri="{FF2B5EF4-FFF2-40B4-BE49-F238E27FC236}">
                    <a16:creationId xmlns:a16="http://schemas.microsoft.com/office/drawing/2014/main" id="{7523570A-DE80-4CA2-BE8E-F1964529C6D0}"/>
                  </a:ext>
                </a:extLst>
              </p:cNvPr>
              <p:cNvSpPr>
                <a:spLocks noChangeArrowheads="1"/>
              </p:cNvSpPr>
              <p:nvPr/>
            </p:nvSpPr>
            <p:spPr bwMode="auto">
              <a:xfrm>
                <a:off x="3925" y="2837"/>
                <a:ext cx="155" cy="72"/>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47" name="Freeform 27">
                <a:extLst>
                  <a:ext uri="{FF2B5EF4-FFF2-40B4-BE49-F238E27FC236}">
                    <a16:creationId xmlns:a16="http://schemas.microsoft.com/office/drawing/2014/main" id="{B4036098-932E-4A58-8D33-D332C03707EB}"/>
                  </a:ext>
                </a:extLst>
              </p:cNvPr>
              <p:cNvSpPr>
                <a:spLocks/>
              </p:cNvSpPr>
              <p:nvPr/>
            </p:nvSpPr>
            <p:spPr bwMode="auto">
              <a:xfrm>
                <a:off x="3952" y="2840"/>
                <a:ext cx="128" cy="69"/>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48" name="Freeform 28">
                <a:extLst>
                  <a:ext uri="{FF2B5EF4-FFF2-40B4-BE49-F238E27FC236}">
                    <a16:creationId xmlns:a16="http://schemas.microsoft.com/office/drawing/2014/main" id="{DACA1BD0-A64D-4A92-966F-AE3BF2567471}"/>
                  </a:ext>
                </a:extLst>
              </p:cNvPr>
              <p:cNvSpPr>
                <a:spLocks/>
              </p:cNvSpPr>
              <p:nvPr/>
            </p:nvSpPr>
            <p:spPr bwMode="auto">
              <a:xfrm>
                <a:off x="3940" y="2843"/>
                <a:ext cx="115" cy="5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49" name="Freeform 30">
                <a:extLst>
                  <a:ext uri="{FF2B5EF4-FFF2-40B4-BE49-F238E27FC236}">
                    <a16:creationId xmlns:a16="http://schemas.microsoft.com/office/drawing/2014/main" id="{3B90858B-ECF3-46A6-AC6D-EB8829BEC813}"/>
                  </a:ext>
                </a:extLst>
              </p:cNvPr>
              <p:cNvSpPr>
                <a:spLocks/>
              </p:cNvSpPr>
              <p:nvPr/>
            </p:nvSpPr>
            <p:spPr bwMode="auto">
              <a:xfrm>
                <a:off x="3672" y="2659"/>
                <a:ext cx="523" cy="160"/>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50" name="Freeform 32">
                <a:extLst>
                  <a:ext uri="{FF2B5EF4-FFF2-40B4-BE49-F238E27FC236}">
                    <a16:creationId xmlns:a16="http://schemas.microsoft.com/office/drawing/2014/main" id="{81B5FE07-8840-44A3-9717-F87EEF36FF6B}"/>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51" name="Oval 33">
                <a:extLst>
                  <a:ext uri="{FF2B5EF4-FFF2-40B4-BE49-F238E27FC236}">
                    <a16:creationId xmlns:a16="http://schemas.microsoft.com/office/drawing/2014/main" id="{2B4F0823-1944-46F7-8BC7-C9A80BC2D2DE}"/>
                  </a:ext>
                </a:extLst>
              </p:cNvPr>
              <p:cNvSpPr>
                <a:spLocks noChangeArrowheads="1"/>
              </p:cNvSpPr>
              <p:nvPr/>
            </p:nvSpPr>
            <p:spPr bwMode="auto">
              <a:xfrm>
                <a:off x="3925" y="2837"/>
                <a:ext cx="155" cy="72"/>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452" name="Group 451">
              <a:extLst>
                <a:ext uri="{FF2B5EF4-FFF2-40B4-BE49-F238E27FC236}">
                  <a16:creationId xmlns:a16="http://schemas.microsoft.com/office/drawing/2014/main" id="{3B0DBD9F-F39B-4D67-94E1-79A3D0117300}"/>
                </a:ext>
              </a:extLst>
            </p:cNvPr>
            <p:cNvGrpSpPr/>
            <p:nvPr/>
          </p:nvGrpSpPr>
          <p:grpSpPr>
            <a:xfrm>
              <a:off x="4885050" y="5159963"/>
              <a:ext cx="1216210" cy="517556"/>
              <a:chOff x="4885050" y="5587841"/>
              <a:chExt cx="1216210" cy="517556"/>
            </a:xfrm>
          </p:grpSpPr>
          <p:sp>
            <p:nvSpPr>
              <p:cNvPr id="453" name="Freeform: Shape 452">
                <a:extLst>
                  <a:ext uri="{FF2B5EF4-FFF2-40B4-BE49-F238E27FC236}">
                    <a16:creationId xmlns:a16="http://schemas.microsoft.com/office/drawing/2014/main" id="{DAF007B4-C089-4810-8EE8-28FC5DCA2436}"/>
                  </a:ext>
                </a:extLst>
              </p:cNvPr>
              <p:cNvSpPr>
                <a:spLocks/>
              </p:cNvSpPr>
              <p:nvPr/>
            </p:nvSpPr>
            <p:spPr bwMode="auto">
              <a:xfrm rot="583525">
                <a:off x="4885105" y="5587845"/>
                <a:ext cx="1216155" cy="516909"/>
              </a:xfrm>
              <a:custGeom>
                <a:avLst/>
                <a:gdLst>
                  <a:gd name="connsiteX0" fmla="*/ 580421 w 1216155"/>
                  <a:gd name="connsiteY0" fmla="*/ 4159 h 516909"/>
                  <a:gd name="connsiteX1" fmla="*/ 608078 w 1216155"/>
                  <a:gd name="connsiteY1" fmla="*/ 0 h 516909"/>
                  <a:gd name="connsiteX2" fmla="*/ 905647 w 1216155"/>
                  <a:gd name="connsiteY2" fmla="*/ 113786 h 516909"/>
                  <a:gd name="connsiteX3" fmla="*/ 1216155 w 1216155"/>
                  <a:gd name="connsiteY3" fmla="*/ 286092 h 516909"/>
                  <a:gd name="connsiteX4" fmla="*/ 1015568 w 1216155"/>
                  <a:gd name="connsiteY4" fmla="*/ 408158 h 516909"/>
                  <a:gd name="connsiteX5" fmla="*/ 980689 w 1216155"/>
                  <a:gd name="connsiteY5" fmla="*/ 423610 h 516909"/>
                  <a:gd name="connsiteX6" fmla="*/ 436322 w 1216155"/>
                  <a:gd name="connsiteY6" fmla="*/ 516909 h 516909"/>
                  <a:gd name="connsiteX7" fmla="*/ 420176 w 1216155"/>
                  <a:gd name="connsiteY7" fmla="*/ 510464 h 516909"/>
                  <a:gd name="connsiteX8" fmla="*/ 300804 w 1216155"/>
                  <a:gd name="connsiteY8" fmla="*/ 458396 h 516909"/>
                  <a:gd name="connsiteX9" fmla="*/ 0 w 1216155"/>
                  <a:gd name="connsiteY9" fmla="*/ 292593 h 516909"/>
                  <a:gd name="connsiteX10" fmla="*/ 236115 w 1216155"/>
                  <a:gd name="connsiteY10" fmla="*/ 149548 h 516909"/>
                  <a:gd name="connsiteX11" fmla="*/ 580421 w 1216155"/>
                  <a:gd name="connsiteY11" fmla="*/ 4159 h 5169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6155" h="516909">
                    <a:moveTo>
                      <a:pt x="580421" y="4159"/>
                    </a:moveTo>
                    <a:cubicBezTo>
                      <a:pt x="591450" y="1473"/>
                      <a:pt x="600800" y="0"/>
                      <a:pt x="608078" y="0"/>
                    </a:cubicBezTo>
                    <a:cubicBezTo>
                      <a:pt x="682470" y="0"/>
                      <a:pt x="818317" y="71523"/>
                      <a:pt x="905647" y="113786"/>
                    </a:cubicBezTo>
                    <a:cubicBezTo>
                      <a:pt x="992978" y="156050"/>
                      <a:pt x="1216155" y="250330"/>
                      <a:pt x="1216155" y="286092"/>
                    </a:cubicBezTo>
                    <a:cubicBezTo>
                      <a:pt x="1216155" y="315351"/>
                      <a:pt x="1108812" y="366555"/>
                      <a:pt x="1015568" y="408158"/>
                    </a:cubicBezTo>
                    <a:lnTo>
                      <a:pt x="980689" y="423610"/>
                    </a:lnTo>
                    <a:lnTo>
                      <a:pt x="436322" y="516909"/>
                    </a:lnTo>
                    <a:lnTo>
                      <a:pt x="420176" y="510464"/>
                    </a:lnTo>
                    <a:cubicBezTo>
                      <a:pt x="385709" y="495987"/>
                      <a:pt x="346087" y="478716"/>
                      <a:pt x="300804" y="458396"/>
                    </a:cubicBezTo>
                    <a:cubicBezTo>
                      <a:pt x="126144" y="380372"/>
                      <a:pt x="0" y="328355"/>
                      <a:pt x="0" y="292593"/>
                    </a:cubicBezTo>
                    <a:cubicBezTo>
                      <a:pt x="0" y="253581"/>
                      <a:pt x="129378" y="195062"/>
                      <a:pt x="236115" y="149548"/>
                    </a:cubicBezTo>
                    <a:cubicBezTo>
                      <a:pt x="343660" y="101189"/>
                      <a:pt x="503211" y="22960"/>
                      <a:pt x="580421" y="4159"/>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54" name="Oval 25">
                <a:extLst>
                  <a:ext uri="{FF2B5EF4-FFF2-40B4-BE49-F238E27FC236}">
                    <a16:creationId xmlns:a16="http://schemas.microsoft.com/office/drawing/2014/main" id="{CA10A460-B8AE-402E-A8CA-F71906EB4E92}"/>
                  </a:ext>
                </a:extLst>
              </p:cNvPr>
              <p:cNvSpPr>
                <a:spLocks noChangeArrowheads="1"/>
              </p:cNvSpPr>
              <p:nvPr/>
            </p:nvSpPr>
            <p:spPr bwMode="auto">
              <a:xfrm rot="583525">
                <a:off x="5375185" y="5848472"/>
                <a:ext cx="200536" cy="87654"/>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55" name="Oval 26">
                <a:extLst>
                  <a:ext uri="{FF2B5EF4-FFF2-40B4-BE49-F238E27FC236}">
                    <a16:creationId xmlns:a16="http://schemas.microsoft.com/office/drawing/2014/main" id="{A1EA9A81-4469-4BC0-8EB9-347D17618EF7}"/>
                  </a:ext>
                </a:extLst>
              </p:cNvPr>
              <p:cNvSpPr>
                <a:spLocks noChangeArrowheads="1"/>
              </p:cNvSpPr>
              <p:nvPr/>
            </p:nvSpPr>
            <p:spPr bwMode="auto">
              <a:xfrm rot="583525">
                <a:off x="5357415" y="5821958"/>
                <a:ext cx="200536" cy="87654"/>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56" name="Freeform 27">
                <a:extLst>
                  <a:ext uri="{FF2B5EF4-FFF2-40B4-BE49-F238E27FC236}">
                    <a16:creationId xmlns:a16="http://schemas.microsoft.com/office/drawing/2014/main" id="{2839D014-C143-4149-BBCE-95ABD12A8089}"/>
                  </a:ext>
                </a:extLst>
              </p:cNvPr>
              <p:cNvSpPr>
                <a:spLocks/>
              </p:cNvSpPr>
              <p:nvPr/>
            </p:nvSpPr>
            <p:spPr bwMode="auto">
              <a:xfrm rot="583525">
                <a:off x="5391787" y="5828535"/>
                <a:ext cx="165604" cy="84001"/>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57" name="Freeform 28">
                <a:extLst>
                  <a:ext uri="{FF2B5EF4-FFF2-40B4-BE49-F238E27FC236}">
                    <a16:creationId xmlns:a16="http://schemas.microsoft.com/office/drawing/2014/main" id="{8DFFBB39-6FF4-48E7-942D-2F9C3144EE01}"/>
                  </a:ext>
                </a:extLst>
              </p:cNvPr>
              <p:cNvSpPr>
                <a:spLocks/>
              </p:cNvSpPr>
              <p:nvPr/>
            </p:nvSpPr>
            <p:spPr bwMode="auto">
              <a:xfrm rot="583525">
                <a:off x="5377634" y="5828231"/>
                <a:ext cx="148785" cy="6452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58" name="Freeform 30">
                <a:extLst>
                  <a:ext uri="{FF2B5EF4-FFF2-40B4-BE49-F238E27FC236}">
                    <a16:creationId xmlns:a16="http://schemas.microsoft.com/office/drawing/2014/main" id="{58FB6D21-F485-498A-9E15-E8A64815F5EC}"/>
                  </a:ext>
                </a:extLst>
              </p:cNvPr>
              <p:cNvSpPr>
                <a:spLocks/>
              </p:cNvSpPr>
              <p:nvPr/>
            </p:nvSpPr>
            <p:spPr bwMode="auto">
              <a:xfrm rot="583525">
                <a:off x="5058928" y="5592523"/>
                <a:ext cx="676648" cy="194786"/>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59" name="Freeform: Shape 458">
                <a:extLst>
                  <a:ext uri="{FF2B5EF4-FFF2-40B4-BE49-F238E27FC236}">
                    <a16:creationId xmlns:a16="http://schemas.microsoft.com/office/drawing/2014/main" id="{58630BC0-0AB2-459B-96A6-331456AD7EA4}"/>
                  </a:ext>
                </a:extLst>
              </p:cNvPr>
              <p:cNvSpPr>
                <a:spLocks/>
              </p:cNvSpPr>
              <p:nvPr/>
            </p:nvSpPr>
            <p:spPr bwMode="auto">
              <a:xfrm rot="583525">
                <a:off x="4885050" y="5587841"/>
                <a:ext cx="1216155" cy="517556"/>
              </a:xfrm>
              <a:custGeom>
                <a:avLst/>
                <a:gdLst>
                  <a:gd name="connsiteX0" fmla="*/ 580421 w 1216155"/>
                  <a:gd name="connsiteY0" fmla="*/ 4159 h 517556"/>
                  <a:gd name="connsiteX1" fmla="*/ 608078 w 1216155"/>
                  <a:gd name="connsiteY1" fmla="*/ 0 h 517556"/>
                  <a:gd name="connsiteX2" fmla="*/ 905647 w 1216155"/>
                  <a:gd name="connsiteY2" fmla="*/ 113786 h 517556"/>
                  <a:gd name="connsiteX3" fmla="*/ 1216155 w 1216155"/>
                  <a:gd name="connsiteY3" fmla="*/ 286092 h 517556"/>
                  <a:gd name="connsiteX4" fmla="*/ 1015568 w 1216155"/>
                  <a:gd name="connsiteY4" fmla="*/ 408158 h 517556"/>
                  <a:gd name="connsiteX5" fmla="*/ 977193 w 1216155"/>
                  <a:gd name="connsiteY5" fmla="*/ 425134 h 517556"/>
                  <a:gd name="connsiteX6" fmla="*/ 437942 w 1216155"/>
                  <a:gd name="connsiteY6" fmla="*/ 517556 h 517556"/>
                  <a:gd name="connsiteX7" fmla="*/ 420176 w 1216155"/>
                  <a:gd name="connsiteY7" fmla="*/ 510464 h 517556"/>
                  <a:gd name="connsiteX8" fmla="*/ 300804 w 1216155"/>
                  <a:gd name="connsiteY8" fmla="*/ 458396 h 517556"/>
                  <a:gd name="connsiteX9" fmla="*/ 0 w 1216155"/>
                  <a:gd name="connsiteY9" fmla="*/ 292593 h 517556"/>
                  <a:gd name="connsiteX10" fmla="*/ 236115 w 1216155"/>
                  <a:gd name="connsiteY10" fmla="*/ 149548 h 517556"/>
                  <a:gd name="connsiteX11" fmla="*/ 580421 w 1216155"/>
                  <a:gd name="connsiteY11" fmla="*/ 4159 h 5175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216155" h="517556">
                    <a:moveTo>
                      <a:pt x="580421" y="4159"/>
                    </a:moveTo>
                    <a:cubicBezTo>
                      <a:pt x="591450" y="1473"/>
                      <a:pt x="600800" y="0"/>
                      <a:pt x="608078" y="0"/>
                    </a:cubicBezTo>
                    <a:cubicBezTo>
                      <a:pt x="682470" y="0"/>
                      <a:pt x="818317" y="71523"/>
                      <a:pt x="905647" y="113786"/>
                    </a:cubicBezTo>
                    <a:cubicBezTo>
                      <a:pt x="992978" y="156050"/>
                      <a:pt x="1216155" y="250330"/>
                      <a:pt x="1216155" y="286092"/>
                    </a:cubicBezTo>
                    <a:cubicBezTo>
                      <a:pt x="1216155" y="315351"/>
                      <a:pt x="1108812" y="366555"/>
                      <a:pt x="1015568" y="408158"/>
                    </a:cubicBezTo>
                    <a:lnTo>
                      <a:pt x="977193" y="425134"/>
                    </a:lnTo>
                    <a:lnTo>
                      <a:pt x="437942" y="517556"/>
                    </a:lnTo>
                    <a:lnTo>
                      <a:pt x="420176" y="510464"/>
                    </a:lnTo>
                    <a:cubicBezTo>
                      <a:pt x="385709" y="495987"/>
                      <a:pt x="346087" y="478716"/>
                      <a:pt x="300804" y="458396"/>
                    </a:cubicBezTo>
                    <a:cubicBezTo>
                      <a:pt x="126144" y="380372"/>
                      <a:pt x="0" y="328355"/>
                      <a:pt x="0" y="292593"/>
                    </a:cubicBezTo>
                    <a:cubicBezTo>
                      <a:pt x="0" y="253581"/>
                      <a:pt x="129378" y="195062"/>
                      <a:pt x="236115" y="149548"/>
                    </a:cubicBezTo>
                    <a:cubicBezTo>
                      <a:pt x="343660" y="101189"/>
                      <a:pt x="503211" y="22960"/>
                      <a:pt x="580421" y="4159"/>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60" name="Oval 33">
                <a:extLst>
                  <a:ext uri="{FF2B5EF4-FFF2-40B4-BE49-F238E27FC236}">
                    <a16:creationId xmlns:a16="http://schemas.microsoft.com/office/drawing/2014/main" id="{57B5C582-215F-4BB0-9E54-D937083D94E0}"/>
                  </a:ext>
                </a:extLst>
              </p:cNvPr>
              <p:cNvSpPr>
                <a:spLocks noChangeArrowheads="1"/>
              </p:cNvSpPr>
              <p:nvPr/>
            </p:nvSpPr>
            <p:spPr bwMode="auto">
              <a:xfrm rot="583525">
                <a:off x="5357415" y="5821958"/>
                <a:ext cx="200536" cy="87654"/>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461" name="Group 460">
              <a:extLst>
                <a:ext uri="{FF2B5EF4-FFF2-40B4-BE49-F238E27FC236}">
                  <a16:creationId xmlns:a16="http://schemas.microsoft.com/office/drawing/2014/main" id="{C7029AB5-52FE-4EFF-A70A-C152B8197499}"/>
                </a:ext>
              </a:extLst>
            </p:cNvPr>
            <p:cNvGrpSpPr/>
            <p:nvPr/>
          </p:nvGrpSpPr>
          <p:grpSpPr>
            <a:xfrm>
              <a:off x="6142755" y="5338501"/>
              <a:ext cx="1177635" cy="365623"/>
              <a:chOff x="6142755" y="5768760"/>
              <a:chExt cx="1177635" cy="365623"/>
            </a:xfrm>
          </p:grpSpPr>
          <p:sp>
            <p:nvSpPr>
              <p:cNvPr id="462" name="Freeform: Shape 461">
                <a:extLst>
                  <a:ext uri="{FF2B5EF4-FFF2-40B4-BE49-F238E27FC236}">
                    <a16:creationId xmlns:a16="http://schemas.microsoft.com/office/drawing/2014/main" id="{5BB278A1-3B28-47BE-A06C-7C57604B500C}"/>
                  </a:ext>
                </a:extLst>
              </p:cNvPr>
              <p:cNvSpPr>
                <a:spLocks/>
              </p:cNvSpPr>
              <p:nvPr/>
            </p:nvSpPr>
            <p:spPr bwMode="auto">
              <a:xfrm rot="342215">
                <a:off x="6143124" y="5769021"/>
                <a:ext cx="1177266" cy="357947"/>
              </a:xfrm>
              <a:custGeom>
                <a:avLst/>
                <a:gdLst>
                  <a:gd name="connsiteX0" fmla="*/ 608078 w 1177266"/>
                  <a:gd name="connsiteY0" fmla="*/ 0 h 357947"/>
                  <a:gd name="connsiteX1" fmla="*/ 905647 w 1177266"/>
                  <a:gd name="connsiteY1" fmla="*/ 113786 h 357947"/>
                  <a:gd name="connsiteX2" fmla="*/ 1093650 w 1177266"/>
                  <a:gd name="connsiteY2" fmla="*/ 202377 h 357947"/>
                  <a:gd name="connsiteX3" fmla="*/ 1177266 w 1177266"/>
                  <a:gd name="connsiteY3" fmla="*/ 248560 h 357947"/>
                  <a:gd name="connsiteX4" fmla="*/ 82039 w 1177266"/>
                  <a:gd name="connsiteY4" fmla="*/ 357947 h 357947"/>
                  <a:gd name="connsiteX5" fmla="*/ 22439 w 1177266"/>
                  <a:gd name="connsiteY5" fmla="*/ 322615 h 357947"/>
                  <a:gd name="connsiteX6" fmla="*/ 0 w 1177266"/>
                  <a:gd name="connsiteY6" fmla="*/ 292594 h 357947"/>
                  <a:gd name="connsiteX7" fmla="*/ 236115 w 1177266"/>
                  <a:gd name="connsiteY7" fmla="*/ 149548 h 357947"/>
                  <a:gd name="connsiteX8" fmla="*/ 608078 w 1177266"/>
                  <a:gd name="connsiteY8" fmla="*/ 0 h 3579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77266" h="357947">
                    <a:moveTo>
                      <a:pt x="608078" y="0"/>
                    </a:moveTo>
                    <a:cubicBezTo>
                      <a:pt x="682470" y="0"/>
                      <a:pt x="818317" y="71523"/>
                      <a:pt x="905647" y="113786"/>
                    </a:cubicBezTo>
                    <a:cubicBezTo>
                      <a:pt x="949312" y="134918"/>
                      <a:pt x="1026939" y="169054"/>
                      <a:pt x="1093650" y="202377"/>
                    </a:cubicBezTo>
                    <a:lnTo>
                      <a:pt x="1177266" y="248560"/>
                    </a:lnTo>
                    <a:lnTo>
                      <a:pt x="82039" y="357947"/>
                    </a:lnTo>
                    <a:lnTo>
                      <a:pt x="22439" y="322615"/>
                    </a:lnTo>
                    <a:cubicBezTo>
                      <a:pt x="7884" y="311490"/>
                      <a:pt x="0" y="301534"/>
                      <a:pt x="0" y="292594"/>
                    </a:cubicBezTo>
                    <a:cubicBezTo>
                      <a:pt x="0" y="253581"/>
                      <a:pt x="129378" y="195062"/>
                      <a:pt x="236115" y="149548"/>
                    </a:cubicBezTo>
                    <a:cubicBezTo>
                      <a:pt x="359024" y="94280"/>
                      <a:pt x="549857" y="0"/>
                      <a:pt x="60807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63" name="Oval 25">
                <a:extLst>
                  <a:ext uri="{FF2B5EF4-FFF2-40B4-BE49-F238E27FC236}">
                    <a16:creationId xmlns:a16="http://schemas.microsoft.com/office/drawing/2014/main" id="{4F510B9B-47F0-4FD3-9AB8-29529982EB69}"/>
                  </a:ext>
                </a:extLst>
              </p:cNvPr>
              <p:cNvSpPr>
                <a:spLocks noChangeArrowheads="1"/>
              </p:cNvSpPr>
              <p:nvPr/>
            </p:nvSpPr>
            <p:spPr bwMode="auto">
              <a:xfrm rot="342215">
                <a:off x="6628479" y="5975170"/>
                <a:ext cx="200536" cy="87654"/>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64" name="Oval 26">
                <a:extLst>
                  <a:ext uri="{FF2B5EF4-FFF2-40B4-BE49-F238E27FC236}">
                    <a16:creationId xmlns:a16="http://schemas.microsoft.com/office/drawing/2014/main" id="{1D5A50A3-C785-4944-B071-E8A09B66834E}"/>
                  </a:ext>
                </a:extLst>
              </p:cNvPr>
              <p:cNvSpPr>
                <a:spLocks noChangeArrowheads="1"/>
              </p:cNvSpPr>
              <p:nvPr/>
            </p:nvSpPr>
            <p:spPr bwMode="auto">
              <a:xfrm rot="342215">
                <a:off x="6608893" y="5949968"/>
                <a:ext cx="200536" cy="87654"/>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65" name="Freeform 27">
                <a:extLst>
                  <a:ext uri="{FF2B5EF4-FFF2-40B4-BE49-F238E27FC236}">
                    <a16:creationId xmlns:a16="http://schemas.microsoft.com/office/drawing/2014/main" id="{FBEE115B-1785-446B-A0A6-F55FD7AB89DB}"/>
                  </a:ext>
                </a:extLst>
              </p:cNvPr>
              <p:cNvSpPr>
                <a:spLocks/>
              </p:cNvSpPr>
              <p:nvPr/>
            </p:nvSpPr>
            <p:spPr bwMode="auto">
              <a:xfrm rot="342215">
                <a:off x="6643557" y="5955347"/>
                <a:ext cx="165604" cy="84001"/>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66" name="Freeform 28">
                <a:extLst>
                  <a:ext uri="{FF2B5EF4-FFF2-40B4-BE49-F238E27FC236}">
                    <a16:creationId xmlns:a16="http://schemas.microsoft.com/office/drawing/2014/main" id="{F7EAE153-B66B-4B0F-B86D-F9B1DEAFD8E1}"/>
                  </a:ext>
                </a:extLst>
              </p:cNvPr>
              <p:cNvSpPr>
                <a:spLocks/>
              </p:cNvSpPr>
              <p:nvPr/>
            </p:nvSpPr>
            <p:spPr bwMode="auto">
              <a:xfrm rot="342215">
                <a:off x="6628755" y="5956650"/>
                <a:ext cx="148785" cy="6452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67" name="Freeform 30">
                <a:extLst>
                  <a:ext uri="{FF2B5EF4-FFF2-40B4-BE49-F238E27FC236}">
                    <a16:creationId xmlns:a16="http://schemas.microsoft.com/office/drawing/2014/main" id="{B71DDD24-F2BF-4A33-A052-FDD1CB9A3645}"/>
                  </a:ext>
                </a:extLst>
              </p:cNvPr>
              <p:cNvSpPr>
                <a:spLocks/>
              </p:cNvSpPr>
              <p:nvPr/>
            </p:nvSpPr>
            <p:spPr bwMode="auto">
              <a:xfrm rot="342215">
                <a:off x="6298220" y="5782351"/>
                <a:ext cx="676648" cy="194786"/>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68" name="Freeform: Shape 467">
                <a:extLst>
                  <a:ext uri="{FF2B5EF4-FFF2-40B4-BE49-F238E27FC236}">
                    <a16:creationId xmlns:a16="http://schemas.microsoft.com/office/drawing/2014/main" id="{7D95461B-7EB1-4BFB-B4CA-CE5E867A1F76}"/>
                  </a:ext>
                </a:extLst>
              </p:cNvPr>
              <p:cNvSpPr>
                <a:spLocks/>
              </p:cNvSpPr>
              <p:nvPr/>
            </p:nvSpPr>
            <p:spPr bwMode="auto">
              <a:xfrm rot="342215">
                <a:off x="6142755" y="5768760"/>
                <a:ext cx="1172391" cy="365623"/>
              </a:xfrm>
              <a:custGeom>
                <a:avLst/>
                <a:gdLst>
                  <a:gd name="connsiteX0" fmla="*/ 608078 w 1172391"/>
                  <a:gd name="connsiteY0" fmla="*/ 0 h 365623"/>
                  <a:gd name="connsiteX1" fmla="*/ 905647 w 1172391"/>
                  <a:gd name="connsiteY1" fmla="*/ 113786 h 365623"/>
                  <a:gd name="connsiteX2" fmla="*/ 1093650 w 1172391"/>
                  <a:gd name="connsiteY2" fmla="*/ 202377 h 365623"/>
                  <a:gd name="connsiteX3" fmla="*/ 1172391 w 1172391"/>
                  <a:gd name="connsiteY3" fmla="*/ 245867 h 365623"/>
                  <a:gd name="connsiteX4" fmla="*/ 96336 w 1172391"/>
                  <a:gd name="connsiteY4" fmla="*/ 353340 h 365623"/>
                  <a:gd name="connsiteX5" fmla="*/ 97563 w 1172391"/>
                  <a:gd name="connsiteY5" fmla="*/ 365623 h 365623"/>
                  <a:gd name="connsiteX6" fmla="*/ 84905 w 1172391"/>
                  <a:gd name="connsiteY6" fmla="*/ 359647 h 365623"/>
                  <a:gd name="connsiteX7" fmla="*/ 0 w 1172391"/>
                  <a:gd name="connsiteY7" fmla="*/ 292594 h 365623"/>
                  <a:gd name="connsiteX8" fmla="*/ 236115 w 1172391"/>
                  <a:gd name="connsiteY8" fmla="*/ 149548 h 365623"/>
                  <a:gd name="connsiteX9" fmla="*/ 608078 w 1172391"/>
                  <a:gd name="connsiteY9" fmla="*/ 0 h 3656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72391" h="365623">
                    <a:moveTo>
                      <a:pt x="608078" y="0"/>
                    </a:moveTo>
                    <a:cubicBezTo>
                      <a:pt x="682470" y="0"/>
                      <a:pt x="818317" y="71523"/>
                      <a:pt x="905647" y="113786"/>
                    </a:cubicBezTo>
                    <a:cubicBezTo>
                      <a:pt x="949312" y="134918"/>
                      <a:pt x="1026939" y="169054"/>
                      <a:pt x="1093650" y="202377"/>
                    </a:cubicBezTo>
                    <a:lnTo>
                      <a:pt x="1172391" y="245867"/>
                    </a:lnTo>
                    <a:lnTo>
                      <a:pt x="96336" y="353340"/>
                    </a:lnTo>
                    <a:lnTo>
                      <a:pt x="97563" y="365623"/>
                    </a:lnTo>
                    <a:lnTo>
                      <a:pt x="84905" y="359647"/>
                    </a:lnTo>
                    <a:cubicBezTo>
                      <a:pt x="31536" y="332419"/>
                      <a:pt x="0" y="310475"/>
                      <a:pt x="0" y="292594"/>
                    </a:cubicBezTo>
                    <a:cubicBezTo>
                      <a:pt x="0" y="253581"/>
                      <a:pt x="129378" y="195062"/>
                      <a:pt x="236115" y="149548"/>
                    </a:cubicBezTo>
                    <a:cubicBezTo>
                      <a:pt x="359024" y="94280"/>
                      <a:pt x="549857" y="0"/>
                      <a:pt x="60807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69" name="Oval 33">
                <a:extLst>
                  <a:ext uri="{FF2B5EF4-FFF2-40B4-BE49-F238E27FC236}">
                    <a16:creationId xmlns:a16="http://schemas.microsoft.com/office/drawing/2014/main" id="{785995B8-4905-47A7-A98A-E0AE22CCFBB2}"/>
                  </a:ext>
                </a:extLst>
              </p:cNvPr>
              <p:cNvSpPr>
                <a:spLocks noChangeArrowheads="1"/>
              </p:cNvSpPr>
              <p:nvPr/>
            </p:nvSpPr>
            <p:spPr bwMode="auto">
              <a:xfrm rot="342215">
                <a:off x="6608893" y="5949968"/>
                <a:ext cx="200536" cy="87654"/>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470" name="Group 469">
              <a:extLst>
                <a:ext uri="{FF2B5EF4-FFF2-40B4-BE49-F238E27FC236}">
                  <a16:creationId xmlns:a16="http://schemas.microsoft.com/office/drawing/2014/main" id="{E489039C-9853-4D5B-A42D-8F9DB72EAF4E}"/>
                </a:ext>
              </a:extLst>
            </p:cNvPr>
            <p:cNvGrpSpPr/>
            <p:nvPr/>
          </p:nvGrpSpPr>
          <p:grpSpPr>
            <a:xfrm>
              <a:off x="2504633" y="4068499"/>
              <a:ext cx="540336" cy="465181"/>
              <a:chOff x="2504633" y="4498758"/>
              <a:chExt cx="540336" cy="465181"/>
            </a:xfrm>
          </p:grpSpPr>
          <p:sp>
            <p:nvSpPr>
              <p:cNvPr id="471" name="Freeform: Shape 470">
                <a:extLst>
                  <a:ext uri="{FF2B5EF4-FFF2-40B4-BE49-F238E27FC236}">
                    <a16:creationId xmlns:a16="http://schemas.microsoft.com/office/drawing/2014/main" id="{D7F4F5D9-95E6-4372-8AD4-B3131FF12762}"/>
                  </a:ext>
                </a:extLst>
              </p:cNvPr>
              <p:cNvSpPr>
                <a:spLocks/>
              </p:cNvSpPr>
              <p:nvPr/>
            </p:nvSpPr>
            <p:spPr bwMode="auto">
              <a:xfrm rot="1279283">
                <a:off x="2504633" y="4498758"/>
                <a:ext cx="540336" cy="465181"/>
              </a:xfrm>
              <a:custGeom>
                <a:avLst/>
                <a:gdLst>
                  <a:gd name="connsiteX0" fmla="*/ 0 w 540336"/>
                  <a:gd name="connsiteY0" fmla="*/ 0 h 465181"/>
                  <a:gd name="connsiteX1" fmla="*/ 76192 w 540336"/>
                  <a:gd name="connsiteY1" fmla="*/ 28409 h 465181"/>
                  <a:gd name="connsiteX2" fmla="*/ 229828 w 540336"/>
                  <a:gd name="connsiteY2" fmla="*/ 101152 h 465181"/>
                  <a:gd name="connsiteX3" fmla="*/ 540336 w 540336"/>
                  <a:gd name="connsiteY3" fmla="*/ 273457 h 465181"/>
                  <a:gd name="connsiteX4" fmla="*/ 255704 w 540336"/>
                  <a:gd name="connsiteY4" fmla="*/ 432757 h 465181"/>
                  <a:gd name="connsiteX5" fmla="*/ 181567 w 540336"/>
                  <a:gd name="connsiteY5" fmla="*/ 465181 h 465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0336" h="465181">
                    <a:moveTo>
                      <a:pt x="0" y="0"/>
                    </a:moveTo>
                    <a:lnTo>
                      <a:pt x="76192" y="28409"/>
                    </a:lnTo>
                    <a:cubicBezTo>
                      <a:pt x="130369" y="51573"/>
                      <a:pt x="186163" y="80020"/>
                      <a:pt x="229828" y="101152"/>
                    </a:cubicBezTo>
                    <a:cubicBezTo>
                      <a:pt x="317159" y="143415"/>
                      <a:pt x="540336" y="237695"/>
                      <a:pt x="540336" y="273457"/>
                    </a:cubicBezTo>
                    <a:cubicBezTo>
                      <a:pt x="540336" y="312469"/>
                      <a:pt x="349503" y="390494"/>
                      <a:pt x="255704" y="432757"/>
                    </a:cubicBezTo>
                    <a:lnTo>
                      <a:pt x="181567" y="465181"/>
                    </a:ln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72" name="Freeform: Shape 471">
                <a:extLst>
                  <a:ext uri="{FF2B5EF4-FFF2-40B4-BE49-F238E27FC236}">
                    <a16:creationId xmlns:a16="http://schemas.microsoft.com/office/drawing/2014/main" id="{E6BE388F-8F0D-4CBC-9388-A544177B599D}"/>
                  </a:ext>
                </a:extLst>
              </p:cNvPr>
              <p:cNvSpPr>
                <a:spLocks/>
              </p:cNvSpPr>
              <p:nvPr/>
            </p:nvSpPr>
            <p:spPr bwMode="auto">
              <a:xfrm rot="1279283">
                <a:off x="2505953" y="4499522"/>
                <a:ext cx="538955" cy="464225"/>
              </a:xfrm>
              <a:custGeom>
                <a:avLst/>
                <a:gdLst>
                  <a:gd name="connsiteX0" fmla="*/ 0 w 538955"/>
                  <a:gd name="connsiteY0" fmla="*/ 0 h 464225"/>
                  <a:gd name="connsiteX1" fmla="*/ 74811 w 538955"/>
                  <a:gd name="connsiteY1" fmla="*/ 27894 h 464225"/>
                  <a:gd name="connsiteX2" fmla="*/ 228447 w 538955"/>
                  <a:gd name="connsiteY2" fmla="*/ 100637 h 464225"/>
                  <a:gd name="connsiteX3" fmla="*/ 538955 w 538955"/>
                  <a:gd name="connsiteY3" fmla="*/ 272942 h 464225"/>
                  <a:gd name="connsiteX4" fmla="*/ 254323 w 538955"/>
                  <a:gd name="connsiteY4" fmla="*/ 432242 h 464225"/>
                  <a:gd name="connsiteX5" fmla="*/ 181193 w 538955"/>
                  <a:gd name="connsiteY5" fmla="*/ 464225 h 46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38955" h="464225">
                    <a:moveTo>
                      <a:pt x="0" y="0"/>
                    </a:moveTo>
                    <a:lnTo>
                      <a:pt x="74811" y="27894"/>
                    </a:lnTo>
                    <a:cubicBezTo>
                      <a:pt x="128988" y="51058"/>
                      <a:pt x="184782" y="79505"/>
                      <a:pt x="228447" y="100637"/>
                    </a:cubicBezTo>
                    <a:cubicBezTo>
                      <a:pt x="315778" y="142900"/>
                      <a:pt x="538955" y="237180"/>
                      <a:pt x="538955" y="272942"/>
                    </a:cubicBezTo>
                    <a:cubicBezTo>
                      <a:pt x="538955" y="311954"/>
                      <a:pt x="348122" y="389979"/>
                      <a:pt x="254323" y="432242"/>
                    </a:cubicBezTo>
                    <a:lnTo>
                      <a:pt x="181193" y="464225"/>
                    </a:ln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grpSp>
        <p:sp>
          <p:nvSpPr>
            <p:cNvPr id="473" name="Freeform: Shape 472">
              <a:extLst>
                <a:ext uri="{FF2B5EF4-FFF2-40B4-BE49-F238E27FC236}">
                  <a16:creationId xmlns:a16="http://schemas.microsoft.com/office/drawing/2014/main" id="{CFE6F6A3-2CF4-4D91-AAB4-341618BEFD73}"/>
                </a:ext>
              </a:extLst>
            </p:cNvPr>
            <p:cNvSpPr>
              <a:spLocks/>
            </p:cNvSpPr>
            <p:nvPr/>
          </p:nvSpPr>
          <p:spPr bwMode="auto">
            <a:xfrm rot="1279283">
              <a:off x="2532324" y="4537039"/>
              <a:ext cx="1012301" cy="572183"/>
            </a:xfrm>
            <a:custGeom>
              <a:avLst/>
              <a:gdLst>
                <a:gd name="connsiteX0" fmla="*/ 338827 w 1012301"/>
                <a:gd name="connsiteY0" fmla="*/ 15595 h 572183"/>
                <a:gd name="connsiteX1" fmla="*/ 404223 w 1012301"/>
                <a:gd name="connsiteY1" fmla="*/ 0 h 572183"/>
                <a:gd name="connsiteX2" fmla="*/ 701793 w 1012301"/>
                <a:gd name="connsiteY2" fmla="*/ 113787 h 572183"/>
                <a:gd name="connsiteX3" fmla="*/ 1012301 w 1012301"/>
                <a:gd name="connsiteY3" fmla="*/ 286092 h 572183"/>
                <a:gd name="connsiteX4" fmla="*/ 727669 w 1012301"/>
                <a:gd name="connsiteY4" fmla="*/ 445392 h 572183"/>
                <a:gd name="connsiteX5" fmla="*/ 400989 w 1012301"/>
                <a:gd name="connsiteY5" fmla="*/ 572183 h 572183"/>
                <a:gd name="connsiteX6" fmla="*/ 216322 w 1012301"/>
                <a:gd name="connsiteY6" fmla="*/ 510464 h 572183"/>
                <a:gd name="connsiteX7" fmla="*/ 118709 w 1012301"/>
                <a:gd name="connsiteY7" fmla="*/ 467887 h 572183"/>
                <a:gd name="connsiteX8" fmla="*/ 0 w 1012301"/>
                <a:gd name="connsiteY8" fmla="*/ 163751 h 572183"/>
                <a:gd name="connsiteX9" fmla="*/ 32261 w 1012301"/>
                <a:gd name="connsiteY9" fmla="*/ 149548 h 572183"/>
                <a:gd name="connsiteX10" fmla="*/ 338827 w 1012301"/>
                <a:gd name="connsiteY10" fmla="*/ 15595 h 572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2301" h="572183">
                  <a:moveTo>
                    <a:pt x="338827" y="15595"/>
                  </a:moveTo>
                  <a:cubicBezTo>
                    <a:pt x="366825" y="5893"/>
                    <a:pt x="389669" y="0"/>
                    <a:pt x="404223" y="0"/>
                  </a:cubicBezTo>
                  <a:cubicBezTo>
                    <a:pt x="478616" y="0"/>
                    <a:pt x="614463" y="71523"/>
                    <a:pt x="701793" y="113787"/>
                  </a:cubicBezTo>
                  <a:cubicBezTo>
                    <a:pt x="789124" y="156050"/>
                    <a:pt x="1012301" y="250330"/>
                    <a:pt x="1012301" y="286092"/>
                  </a:cubicBezTo>
                  <a:cubicBezTo>
                    <a:pt x="1012301" y="325104"/>
                    <a:pt x="821468" y="403129"/>
                    <a:pt x="727669" y="445392"/>
                  </a:cubicBezTo>
                  <a:cubicBezTo>
                    <a:pt x="633870" y="487656"/>
                    <a:pt x="433333" y="572183"/>
                    <a:pt x="400989" y="572183"/>
                  </a:cubicBezTo>
                  <a:cubicBezTo>
                    <a:pt x="376730" y="572183"/>
                    <a:pt x="319723" y="553896"/>
                    <a:pt x="216322" y="510464"/>
                  </a:cubicBezTo>
                  <a:lnTo>
                    <a:pt x="118709" y="467887"/>
                  </a:lnTo>
                  <a:lnTo>
                    <a:pt x="0" y="163751"/>
                  </a:lnTo>
                  <a:lnTo>
                    <a:pt x="32261" y="149548"/>
                  </a:lnTo>
                  <a:cubicBezTo>
                    <a:pt x="124443" y="108097"/>
                    <a:pt x="254832" y="44702"/>
                    <a:pt x="338827" y="15595"/>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74" name="Freeform 30">
              <a:extLst>
                <a:ext uri="{FF2B5EF4-FFF2-40B4-BE49-F238E27FC236}">
                  <a16:creationId xmlns:a16="http://schemas.microsoft.com/office/drawing/2014/main" id="{6D46FCCD-61C3-4A06-900E-3AEDEF883099}"/>
                </a:ext>
              </a:extLst>
            </p:cNvPr>
            <p:cNvSpPr>
              <a:spLocks/>
            </p:cNvSpPr>
            <p:nvPr/>
          </p:nvSpPr>
          <p:spPr bwMode="auto">
            <a:xfrm rot="1731384">
              <a:off x="2621423" y="4526800"/>
              <a:ext cx="676648" cy="194786"/>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75" name="Freeform: Shape 474">
              <a:extLst>
                <a:ext uri="{FF2B5EF4-FFF2-40B4-BE49-F238E27FC236}">
                  <a16:creationId xmlns:a16="http://schemas.microsoft.com/office/drawing/2014/main" id="{AAF5F84A-2058-4230-8895-6FF162D5965D}"/>
                </a:ext>
              </a:extLst>
            </p:cNvPr>
            <p:cNvSpPr>
              <a:spLocks/>
            </p:cNvSpPr>
            <p:nvPr/>
          </p:nvSpPr>
          <p:spPr bwMode="auto">
            <a:xfrm rot="1279283">
              <a:off x="2530440" y="4536684"/>
              <a:ext cx="1014253" cy="572183"/>
            </a:xfrm>
            <a:custGeom>
              <a:avLst/>
              <a:gdLst>
                <a:gd name="connsiteX0" fmla="*/ 340779 w 1014253"/>
                <a:gd name="connsiteY0" fmla="*/ 15595 h 572183"/>
                <a:gd name="connsiteX1" fmla="*/ 406175 w 1014253"/>
                <a:gd name="connsiteY1" fmla="*/ 0 h 572183"/>
                <a:gd name="connsiteX2" fmla="*/ 703745 w 1014253"/>
                <a:gd name="connsiteY2" fmla="*/ 113787 h 572183"/>
                <a:gd name="connsiteX3" fmla="*/ 1014253 w 1014253"/>
                <a:gd name="connsiteY3" fmla="*/ 286092 h 572183"/>
                <a:gd name="connsiteX4" fmla="*/ 729621 w 1014253"/>
                <a:gd name="connsiteY4" fmla="*/ 445392 h 572183"/>
                <a:gd name="connsiteX5" fmla="*/ 402941 w 1014253"/>
                <a:gd name="connsiteY5" fmla="*/ 572183 h 572183"/>
                <a:gd name="connsiteX6" fmla="*/ 218274 w 1014253"/>
                <a:gd name="connsiteY6" fmla="*/ 510464 h 572183"/>
                <a:gd name="connsiteX7" fmla="*/ 117904 w 1014253"/>
                <a:gd name="connsiteY7" fmla="*/ 466685 h 572183"/>
                <a:gd name="connsiteX8" fmla="*/ 0 w 1014253"/>
                <a:gd name="connsiteY8" fmla="*/ 164610 h 572183"/>
                <a:gd name="connsiteX9" fmla="*/ 34213 w 1014253"/>
                <a:gd name="connsiteY9" fmla="*/ 149548 h 572183"/>
                <a:gd name="connsiteX10" fmla="*/ 340779 w 1014253"/>
                <a:gd name="connsiteY10" fmla="*/ 15595 h 57218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14253" h="572183">
                  <a:moveTo>
                    <a:pt x="340779" y="15595"/>
                  </a:moveTo>
                  <a:cubicBezTo>
                    <a:pt x="368777" y="5893"/>
                    <a:pt x="391621" y="0"/>
                    <a:pt x="406175" y="0"/>
                  </a:cubicBezTo>
                  <a:cubicBezTo>
                    <a:pt x="480568" y="0"/>
                    <a:pt x="616415" y="71523"/>
                    <a:pt x="703745" y="113787"/>
                  </a:cubicBezTo>
                  <a:cubicBezTo>
                    <a:pt x="791076" y="156050"/>
                    <a:pt x="1014253" y="250330"/>
                    <a:pt x="1014253" y="286092"/>
                  </a:cubicBezTo>
                  <a:cubicBezTo>
                    <a:pt x="1014253" y="325104"/>
                    <a:pt x="823420" y="403129"/>
                    <a:pt x="729621" y="445392"/>
                  </a:cubicBezTo>
                  <a:cubicBezTo>
                    <a:pt x="635822" y="487656"/>
                    <a:pt x="435285" y="572183"/>
                    <a:pt x="402941" y="572183"/>
                  </a:cubicBezTo>
                  <a:cubicBezTo>
                    <a:pt x="378682" y="572183"/>
                    <a:pt x="321675" y="553896"/>
                    <a:pt x="218274" y="510464"/>
                  </a:cubicBezTo>
                  <a:lnTo>
                    <a:pt x="117904" y="466685"/>
                  </a:lnTo>
                  <a:lnTo>
                    <a:pt x="0" y="164610"/>
                  </a:lnTo>
                  <a:lnTo>
                    <a:pt x="34213" y="149548"/>
                  </a:lnTo>
                  <a:cubicBezTo>
                    <a:pt x="126395" y="108097"/>
                    <a:pt x="256784" y="44702"/>
                    <a:pt x="340779" y="15595"/>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grpSp>
          <p:nvGrpSpPr>
            <p:cNvPr id="476" name="Group 475">
              <a:extLst>
                <a:ext uri="{FF2B5EF4-FFF2-40B4-BE49-F238E27FC236}">
                  <a16:creationId xmlns:a16="http://schemas.microsoft.com/office/drawing/2014/main" id="{0E8C99F8-19CD-4F35-B37B-457146EE9D6F}"/>
                </a:ext>
              </a:extLst>
            </p:cNvPr>
            <p:cNvGrpSpPr/>
            <p:nvPr/>
          </p:nvGrpSpPr>
          <p:grpSpPr>
            <a:xfrm>
              <a:off x="2814614" y="4728450"/>
              <a:ext cx="212614" cy="117199"/>
              <a:chOff x="2814614" y="5158709"/>
              <a:chExt cx="212614" cy="117199"/>
            </a:xfrm>
          </p:grpSpPr>
          <p:sp>
            <p:nvSpPr>
              <p:cNvPr id="477" name="Oval 25">
                <a:extLst>
                  <a:ext uri="{FF2B5EF4-FFF2-40B4-BE49-F238E27FC236}">
                    <a16:creationId xmlns:a16="http://schemas.microsoft.com/office/drawing/2014/main" id="{69FF539C-F3E1-429F-A99F-3C0052668B8E}"/>
                  </a:ext>
                </a:extLst>
              </p:cNvPr>
              <p:cNvSpPr>
                <a:spLocks noChangeArrowheads="1"/>
              </p:cNvSpPr>
              <p:nvPr/>
            </p:nvSpPr>
            <p:spPr bwMode="auto">
              <a:xfrm rot="1279283">
                <a:off x="2826692" y="5188254"/>
                <a:ext cx="200536" cy="87654"/>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78" name="Oval 26">
                <a:extLst>
                  <a:ext uri="{FF2B5EF4-FFF2-40B4-BE49-F238E27FC236}">
                    <a16:creationId xmlns:a16="http://schemas.microsoft.com/office/drawing/2014/main" id="{5A733ECB-3729-4A92-B5E7-2DF85987B997}"/>
                  </a:ext>
                </a:extLst>
              </p:cNvPr>
              <p:cNvSpPr>
                <a:spLocks noChangeArrowheads="1"/>
              </p:cNvSpPr>
              <p:nvPr/>
            </p:nvSpPr>
            <p:spPr bwMode="auto">
              <a:xfrm rot="1279283">
                <a:off x="2814614" y="5158709"/>
                <a:ext cx="200536" cy="87654"/>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79" name="Freeform 27">
                <a:extLst>
                  <a:ext uri="{FF2B5EF4-FFF2-40B4-BE49-F238E27FC236}">
                    <a16:creationId xmlns:a16="http://schemas.microsoft.com/office/drawing/2014/main" id="{62301F82-D110-44E6-9852-F527E860ACEA}"/>
                  </a:ext>
                </a:extLst>
              </p:cNvPr>
              <p:cNvSpPr>
                <a:spLocks/>
              </p:cNvSpPr>
              <p:nvPr/>
            </p:nvSpPr>
            <p:spPr bwMode="auto">
              <a:xfrm rot="1279283">
                <a:off x="2847686" y="5168587"/>
                <a:ext cx="165604" cy="84001"/>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80" name="Freeform 28">
                <a:extLst>
                  <a:ext uri="{FF2B5EF4-FFF2-40B4-BE49-F238E27FC236}">
                    <a16:creationId xmlns:a16="http://schemas.microsoft.com/office/drawing/2014/main" id="{38674DE6-75F9-4BDD-8449-C68B452804FE}"/>
                  </a:ext>
                </a:extLst>
              </p:cNvPr>
              <p:cNvSpPr>
                <a:spLocks/>
              </p:cNvSpPr>
              <p:nvPr/>
            </p:nvSpPr>
            <p:spPr bwMode="auto">
              <a:xfrm rot="1279283">
                <a:off x="2836012" y="5163953"/>
                <a:ext cx="148785" cy="6452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81" name="Oval 33">
                <a:extLst>
                  <a:ext uri="{FF2B5EF4-FFF2-40B4-BE49-F238E27FC236}">
                    <a16:creationId xmlns:a16="http://schemas.microsoft.com/office/drawing/2014/main" id="{10947057-6537-4A18-BF9D-0544BD2D92BE}"/>
                  </a:ext>
                </a:extLst>
              </p:cNvPr>
              <p:cNvSpPr>
                <a:spLocks noChangeArrowheads="1"/>
              </p:cNvSpPr>
              <p:nvPr/>
            </p:nvSpPr>
            <p:spPr bwMode="auto">
              <a:xfrm rot="1279283">
                <a:off x="2814614" y="5158709"/>
                <a:ext cx="200536" cy="87654"/>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482" name="Group 34">
              <a:extLst>
                <a:ext uri="{FF2B5EF4-FFF2-40B4-BE49-F238E27FC236}">
                  <a16:creationId xmlns:a16="http://schemas.microsoft.com/office/drawing/2014/main" id="{72C5751D-10B7-49B6-BF43-2F8BA13458FF}"/>
                </a:ext>
              </a:extLst>
            </p:cNvPr>
            <p:cNvGrpSpPr>
              <a:grpSpLocks/>
            </p:cNvGrpSpPr>
            <p:nvPr/>
          </p:nvGrpSpPr>
          <p:grpSpPr bwMode="auto">
            <a:xfrm rot="1125415">
              <a:off x="2896629" y="5078348"/>
              <a:ext cx="1216155" cy="572183"/>
              <a:chOff x="3557" y="2640"/>
              <a:chExt cx="940" cy="470"/>
            </a:xfrm>
          </p:grpSpPr>
          <p:sp>
            <p:nvSpPr>
              <p:cNvPr id="483" name="Freeform 23">
                <a:extLst>
                  <a:ext uri="{FF2B5EF4-FFF2-40B4-BE49-F238E27FC236}">
                    <a16:creationId xmlns:a16="http://schemas.microsoft.com/office/drawing/2014/main" id="{771E412C-8AD6-4496-97EB-86CE56B02F30}"/>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84" name="Oval 25">
                <a:extLst>
                  <a:ext uri="{FF2B5EF4-FFF2-40B4-BE49-F238E27FC236}">
                    <a16:creationId xmlns:a16="http://schemas.microsoft.com/office/drawing/2014/main" id="{9EC26A2B-61C0-4C3C-A144-C53F81EB1B1E}"/>
                  </a:ext>
                </a:extLst>
              </p:cNvPr>
              <p:cNvSpPr>
                <a:spLocks noChangeArrowheads="1"/>
              </p:cNvSpPr>
              <p:nvPr/>
            </p:nvSpPr>
            <p:spPr bwMode="auto">
              <a:xfrm>
                <a:off x="3942" y="2856"/>
                <a:ext cx="155" cy="72"/>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85" name="Oval 26">
                <a:extLst>
                  <a:ext uri="{FF2B5EF4-FFF2-40B4-BE49-F238E27FC236}">
                    <a16:creationId xmlns:a16="http://schemas.microsoft.com/office/drawing/2014/main" id="{6615E628-5354-43C2-AD05-58C2DC74D237}"/>
                  </a:ext>
                </a:extLst>
              </p:cNvPr>
              <p:cNvSpPr>
                <a:spLocks noChangeArrowheads="1"/>
              </p:cNvSpPr>
              <p:nvPr/>
            </p:nvSpPr>
            <p:spPr bwMode="auto">
              <a:xfrm>
                <a:off x="3925" y="2837"/>
                <a:ext cx="155" cy="72"/>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86" name="Freeform 27">
                <a:extLst>
                  <a:ext uri="{FF2B5EF4-FFF2-40B4-BE49-F238E27FC236}">
                    <a16:creationId xmlns:a16="http://schemas.microsoft.com/office/drawing/2014/main" id="{11CC5BFE-34DD-4E37-8C0B-514827CAC654}"/>
                  </a:ext>
                </a:extLst>
              </p:cNvPr>
              <p:cNvSpPr>
                <a:spLocks/>
              </p:cNvSpPr>
              <p:nvPr/>
            </p:nvSpPr>
            <p:spPr bwMode="auto">
              <a:xfrm>
                <a:off x="3952" y="2840"/>
                <a:ext cx="128" cy="69"/>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87" name="Freeform 28">
                <a:extLst>
                  <a:ext uri="{FF2B5EF4-FFF2-40B4-BE49-F238E27FC236}">
                    <a16:creationId xmlns:a16="http://schemas.microsoft.com/office/drawing/2014/main" id="{CAC2FE58-E7C3-4C6F-B114-5AC832E353FA}"/>
                  </a:ext>
                </a:extLst>
              </p:cNvPr>
              <p:cNvSpPr>
                <a:spLocks/>
              </p:cNvSpPr>
              <p:nvPr/>
            </p:nvSpPr>
            <p:spPr bwMode="auto">
              <a:xfrm>
                <a:off x="3940" y="2843"/>
                <a:ext cx="115" cy="5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88" name="Freeform 30">
                <a:extLst>
                  <a:ext uri="{FF2B5EF4-FFF2-40B4-BE49-F238E27FC236}">
                    <a16:creationId xmlns:a16="http://schemas.microsoft.com/office/drawing/2014/main" id="{C905FD69-BE1F-418B-A795-85F468F47427}"/>
                  </a:ext>
                </a:extLst>
              </p:cNvPr>
              <p:cNvSpPr>
                <a:spLocks/>
              </p:cNvSpPr>
              <p:nvPr/>
            </p:nvSpPr>
            <p:spPr bwMode="auto">
              <a:xfrm>
                <a:off x="3672" y="2659"/>
                <a:ext cx="523" cy="160"/>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89" name="Freeform 32">
                <a:extLst>
                  <a:ext uri="{FF2B5EF4-FFF2-40B4-BE49-F238E27FC236}">
                    <a16:creationId xmlns:a16="http://schemas.microsoft.com/office/drawing/2014/main" id="{D070F4B3-36D0-4B1D-B6F4-47E18B8EC5BF}"/>
                  </a:ext>
                </a:extLst>
              </p:cNvPr>
              <p:cNvSpPr>
                <a:spLocks/>
              </p:cNvSpPr>
              <p:nvPr/>
            </p:nvSpPr>
            <p:spPr bwMode="auto">
              <a:xfrm>
                <a:off x="3557" y="2640"/>
                <a:ext cx="940" cy="470"/>
              </a:xfrm>
              <a:custGeom>
                <a:avLst/>
                <a:gdLst>
                  <a:gd name="T0" fmla="*/ 2938 w 376"/>
                  <a:gd name="T1" fmla="*/ 0 h 176"/>
                  <a:gd name="T2" fmla="*/ 1145 w 376"/>
                  <a:gd name="T3" fmla="*/ 876 h 176"/>
                  <a:gd name="T4" fmla="*/ 0 w 376"/>
                  <a:gd name="T5" fmla="*/ 1712 h 176"/>
                  <a:gd name="T6" fmla="*/ 1458 w 376"/>
                  <a:gd name="T7" fmla="*/ 2689 h 176"/>
                  <a:gd name="T8" fmla="*/ 2925 w 376"/>
                  <a:gd name="T9" fmla="*/ 3351 h 176"/>
                  <a:gd name="T10" fmla="*/ 4500 w 376"/>
                  <a:gd name="T11" fmla="*/ 2609 h 176"/>
                  <a:gd name="T12" fmla="*/ 5875 w 376"/>
                  <a:gd name="T13" fmla="*/ 1677 h 176"/>
                  <a:gd name="T14" fmla="*/ 4375 w 376"/>
                  <a:gd name="T15" fmla="*/ 662 h 176"/>
                  <a:gd name="T16" fmla="*/ 2938 w 376"/>
                  <a:gd name="T17" fmla="*/ 0 h 17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6" h="176">
                    <a:moveTo>
                      <a:pt x="188" y="0"/>
                    </a:moveTo>
                    <a:cubicBezTo>
                      <a:pt x="170" y="0"/>
                      <a:pt x="111" y="29"/>
                      <a:pt x="73" y="46"/>
                    </a:cubicBezTo>
                    <a:cubicBezTo>
                      <a:pt x="40" y="60"/>
                      <a:pt x="0" y="78"/>
                      <a:pt x="0" y="90"/>
                    </a:cubicBezTo>
                    <a:cubicBezTo>
                      <a:pt x="0" y="101"/>
                      <a:pt x="39" y="117"/>
                      <a:pt x="93" y="141"/>
                    </a:cubicBezTo>
                    <a:cubicBezTo>
                      <a:pt x="149" y="166"/>
                      <a:pt x="177" y="176"/>
                      <a:pt x="187" y="176"/>
                    </a:cubicBezTo>
                    <a:cubicBezTo>
                      <a:pt x="197" y="176"/>
                      <a:pt x="259" y="150"/>
                      <a:pt x="288" y="137"/>
                    </a:cubicBezTo>
                    <a:cubicBezTo>
                      <a:pt x="317" y="124"/>
                      <a:pt x="376" y="100"/>
                      <a:pt x="376" y="88"/>
                    </a:cubicBezTo>
                    <a:cubicBezTo>
                      <a:pt x="376" y="77"/>
                      <a:pt x="307" y="48"/>
                      <a:pt x="280" y="35"/>
                    </a:cubicBezTo>
                    <a:cubicBezTo>
                      <a:pt x="253" y="22"/>
                      <a:pt x="211" y="0"/>
                      <a:pt x="188" y="0"/>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90" name="Oval 33">
                <a:extLst>
                  <a:ext uri="{FF2B5EF4-FFF2-40B4-BE49-F238E27FC236}">
                    <a16:creationId xmlns:a16="http://schemas.microsoft.com/office/drawing/2014/main" id="{08F11819-3672-4EBD-90D5-0D9C67148AB9}"/>
                  </a:ext>
                </a:extLst>
              </p:cNvPr>
              <p:cNvSpPr>
                <a:spLocks noChangeArrowheads="1"/>
              </p:cNvSpPr>
              <p:nvPr/>
            </p:nvSpPr>
            <p:spPr bwMode="auto">
              <a:xfrm>
                <a:off x="3925" y="2837"/>
                <a:ext cx="155" cy="72"/>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491" name="Group 490">
              <a:extLst>
                <a:ext uri="{FF2B5EF4-FFF2-40B4-BE49-F238E27FC236}">
                  <a16:creationId xmlns:a16="http://schemas.microsoft.com/office/drawing/2014/main" id="{AE59DFFC-74E5-417A-B131-ED572DAC04DE}"/>
                </a:ext>
              </a:extLst>
            </p:cNvPr>
            <p:cNvGrpSpPr/>
            <p:nvPr/>
          </p:nvGrpSpPr>
          <p:grpSpPr>
            <a:xfrm>
              <a:off x="2534400" y="5267561"/>
              <a:ext cx="783537" cy="473633"/>
              <a:chOff x="2534400" y="5693058"/>
              <a:chExt cx="783537" cy="473633"/>
            </a:xfrm>
          </p:grpSpPr>
          <p:sp>
            <p:nvSpPr>
              <p:cNvPr id="492" name="Freeform: Shape 491">
                <a:extLst>
                  <a:ext uri="{FF2B5EF4-FFF2-40B4-BE49-F238E27FC236}">
                    <a16:creationId xmlns:a16="http://schemas.microsoft.com/office/drawing/2014/main" id="{C9678973-EA6F-43CA-932F-2E85E6BC3823}"/>
                  </a:ext>
                </a:extLst>
              </p:cNvPr>
              <p:cNvSpPr>
                <a:spLocks/>
              </p:cNvSpPr>
              <p:nvPr/>
            </p:nvSpPr>
            <p:spPr bwMode="auto">
              <a:xfrm rot="1125415">
                <a:off x="2534400" y="5693323"/>
                <a:ext cx="783537" cy="473368"/>
              </a:xfrm>
              <a:custGeom>
                <a:avLst/>
                <a:gdLst>
                  <a:gd name="connsiteX0" fmla="*/ 142031 w 783537"/>
                  <a:gd name="connsiteY0" fmla="*/ 15595 h 473368"/>
                  <a:gd name="connsiteX1" fmla="*/ 207427 w 783537"/>
                  <a:gd name="connsiteY1" fmla="*/ 0 h 473368"/>
                  <a:gd name="connsiteX2" fmla="*/ 504997 w 783537"/>
                  <a:gd name="connsiteY2" fmla="*/ 113786 h 473368"/>
                  <a:gd name="connsiteX3" fmla="*/ 779269 w 783537"/>
                  <a:gd name="connsiteY3" fmla="*/ 250025 h 473368"/>
                  <a:gd name="connsiteX4" fmla="*/ 783537 w 783537"/>
                  <a:gd name="connsiteY4" fmla="*/ 253271 h 473368"/>
                  <a:gd name="connsiteX5" fmla="*/ 135409 w 783537"/>
                  <a:gd name="connsiteY5" fmla="*/ 473368 h 473368"/>
                  <a:gd name="connsiteX6" fmla="*/ 0 w 783537"/>
                  <a:gd name="connsiteY6" fmla="*/ 74621 h 473368"/>
                  <a:gd name="connsiteX7" fmla="*/ 45705 w 783537"/>
                  <a:gd name="connsiteY7" fmla="*/ 54049 h 473368"/>
                  <a:gd name="connsiteX8" fmla="*/ 142031 w 783537"/>
                  <a:gd name="connsiteY8" fmla="*/ 15595 h 473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83537" h="473368">
                    <a:moveTo>
                      <a:pt x="142031" y="15595"/>
                    </a:moveTo>
                    <a:cubicBezTo>
                      <a:pt x="170029" y="5893"/>
                      <a:pt x="192873" y="0"/>
                      <a:pt x="207427" y="0"/>
                    </a:cubicBezTo>
                    <a:cubicBezTo>
                      <a:pt x="281820" y="0"/>
                      <a:pt x="417667" y="71523"/>
                      <a:pt x="504997" y="113786"/>
                    </a:cubicBezTo>
                    <a:cubicBezTo>
                      <a:pt x="570495" y="145484"/>
                      <a:pt x="712407" y="206441"/>
                      <a:pt x="779269" y="250025"/>
                    </a:cubicBezTo>
                    <a:lnTo>
                      <a:pt x="783537" y="253271"/>
                    </a:lnTo>
                    <a:lnTo>
                      <a:pt x="135409" y="473368"/>
                    </a:lnTo>
                    <a:lnTo>
                      <a:pt x="0" y="74621"/>
                    </a:lnTo>
                    <a:lnTo>
                      <a:pt x="45705" y="54049"/>
                    </a:lnTo>
                    <a:cubicBezTo>
                      <a:pt x="80879" y="38809"/>
                      <a:pt x="114032" y="25297"/>
                      <a:pt x="142031" y="15595"/>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93" name="Oval 25">
                <a:extLst>
                  <a:ext uri="{FF2B5EF4-FFF2-40B4-BE49-F238E27FC236}">
                    <a16:creationId xmlns:a16="http://schemas.microsoft.com/office/drawing/2014/main" id="{0E9785B2-ADDE-4C1C-A497-5E373894251D}"/>
                  </a:ext>
                </a:extLst>
              </p:cNvPr>
              <p:cNvSpPr>
                <a:spLocks noChangeArrowheads="1"/>
              </p:cNvSpPr>
              <p:nvPr/>
            </p:nvSpPr>
            <p:spPr bwMode="auto">
              <a:xfrm rot="1125415">
                <a:off x="2619620" y="5890163"/>
                <a:ext cx="200536" cy="87654"/>
              </a:xfrm>
              <a:prstGeom prst="ellipse">
                <a:avLst/>
              </a:pr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94" name="Oval 26">
                <a:extLst>
                  <a:ext uri="{FF2B5EF4-FFF2-40B4-BE49-F238E27FC236}">
                    <a16:creationId xmlns:a16="http://schemas.microsoft.com/office/drawing/2014/main" id="{A9093F36-3437-4E55-95B3-31E2575928B5}"/>
                  </a:ext>
                </a:extLst>
              </p:cNvPr>
              <p:cNvSpPr>
                <a:spLocks noChangeArrowheads="1"/>
              </p:cNvSpPr>
              <p:nvPr/>
            </p:nvSpPr>
            <p:spPr bwMode="auto">
              <a:xfrm rot="1125415">
                <a:off x="2606232" y="5861189"/>
                <a:ext cx="200536" cy="87654"/>
              </a:xfrm>
              <a:prstGeom prst="ellipse">
                <a:avLst/>
              </a:prstGeom>
              <a:solidFill>
                <a:srgbClr val="EC6669"/>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sp>
            <p:nvSpPr>
              <p:cNvPr id="495" name="Freeform 27">
                <a:extLst>
                  <a:ext uri="{FF2B5EF4-FFF2-40B4-BE49-F238E27FC236}">
                    <a16:creationId xmlns:a16="http://schemas.microsoft.com/office/drawing/2014/main" id="{873467B9-7B57-411E-A915-C2FAFBCD7D8F}"/>
                  </a:ext>
                </a:extLst>
              </p:cNvPr>
              <p:cNvSpPr>
                <a:spLocks/>
              </p:cNvSpPr>
              <p:nvPr/>
            </p:nvSpPr>
            <p:spPr bwMode="auto">
              <a:xfrm rot="1125415">
                <a:off x="2639649" y="5870360"/>
                <a:ext cx="165604" cy="84001"/>
              </a:xfrm>
              <a:custGeom>
                <a:avLst/>
                <a:gdLst>
                  <a:gd name="T0" fmla="*/ 555 w 51"/>
                  <a:gd name="T1" fmla="*/ 0 h 26"/>
                  <a:gd name="T2" fmla="*/ 713 w 51"/>
                  <a:gd name="T3" fmla="*/ 204 h 26"/>
                  <a:gd name="T4" fmla="*/ 238 w 51"/>
                  <a:gd name="T5" fmla="*/ 451 h 26"/>
                  <a:gd name="T6" fmla="*/ 0 w 51"/>
                  <a:gd name="T7" fmla="*/ 430 h 26"/>
                  <a:gd name="T8" fmla="*/ 314 w 51"/>
                  <a:gd name="T9" fmla="*/ 486 h 26"/>
                  <a:gd name="T10" fmla="*/ 806 w 51"/>
                  <a:gd name="T11" fmla="*/ 226 h 26"/>
                  <a:gd name="T12" fmla="*/ 555 w 51"/>
                  <a:gd name="T13" fmla="*/ 0 h 2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51" h="26">
                    <a:moveTo>
                      <a:pt x="35" y="0"/>
                    </a:moveTo>
                    <a:cubicBezTo>
                      <a:pt x="41" y="3"/>
                      <a:pt x="45" y="7"/>
                      <a:pt x="45" y="11"/>
                    </a:cubicBezTo>
                    <a:cubicBezTo>
                      <a:pt x="45" y="18"/>
                      <a:pt x="32" y="24"/>
                      <a:pt x="15" y="24"/>
                    </a:cubicBezTo>
                    <a:cubicBezTo>
                      <a:pt x="9" y="24"/>
                      <a:pt x="5" y="24"/>
                      <a:pt x="0" y="23"/>
                    </a:cubicBezTo>
                    <a:cubicBezTo>
                      <a:pt x="6" y="25"/>
                      <a:pt x="13" y="26"/>
                      <a:pt x="20" y="26"/>
                    </a:cubicBezTo>
                    <a:cubicBezTo>
                      <a:pt x="37" y="26"/>
                      <a:pt x="51" y="20"/>
                      <a:pt x="51" y="12"/>
                    </a:cubicBezTo>
                    <a:cubicBezTo>
                      <a:pt x="51" y="7"/>
                      <a:pt x="44" y="3"/>
                      <a:pt x="35" y="0"/>
                    </a:cubicBezTo>
                    <a:close/>
                  </a:path>
                </a:pathLst>
              </a:custGeom>
              <a:solidFill>
                <a:srgbClr val="F58677"/>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96" name="Freeform 28">
                <a:extLst>
                  <a:ext uri="{FF2B5EF4-FFF2-40B4-BE49-F238E27FC236}">
                    <a16:creationId xmlns:a16="http://schemas.microsoft.com/office/drawing/2014/main" id="{F63EB3D6-4416-4950-91F1-15D0692A51AB}"/>
                  </a:ext>
                </a:extLst>
              </p:cNvPr>
              <p:cNvSpPr>
                <a:spLocks/>
              </p:cNvSpPr>
              <p:nvPr/>
            </p:nvSpPr>
            <p:spPr bwMode="auto">
              <a:xfrm rot="1125415">
                <a:off x="2627352" y="5866639"/>
                <a:ext cx="148785" cy="64523"/>
              </a:xfrm>
              <a:custGeom>
                <a:avLst/>
                <a:gdLst>
                  <a:gd name="T0" fmla="*/ 63 w 46"/>
                  <a:gd name="T1" fmla="*/ 225 h 20"/>
                  <a:gd name="T2" fmla="*/ 470 w 46"/>
                  <a:gd name="T3" fmla="*/ 34 h 20"/>
                  <a:gd name="T4" fmla="*/ 720 w 46"/>
                  <a:gd name="T5" fmla="*/ 90 h 20"/>
                  <a:gd name="T6" fmla="*/ 395 w 46"/>
                  <a:gd name="T7" fmla="*/ 0 h 20"/>
                  <a:gd name="T8" fmla="*/ 0 w 46"/>
                  <a:gd name="T9" fmla="*/ 204 h 20"/>
                  <a:gd name="T10" fmla="*/ 158 w 46"/>
                  <a:gd name="T11" fmla="*/ 371 h 20"/>
                  <a:gd name="T12" fmla="*/ 63 w 46"/>
                  <a:gd name="T13" fmla="*/ 225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46" h="20">
                    <a:moveTo>
                      <a:pt x="4" y="12"/>
                    </a:moveTo>
                    <a:cubicBezTo>
                      <a:pt x="4" y="6"/>
                      <a:pt x="16" y="2"/>
                      <a:pt x="30" y="2"/>
                    </a:cubicBezTo>
                    <a:cubicBezTo>
                      <a:pt x="35" y="2"/>
                      <a:pt x="42" y="3"/>
                      <a:pt x="46" y="5"/>
                    </a:cubicBezTo>
                    <a:cubicBezTo>
                      <a:pt x="42" y="2"/>
                      <a:pt x="34" y="0"/>
                      <a:pt x="25" y="0"/>
                    </a:cubicBezTo>
                    <a:cubicBezTo>
                      <a:pt x="11" y="0"/>
                      <a:pt x="0" y="5"/>
                      <a:pt x="0" y="11"/>
                    </a:cubicBezTo>
                    <a:cubicBezTo>
                      <a:pt x="0" y="15"/>
                      <a:pt x="4" y="18"/>
                      <a:pt x="10" y="20"/>
                    </a:cubicBezTo>
                    <a:cubicBezTo>
                      <a:pt x="8" y="18"/>
                      <a:pt x="4" y="16"/>
                      <a:pt x="4" y="1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97" name="Freeform: Shape 496">
                <a:extLst>
                  <a:ext uri="{FF2B5EF4-FFF2-40B4-BE49-F238E27FC236}">
                    <a16:creationId xmlns:a16="http://schemas.microsoft.com/office/drawing/2014/main" id="{CF9187CB-065A-49B7-86A7-42D8FA8D1330}"/>
                  </a:ext>
                </a:extLst>
              </p:cNvPr>
              <p:cNvSpPr>
                <a:spLocks/>
              </p:cNvSpPr>
              <p:nvPr/>
            </p:nvSpPr>
            <p:spPr bwMode="auto">
              <a:xfrm rot="1125415">
                <a:off x="2536295" y="5693058"/>
                <a:ext cx="778834" cy="469498"/>
              </a:xfrm>
              <a:custGeom>
                <a:avLst/>
                <a:gdLst>
                  <a:gd name="connsiteX0" fmla="*/ 140820 w 778834"/>
                  <a:gd name="connsiteY0" fmla="*/ 15595 h 469498"/>
                  <a:gd name="connsiteX1" fmla="*/ 206216 w 778834"/>
                  <a:gd name="connsiteY1" fmla="*/ 0 h 469498"/>
                  <a:gd name="connsiteX2" fmla="*/ 503786 w 778834"/>
                  <a:gd name="connsiteY2" fmla="*/ 113786 h 469498"/>
                  <a:gd name="connsiteX3" fmla="*/ 778058 w 778834"/>
                  <a:gd name="connsiteY3" fmla="*/ 250025 h 469498"/>
                  <a:gd name="connsiteX4" fmla="*/ 778834 w 778834"/>
                  <a:gd name="connsiteY4" fmla="*/ 250615 h 469498"/>
                  <a:gd name="connsiteX5" fmla="*/ 134281 w 778834"/>
                  <a:gd name="connsiteY5" fmla="*/ 469498 h 469498"/>
                  <a:gd name="connsiteX6" fmla="*/ 0 w 778834"/>
                  <a:gd name="connsiteY6" fmla="*/ 74075 h 469498"/>
                  <a:gd name="connsiteX7" fmla="*/ 44494 w 778834"/>
                  <a:gd name="connsiteY7" fmla="*/ 54049 h 469498"/>
                  <a:gd name="connsiteX8" fmla="*/ 140820 w 778834"/>
                  <a:gd name="connsiteY8" fmla="*/ 15595 h 469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78834" h="469498">
                    <a:moveTo>
                      <a:pt x="140820" y="15595"/>
                    </a:moveTo>
                    <a:cubicBezTo>
                      <a:pt x="168818" y="5893"/>
                      <a:pt x="191662" y="0"/>
                      <a:pt x="206216" y="0"/>
                    </a:cubicBezTo>
                    <a:cubicBezTo>
                      <a:pt x="280609" y="0"/>
                      <a:pt x="416456" y="71523"/>
                      <a:pt x="503786" y="113786"/>
                    </a:cubicBezTo>
                    <a:cubicBezTo>
                      <a:pt x="569284" y="145484"/>
                      <a:pt x="711196" y="206441"/>
                      <a:pt x="778058" y="250025"/>
                    </a:cubicBezTo>
                    <a:lnTo>
                      <a:pt x="778834" y="250615"/>
                    </a:lnTo>
                    <a:lnTo>
                      <a:pt x="134281" y="469498"/>
                    </a:lnTo>
                    <a:lnTo>
                      <a:pt x="0" y="74075"/>
                    </a:lnTo>
                    <a:lnTo>
                      <a:pt x="44494" y="54049"/>
                    </a:lnTo>
                    <a:cubicBezTo>
                      <a:pt x="79668" y="38809"/>
                      <a:pt x="112821" y="25297"/>
                      <a:pt x="140820" y="15595"/>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498" name="Oval 33">
                <a:extLst>
                  <a:ext uri="{FF2B5EF4-FFF2-40B4-BE49-F238E27FC236}">
                    <a16:creationId xmlns:a16="http://schemas.microsoft.com/office/drawing/2014/main" id="{15B207E2-EC51-431B-A281-27FCB74C0138}"/>
                  </a:ext>
                </a:extLst>
              </p:cNvPr>
              <p:cNvSpPr>
                <a:spLocks noChangeArrowheads="1"/>
              </p:cNvSpPr>
              <p:nvPr/>
            </p:nvSpPr>
            <p:spPr bwMode="auto">
              <a:xfrm rot="1125415">
                <a:off x="2606232" y="5861189"/>
                <a:ext cx="200536" cy="87654"/>
              </a:xfrm>
              <a:prstGeom prst="ellipse">
                <a:avLst/>
              </a:prstGeom>
              <a:noFill/>
              <a:ln w="7938" cap="rnd">
                <a:solidFill>
                  <a:srgbClr val="FFFFFF"/>
                </a:solidFill>
                <a:round/>
                <a:headEnd/>
                <a:tailEnd/>
              </a:ln>
              <a:extLst>
                <a:ext uri="{909E8E84-426E-40DD-AFC4-6F175D3DCCD1}">
                  <a14:hiddenFill xmlns:a14="http://schemas.microsoft.com/office/drawing/2010/main">
                    <a:solidFill>
                      <a:srgbClr val="FFFFFF"/>
                    </a:solidFill>
                  </a14:hiddenFill>
                </a:ext>
              </a:extLst>
            </p:spPr>
            <p:txBody>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en-US" sz="1800" b="0" i="0" u="none" strike="noStrike" kern="1200" cap="none" spc="0" normalizeH="0" baseline="0" noProof="0">
                  <a:ln>
                    <a:noFill/>
                  </a:ln>
                  <a:solidFill>
                    <a:srgbClr val="212121"/>
                  </a:solidFill>
                  <a:effectLst/>
                  <a:uLnTx/>
                  <a:uFillTx/>
                  <a:latin typeface="Arial" panose="020B0604020202020204" pitchFamily="34" charset="0"/>
                  <a:ea typeface="ヒラギノ角ゴ ProN W3"/>
                  <a:cs typeface="Arial" panose="020B0604020202020204" pitchFamily="34" charset="0"/>
                </a:endParaRPr>
              </a:p>
            </p:txBody>
          </p:sp>
        </p:grpSp>
        <p:grpSp>
          <p:nvGrpSpPr>
            <p:cNvPr id="499" name="Group 498">
              <a:extLst>
                <a:ext uri="{FF2B5EF4-FFF2-40B4-BE49-F238E27FC236}">
                  <a16:creationId xmlns:a16="http://schemas.microsoft.com/office/drawing/2014/main" id="{BA941B69-6B26-437C-B6B4-70F2F5E6240A}"/>
                </a:ext>
              </a:extLst>
            </p:cNvPr>
            <p:cNvGrpSpPr/>
            <p:nvPr/>
          </p:nvGrpSpPr>
          <p:grpSpPr>
            <a:xfrm>
              <a:off x="4193539" y="5376736"/>
              <a:ext cx="967427" cy="370498"/>
              <a:chOff x="4193539" y="5806995"/>
              <a:chExt cx="967427" cy="370498"/>
            </a:xfrm>
          </p:grpSpPr>
          <p:sp>
            <p:nvSpPr>
              <p:cNvPr id="500" name="Freeform: Shape 499">
                <a:extLst>
                  <a:ext uri="{FF2B5EF4-FFF2-40B4-BE49-F238E27FC236}">
                    <a16:creationId xmlns:a16="http://schemas.microsoft.com/office/drawing/2014/main" id="{9EDDC926-8E54-4B40-94EA-17FAB508B77E}"/>
                  </a:ext>
                </a:extLst>
              </p:cNvPr>
              <p:cNvSpPr>
                <a:spLocks/>
              </p:cNvSpPr>
              <p:nvPr/>
            </p:nvSpPr>
            <p:spPr bwMode="auto">
              <a:xfrm rot="888235">
                <a:off x="4193539" y="5807445"/>
                <a:ext cx="967427" cy="370048"/>
              </a:xfrm>
              <a:custGeom>
                <a:avLst/>
                <a:gdLst>
                  <a:gd name="connsiteX0" fmla="*/ 580420 w 967427"/>
                  <a:gd name="connsiteY0" fmla="*/ 4159 h 370048"/>
                  <a:gd name="connsiteX1" fmla="*/ 608078 w 967427"/>
                  <a:gd name="connsiteY1" fmla="*/ 0 h 370048"/>
                  <a:gd name="connsiteX2" fmla="*/ 905648 w 967427"/>
                  <a:gd name="connsiteY2" fmla="*/ 113786 h 370048"/>
                  <a:gd name="connsiteX3" fmla="*/ 944063 w 967427"/>
                  <a:gd name="connsiteY3" fmla="*/ 131858 h 370048"/>
                  <a:gd name="connsiteX4" fmla="*/ 967427 w 967427"/>
                  <a:gd name="connsiteY4" fmla="*/ 142634 h 370048"/>
                  <a:gd name="connsiteX5" fmla="*/ 106936 w 967427"/>
                  <a:gd name="connsiteY5" fmla="*/ 370048 h 370048"/>
                  <a:gd name="connsiteX6" fmla="*/ 84904 w 967427"/>
                  <a:gd name="connsiteY6" fmla="*/ 359647 h 370048"/>
                  <a:gd name="connsiteX7" fmla="*/ 0 w 967427"/>
                  <a:gd name="connsiteY7" fmla="*/ 292594 h 370048"/>
                  <a:gd name="connsiteX8" fmla="*/ 236115 w 967427"/>
                  <a:gd name="connsiteY8" fmla="*/ 149548 h 370048"/>
                  <a:gd name="connsiteX9" fmla="*/ 580420 w 967427"/>
                  <a:gd name="connsiteY9" fmla="*/ 4159 h 3700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7427" h="370048">
                    <a:moveTo>
                      <a:pt x="580420" y="4159"/>
                    </a:moveTo>
                    <a:cubicBezTo>
                      <a:pt x="591451" y="1473"/>
                      <a:pt x="600800" y="0"/>
                      <a:pt x="608078" y="0"/>
                    </a:cubicBezTo>
                    <a:cubicBezTo>
                      <a:pt x="682470" y="0"/>
                      <a:pt x="818317" y="71523"/>
                      <a:pt x="905648" y="113786"/>
                    </a:cubicBezTo>
                    <a:cubicBezTo>
                      <a:pt x="916564" y="119069"/>
                      <a:pt x="929603" y="125165"/>
                      <a:pt x="944063" y="131858"/>
                    </a:cubicBezTo>
                    <a:lnTo>
                      <a:pt x="967427" y="142634"/>
                    </a:lnTo>
                    <a:lnTo>
                      <a:pt x="106936" y="370048"/>
                    </a:lnTo>
                    <a:lnTo>
                      <a:pt x="84904" y="359647"/>
                    </a:lnTo>
                    <a:cubicBezTo>
                      <a:pt x="31536" y="332419"/>
                      <a:pt x="0" y="310474"/>
                      <a:pt x="0" y="292594"/>
                    </a:cubicBezTo>
                    <a:cubicBezTo>
                      <a:pt x="0" y="253581"/>
                      <a:pt x="129378" y="195062"/>
                      <a:pt x="236115" y="149548"/>
                    </a:cubicBezTo>
                    <a:cubicBezTo>
                      <a:pt x="343661" y="101188"/>
                      <a:pt x="503210" y="22960"/>
                      <a:pt x="580420" y="4159"/>
                    </a:cubicBezTo>
                    <a:close/>
                  </a:path>
                </a:pathLst>
              </a:custGeom>
              <a:solidFill>
                <a:srgbClr val="F5ADAF"/>
              </a:solidFill>
              <a:ln>
                <a:noFill/>
              </a:ln>
              <a:extLst>
                <a:ext uri="{91240B29-F687-4F45-9708-019B960494DF}">
                  <a14:hiddenLine xmlns:a14="http://schemas.microsoft.com/office/drawing/2010/main" w="9525">
                    <a:solidFill>
                      <a:srgbClr val="000000"/>
                    </a:solidFill>
                    <a:round/>
                    <a:headEnd/>
                    <a:tailEnd/>
                  </a14:hiddenLine>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501" name="Freeform 30">
                <a:extLst>
                  <a:ext uri="{FF2B5EF4-FFF2-40B4-BE49-F238E27FC236}">
                    <a16:creationId xmlns:a16="http://schemas.microsoft.com/office/drawing/2014/main" id="{5548D558-DAF4-412D-8438-6EB4144F9EA3}"/>
                  </a:ext>
                </a:extLst>
              </p:cNvPr>
              <p:cNvSpPr>
                <a:spLocks/>
              </p:cNvSpPr>
              <p:nvPr/>
            </p:nvSpPr>
            <p:spPr bwMode="auto">
              <a:xfrm rot="888235">
                <a:off x="4358692" y="5833585"/>
                <a:ext cx="676648" cy="194786"/>
              </a:xfrm>
              <a:custGeom>
                <a:avLst/>
                <a:gdLst>
                  <a:gd name="T0" fmla="*/ 0 w 209"/>
                  <a:gd name="T1" fmla="*/ 1139 h 60"/>
                  <a:gd name="T2" fmla="*/ 2272 w 209"/>
                  <a:gd name="T3" fmla="*/ 35 h 60"/>
                  <a:gd name="T4" fmla="*/ 3276 w 209"/>
                  <a:gd name="T5" fmla="*/ 477 h 60"/>
                  <a:gd name="T6" fmla="*/ 2242 w 209"/>
                  <a:gd name="T7" fmla="*/ 285 h 60"/>
                  <a:gd name="T8" fmla="*/ 0 w 209"/>
                  <a:gd name="T9" fmla="*/ 1139 h 6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9" h="60">
                    <a:moveTo>
                      <a:pt x="0" y="60"/>
                    </a:moveTo>
                    <a:cubicBezTo>
                      <a:pt x="29" y="47"/>
                      <a:pt x="126" y="0"/>
                      <a:pt x="145" y="2"/>
                    </a:cubicBezTo>
                    <a:cubicBezTo>
                      <a:pt x="164" y="4"/>
                      <a:pt x="190" y="16"/>
                      <a:pt x="209" y="25"/>
                    </a:cubicBezTo>
                    <a:cubicBezTo>
                      <a:pt x="193" y="17"/>
                      <a:pt x="161" y="12"/>
                      <a:pt x="143" y="15"/>
                    </a:cubicBezTo>
                    <a:cubicBezTo>
                      <a:pt x="124" y="18"/>
                      <a:pt x="11" y="54"/>
                      <a:pt x="0" y="60"/>
                    </a:cubicBezTo>
                    <a:close/>
                  </a:path>
                </a:pathLst>
              </a:custGeom>
              <a:solidFill>
                <a:srgbClr val="FDEAE4"/>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sp>
            <p:nvSpPr>
              <p:cNvPr id="502" name="Freeform: Shape 501">
                <a:extLst>
                  <a:ext uri="{FF2B5EF4-FFF2-40B4-BE49-F238E27FC236}">
                    <a16:creationId xmlns:a16="http://schemas.microsoft.com/office/drawing/2014/main" id="{85425076-DBFD-4990-AC53-C95C3FC91122}"/>
                  </a:ext>
                </a:extLst>
              </p:cNvPr>
              <p:cNvSpPr>
                <a:spLocks/>
              </p:cNvSpPr>
              <p:nvPr/>
            </p:nvSpPr>
            <p:spPr bwMode="auto">
              <a:xfrm rot="888235">
                <a:off x="4193824" y="5806995"/>
                <a:ext cx="963676" cy="368304"/>
              </a:xfrm>
              <a:custGeom>
                <a:avLst/>
                <a:gdLst>
                  <a:gd name="connsiteX0" fmla="*/ 580420 w 963676"/>
                  <a:gd name="connsiteY0" fmla="*/ 4159 h 368304"/>
                  <a:gd name="connsiteX1" fmla="*/ 608078 w 963676"/>
                  <a:gd name="connsiteY1" fmla="*/ 0 h 368304"/>
                  <a:gd name="connsiteX2" fmla="*/ 905648 w 963676"/>
                  <a:gd name="connsiteY2" fmla="*/ 113786 h 368304"/>
                  <a:gd name="connsiteX3" fmla="*/ 944063 w 963676"/>
                  <a:gd name="connsiteY3" fmla="*/ 131858 h 368304"/>
                  <a:gd name="connsiteX4" fmla="*/ 963676 w 963676"/>
                  <a:gd name="connsiteY4" fmla="*/ 140904 h 368304"/>
                  <a:gd name="connsiteX5" fmla="*/ 103241 w 963676"/>
                  <a:gd name="connsiteY5" fmla="*/ 368304 h 368304"/>
                  <a:gd name="connsiteX6" fmla="*/ 84904 w 963676"/>
                  <a:gd name="connsiteY6" fmla="*/ 359647 h 368304"/>
                  <a:gd name="connsiteX7" fmla="*/ 0 w 963676"/>
                  <a:gd name="connsiteY7" fmla="*/ 292594 h 368304"/>
                  <a:gd name="connsiteX8" fmla="*/ 236115 w 963676"/>
                  <a:gd name="connsiteY8" fmla="*/ 149548 h 368304"/>
                  <a:gd name="connsiteX9" fmla="*/ 580420 w 963676"/>
                  <a:gd name="connsiteY9" fmla="*/ 4159 h 36830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63676" h="368304">
                    <a:moveTo>
                      <a:pt x="580420" y="4159"/>
                    </a:moveTo>
                    <a:cubicBezTo>
                      <a:pt x="591451" y="1473"/>
                      <a:pt x="600800" y="0"/>
                      <a:pt x="608078" y="0"/>
                    </a:cubicBezTo>
                    <a:cubicBezTo>
                      <a:pt x="682470" y="0"/>
                      <a:pt x="818317" y="71523"/>
                      <a:pt x="905648" y="113786"/>
                    </a:cubicBezTo>
                    <a:cubicBezTo>
                      <a:pt x="916564" y="119069"/>
                      <a:pt x="929603" y="125165"/>
                      <a:pt x="944063" y="131858"/>
                    </a:cubicBezTo>
                    <a:lnTo>
                      <a:pt x="963676" y="140904"/>
                    </a:lnTo>
                    <a:lnTo>
                      <a:pt x="103241" y="368304"/>
                    </a:lnTo>
                    <a:lnTo>
                      <a:pt x="84904" y="359647"/>
                    </a:lnTo>
                    <a:cubicBezTo>
                      <a:pt x="31536" y="332419"/>
                      <a:pt x="0" y="310474"/>
                      <a:pt x="0" y="292594"/>
                    </a:cubicBezTo>
                    <a:cubicBezTo>
                      <a:pt x="0" y="253581"/>
                      <a:pt x="129378" y="195062"/>
                      <a:pt x="236115" y="149548"/>
                    </a:cubicBezTo>
                    <a:cubicBezTo>
                      <a:pt x="343661" y="101188"/>
                      <a:pt x="503210" y="22960"/>
                      <a:pt x="580420" y="4159"/>
                    </a:cubicBezTo>
                    <a:close/>
                  </a:path>
                </a:pathLst>
              </a:custGeom>
              <a:noFill/>
              <a:ln w="7938" cap="rnd">
                <a:solidFill>
                  <a:srgbClr val="333333"/>
                </a:solidFill>
                <a:prstDash val="solid"/>
                <a:round/>
                <a:headEnd/>
                <a:tailEnd/>
              </a:ln>
              <a:extLst>
                <a:ext uri="{909E8E84-426E-40DD-AFC4-6F175D3DCCD1}">
                  <a14:hiddenFill xmlns:a14="http://schemas.microsoft.com/office/drawing/2010/main">
                    <a:solidFill>
                      <a:srgbClr val="FFFFFF"/>
                    </a:solidFill>
                  </a14:hiddenFill>
                </a:ext>
              </a:extLst>
            </p:spPr>
            <p:txBody>
              <a:bodyPr wrap="square">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212121"/>
                  </a:solidFill>
                  <a:effectLst/>
                  <a:uLnTx/>
                  <a:uFillTx/>
                  <a:latin typeface="Arial"/>
                  <a:ea typeface="ヒラギノ角ゴ ProN W3"/>
                  <a:cs typeface="+mn-cs"/>
                </a:endParaRPr>
              </a:p>
            </p:txBody>
          </p:sp>
        </p:grpSp>
        <p:sp>
          <p:nvSpPr>
            <p:cNvPr id="503" name="TextBox 502">
              <a:extLst>
                <a:ext uri="{FF2B5EF4-FFF2-40B4-BE49-F238E27FC236}">
                  <a16:creationId xmlns:a16="http://schemas.microsoft.com/office/drawing/2014/main" id="{27C02C55-3589-4321-8E85-DB4DB6371848}"/>
                </a:ext>
              </a:extLst>
            </p:cNvPr>
            <p:cNvSpPr txBox="1"/>
            <p:nvPr/>
          </p:nvSpPr>
          <p:spPr>
            <a:xfrm>
              <a:off x="3684115" y="1644974"/>
              <a:ext cx="1177200" cy="461665"/>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Endothelin pathway</a:t>
              </a:r>
            </a:p>
          </p:txBody>
        </p:sp>
        <p:sp>
          <p:nvSpPr>
            <p:cNvPr id="504" name="TextBox 503">
              <a:extLst>
                <a:ext uri="{FF2B5EF4-FFF2-40B4-BE49-F238E27FC236}">
                  <a16:creationId xmlns:a16="http://schemas.microsoft.com/office/drawing/2014/main" id="{2C05D4BC-FF6B-4658-A4D7-20F665090056}"/>
                </a:ext>
              </a:extLst>
            </p:cNvPr>
            <p:cNvSpPr txBox="1"/>
            <p:nvPr/>
          </p:nvSpPr>
          <p:spPr>
            <a:xfrm>
              <a:off x="6776239" y="2249611"/>
              <a:ext cx="1177402" cy="461665"/>
            </a:xfrm>
            <a:prstGeom prst="rect">
              <a:avLst/>
            </a:prstGeom>
            <a:noFill/>
          </p:spPr>
          <p:txBody>
            <a:bodyPr wrap="square" lIns="0" r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1" i="0" u="none" strike="noStrike" cap="none" spc="0" normalizeH="0" baseline="0">
                  <a:ln>
                    <a:noFill/>
                  </a:ln>
                  <a:solidFill>
                    <a:schemeClr val="bg1"/>
                  </a:solidFill>
                  <a:effectLst/>
                  <a:uLnTx/>
                  <a:uFillTx/>
                  <a:latin typeface="Verdana" panose="020B0604030504040204" pitchFamily="34" charset="0"/>
                  <a:ea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Nitric oxid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pathway</a:t>
              </a:r>
            </a:p>
          </p:txBody>
        </p:sp>
        <p:sp>
          <p:nvSpPr>
            <p:cNvPr id="505" name="TextBox 504">
              <a:extLst>
                <a:ext uri="{FF2B5EF4-FFF2-40B4-BE49-F238E27FC236}">
                  <a16:creationId xmlns:a16="http://schemas.microsoft.com/office/drawing/2014/main" id="{0513B895-957A-4225-BDAD-49D3DB295E42}"/>
                </a:ext>
              </a:extLst>
            </p:cNvPr>
            <p:cNvSpPr txBox="1"/>
            <p:nvPr/>
          </p:nvSpPr>
          <p:spPr>
            <a:xfrm>
              <a:off x="9754875" y="2384213"/>
              <a:ext cx="1177200" cy="461665"/>
            </a:xfrm>
            <a:prstGeom prst="rect">
              <a:avLst/>
            </a:prstGeom>
            <a:noFill/>
          </p:spPr>
          <p:txBody>
            <a:bodyPr wrap="square" lIns="0" rIns="0" rtlCol="0">
              <a:spAutoFit/>
            </a:bodyPr>
            <a:lstStyle>
              <a:defPPr>
                <a:defRPr lang="en-US"/>
              </a:defPPr>
              <a:lvl1pPr marR="0" lvl="0" indent="0" algn="ctr" fontAlgn="auto">
                <a:lnSpc>
                  <a:spcPct val="100000"/>
                </a:lnSpc>
                <a:spcBef>
                  <a:spcPts val="0"/>
                </a:spcBef>
                <a:spcAft>
                  <a:spcPts val="0"/>
                </a:spcAft>
                <a:buClrTx/>
                <a:buSzTx/>
                <a:buFontTx/>
                <a:buNone/>
                <a:tabLst/>
                <a:defRPr kumimoji="0" sz="1000" b="1" i="0" u="none" strike="noStrike" cap="none" spc="0" normalizeH="0" baseline="0">
                  <a:ln>
                    <a:noFill/>
                  </a:ln>
                  <a:solidFill>
                    <a:schemeClr val="bg1"/>
                  </a:solidFill>
                  <a:effectLst/>
                  <a:uLnTx/>
                  <a:uFillTx/>
                  <a:latin typeface="Verdana" panose="020B0604030504040204" pitchFamily="34" charset="0"/>
                  <a:ea typeface="Verdana" panose="020B0604030504040204" pitchFamily="34" charset="0"/>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Prostacyclin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pathway</a:t>
              </a:r>
            </a:p>
          </p:txBody>
        </p:sp>
        <p:sp>
          <p:nvSpPr>
            <p:cNvPr id="506" name="Oval 505">
              <a:extLst>
                <a:ext uri="{FF2B5EF4-FFF2-40B4-BE49-F238E27FC236}">
                  <a16:creationId xmlns:a16="http://schemas.microsoft.com/office/drawing/2014/main" id="{C8C33C97-E8A3-4439-A71D-60684CF8CFEE}"/>
                </a:ext>
              </a:extLst>
            </p:cNvPr>
            <p:cNvSpPr/>
            <p:nvPr/>
          </p:nvSpPr>
          <p:spPr bwMode="auto">
            <a:xfrm>
              <a:off x="3843518" y="2148083"/>
              <a:ext cx="169210" cy="160796"/>
            </a:xfrm>
            <a:prstGeom prst="ellipse">
              <a:avLst/>
            </a:prstGeom>
            <a:solidFill>
              <a:srgbClr val="FFC0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07" name="Oval 506">
              <a:extLst>
                <a:ext uri="{FF2B5EF4-FFF2-40B4-BE49-F238E27FC236}">
                  <a16:creationId xmlns:a16="http://schemas.microsoft.com/office/drawing/2014/main" id="{368B2EB7-041F-46AA-85B3-E0C8ABF7CADE}"/>
                </a:ext>
              </a:extLst>
            </p:cNvPr>
            <p:cNvSpPr/>
            <p:nvPr/>
          </p:nvSpPr>
          <p:spPr bwMode="auto">
            <a:xfrm>
              <a:off x="3770550" y="2404986"/>
              <a:ext cx="169210" cy="160796"/>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08" name="Oval 507">
              <a:extLst>
                <a:ext uri="{FF2B5EF4-FFF2-40B4-BE49-F238E27FC236}">
                  <a16:creationId xmlns:a16="http://schemas.microsoft.com/office/drawing/2014/main" id="{BF43C155-4206-4639-95F3-8CD52198B576}"/>
                </a:ext>
              </a:extLst>
            </p:cNvPr>
            <p:cNvSpPr/>
            <p:nvPr/>
          </p:nvSpPr>
          <p:spPr bwMode="auto">
            <a:xfrm>
              <a:off x="3404258" y="2870420"/>
              <a:ext cx="169210" cy="160796"/>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09" name="Oval 508">
              <a:extLst>
                <a:ext uri="{FF2B5EF4-FFF2-40B4-BE49-F238E27FC236}">
                  <a16:creationId xmlns:a16="http://schemas.microsoft.com/office/drawing/2014/main" id="{D6D829A4-FF03-45C7-83BE-6C62722BF1BD}"/>
                </a:ext>
              </a:extLst>
            </p:cNvPr>
            <p:cNvSpPr/>
            <p:nvPr/>
          </p:nvSpPr>
          <p:spPr bwMode="auto">
            <a:xfrm>
              <a:off x="3960450" y="2704725"/>
              <a:ext cx="169210" cy="160796"/>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10" name="Oval 509">
              <a:extLst>
                <a:ext uri="{FF2B5EF4-FFF2-40B4-BE49-F238E27FC236}">
                  <a16:creationId xmlns:a16="http://schemas.microsoft.com/office/drawing/2014/main" id="{B58D7C0C-00E9-487A-92CB-E529F43458E9}"/>
                </a:ext>
              </a:extLst>
            </p:cNvPr>
            <p:cNvSpPr/>
            <p:nvPr/>
          </p:nvSpPr>
          <p:spPr bwMode="auto">
            <a:xfrm>
              <a:off x="4409688" y="2850799"/>
              <a:ext cx="169210" cy="160796"/>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11" name="Rectangle 510">
              <a:extLst>
                <a:ext uri="{FF2B5EF4-FFF2-40B4-BE49-F238E27FC236}">
                  <a16:creationId xmlns:a16="http://schemas.microsoft.com/office/drawing/2014/main" id="{7DCBCEAD-3541-4D94-B6C6-1C26C303DF07}"/>
                </a:ext>
              </a:extLst>
            </p:cNvPr>
            <p:cNvSpPr/>
            <p:nvPr/>
          </p:nvSpPr>
          <p:spPr>
            <a:xfrm>
              <a:off x="3682535" y="3963873"/>
              <a:ext cx="356187"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12700" cmpd="sng">
                    <a:solidFill>
                      <a:srgbClr val="349941"/>
                    </a:solidFill>
                    <a:prstDash val="solid"/>
                  </a:ln>
                  <a:solidFill>
                    <a:srgbClr val="FFFFFF"/>
                  </a:solidFill>
                  <a:effectLst/>
                  <a:uLnTx/>
                  <a:uFillTx/>
                  <a:latin typeface="Arial"/>
                  <a:ea typeface="ヒラギノ角ゴ ProN W3"/>
                  <a:cs typeface="+mn-cs"/>
                </a:rPr>
                <a:t>Y</a:t>
              </a:r>
            </a:p>
          </p:txBody>
        </p:sp>
        <p:sp>
          <p:nvSpPr>
            <p:cNvPr id="512" name="Rectangle 511">
              <a:extLst>
                <a:ext uri="{FF2B5EF4-FFF2-40B4-BE49-F238E27FC236}">
                  <a16:creationId xmlns:a16="http://schemas.microsoft.com/office/drawing/2014/main" id="{9556D509-ACEF-47F4-BD15-8CDBB7464F97}"/>
                </a:ext>
              </a:extLst>
            </p:cNvPr>
            <p:cNvSpPr/>
            <p:nvPr/>
          </p:nvSpPr>
          <p:spPr>
            <a:xfrm>
              <a:off x="4239044" y="3828191"/>
              <a:ext cx="356187"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12700" cmpd="sng">
                    <a:solidFill>
                      <a:srgbClr val="349941"/>
                    </a:solidFill>
                    <a:prstDash val="solid"/>
                  </a:ln>
                  <a:solidFill>
                    <a:srgbClr val="FFFF66"/>
                  </a:solidFill>
                  <a:effectLst/>
                  <a:uLnTx/>
                  <a:uFillTx/>
                  <a:latin typeface="Arial"/>
                  <a:ea typeface="ヒラギノ角ゴ ProN W3"/>
                  <a:cs typeface="+mn-cs"/>
                </a:rPr>
                <a:t>Y</a:t>
              </a:r>
            </a:p>
          </p:txBody>
        </p:sp>
        <p:sp>
          <p:nvSpPr>
            <p:cNvPr id="513" name="Oval 512">
              <a:extLst>
                <a:ext uri="{FF2B5EF4-FFF2-40B4-BE49-F238E27FC236}">
                  <a16:creationId xmlns:a16="http://schemas.microsoft.com/office/drawing/2014/main" id="{02AA6784-0880-41D3-A607-9B0C8BB0E4E4}"/>
                </a:ext>
              </a:extLst>
            </p:cNvPr>
            <p:cNvSpPr/>
            <p:nvPr/>
          </p:nvSpPr>
          <p:spPr bwMode="auto">
            <a:xfrm>
              <a:off x="4271143" y="3205310"/>
              <a:ext cx="169210" cy="160796"/>
            </a:xfrm>
            <a:prstGeom prst="ellipse">
              <a:avLst/>
            </a:prstGeom>
            <a:solidFill>
              <a:srgbClr val="FFFF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14" name="Oval 513">
              <a:extLst>
                <a:ext uri="{FF2B5EF4-FFF2-40B4-BE49-F238E27FC236}">
                  <a16:creationId xmlns:a16="http://schemas.microsoft.com/office/drawing/2014/main" id="{54683B48-0AA2-481E-94D2-809BA88B1A67}"/>
                </a:ext>
              </a:extLst>
            </p:cNvPr>
            <p:cNvSpPr/>
            <p:nvPr/>
          </p:nvSpPr>
          <p:spPr bwMode="auto">
            <a:xfrm>
              <a:off x="7015451" y="2851947"/>
              <a:ext cx="169210" cy="160796"/>
            </a:xfrm>
            <a:prstGeom prst="ellipse">
              <a:avLst/>
            </a:prstGeom>
            <a:solidFill>
              <a:schemeClr val="accent4"/>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15" name="Oval 514">
              <a:extLst>
                <a:ext uri="{FF2B5EF4-FFF2-40B4-BE49-F238E27FC236}">
                  <a16:creationId xmlns:a16="http://schemas.microsoft.com/office/drawing/2014/main" id="{337D0681-2A5C-4E0F-8803-046449E7CA95}"/>
                </a:ext>
              </a:extLst>
            </p:cNvPr>
            <p:cNvSpPr/>
            <p:nvPr/>
          </p:nvSpPr>
          <p:spPr bwMode="auto">
            <a:xfrm>
              <a:off x="6921524" y="4713379"/>
              <a:ext cx="366912" cy="288000"/>
            </a:xfrm>
            <a:prstGeom prst="ellipse">
              <a:avLst/>
            </a:prstGeom>
            <a:solidFill>
              <a:srgbClr val="8A000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16" name="Rectangle 515">
              <a:extLst>
                <a:ext uri="{FF2B5EF4-FFF2-40B4-BE49-F238E27FC236}">
                  <a16:creationId xmlns:a16="http://schemas.microsoft.com/office/drawing/2014/main" id="{AE14C133-9A1B-46C5-95C0-04B649BF529F}"/>
                </a:ext>
              </a:extLst>
            </p:cNvPr>
            <p:cNvSpPr/>
            <p:nvPr/>
          </p:nvSpPr>
          <p:spPr>
            <a:xfrm>
              <a:off x="10471880" y="4675539"/>
              <a:ext cx="356187" cy="400110"/>
            </a:xfrm>
            <a:prstGeom prst="rect">
              <a:avLst/>
            </a:prstGeom>
            <a:noFill/>
          </p:spPr>
          <p:txBody>
            <a:bodyPr wrap="none" lIns="91440" tIns="45720" rIns="91440" bIns="4572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a:ln w="12700" cmpd="sng">
                    <a:solidFill>
                      <a:srgbClr val="349941"/>
                    </a:solidFill>
                    <a:prstDash val="solid"/>
                  </a:ln>
                  <a:solidFill>
                    <a:srgbClr val="FF7C80"/>
                  </a:solidFill>
                  <a:effectLst/>
                  <a:uLnTx/>
                  <a:uFillTx/>
                  <a:latin typeface="Arial"/>
                  <a:ea typeface="ヒラギノ角ゴ ProN W3"/>
                  <a:cs typeface="+mn-cs"/>
                </a:rPr>
                <a:t>Y</a:t>
              </a:r>
            </a:p>
          </p:txBody>
        </p:sp>
        <p:sp>
          <p:nvSpPr>
            <p:cNvPr id="517" name="Oval 516">
              <a:extLst>
                <a:ext uri="{FF2B5EF4-FFF2-40B4-BE49-F238E27FC236}">
                  <a16:creationId xmlns:a16="http://schemas.microsoft.com/office/drawing/2014/main" id="{C702B3B4-B129-479B-8474-D280C50DA316}"/>
                </a:ext>
              </a:extLst>
            </p:cNvPr>
            <p:cNvSpPr/>
            <p:nvPr/>
          </p:nvSpPr>
          <p:spPr bwMode="auto">
            <a:xfrm>
              <a:off x="6588168" y="3349296"/>
              <a:ext cx="169210" cy="160796"/>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endParaRPr>
            </a:p>
          </p:txBody>
        </p:sp>
        <p:sp>
          <p:nvSpPr>
            <p:cNvPr id="518" name="Oval 517">
              <a:extLst>
                <a:ext uri="{FF2B5EF4-FFF2-40B4-BE49-F238E27FC236}">
                  <a16:creationId xmlns:a16="http://schemas.microsoft.com/office/drawing/2014/main" id="{781CA26F-6738-45E2-A44E-C570E316FD34}"/>
                </a:ext>
              </a:extLst>
            </p:cNvPr>
            <p:cNvSpPr/>
            <p:nvPr/>
          </p:nvSpPr>
          <p:spPr bwMode="auto">
            <a:xfrm>
              <a:off x="7083125" y="3369905"/>
              <a:ext cx="169210" cy="160796"/>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endParaRPr>
            </a:p>
          </p:txBody>
        </p:sp>
        <p:sp>
          <p:nvSpPr>
            <p:cNvPr id="519" name="Oval 518">
              <a:extLst>
                <a:ext uri="{FF2B5EF4-FFF2-40B4-BE49-F238E27FC236}">
                  <a16:creationId xmlns:a16="http://schemas.microsoft.com/office/drawing/2014/main" id="{B79B76E1-74B0-4634-8685-9DA61535D500}"/>
                </a:ext>
              </a:extLst>
            </p:cNvPr>
            <p:cNvSpPr/>
            <p:nvPr/>
          </p:nvSpPr>
          <p:spPr bwMode="auto">
            <a:xfrm>
              <a:off x="7580363" y="3636781"/>
              <a:ext cx="169210" cy="160796"/>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endParaRPr>
            </a:p>
          </p:txBody>
        </p:sp>
        <p:sp>
          <p:nvSpPr>
            <p:cNvPr id="520" name="Oval 519">
              <a:extLst>
                <a:ext uri="{FF2B5EF4-FFF2-40B4-BE49-F238E27FC236}">
                  <a16:creationId xmlns:a16="http://schemas.microsoft.com/office/drawing/2014/main" id="{94D1C564-86FC-4227-8F54-34ADD2B5214D}"/>
                </a:ext>
              </a:extLst>
            </p:cNvPr>
            <p:cNvSpPr/>
            <p:nvPr/>
          </p:nvSpPr>
          <p:spPr bwMode="auto">
            <a:xfrm>
              <a:off x="7445686" y="4027021"/>
              <a:ext cx="169210" cy="160796"/>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endParaRPr>
            </a:p>
          </p:txBody>
        </p:sp>
        <p:sp>
          <p:nvSpPr>
            <p:cNvPr id="521" name="Oval 520">
              <a:extLst>
                <a:ext uri="{FF2B5EF4-FFF2-40B4-BE49-F238E27FC236}">
                  <a16:creationId xmlns:a16="http://schemas.microsoft.com/office/drawing/2014/main" id="{5BAB477C-A764-47E2-AC7F-81B97CCE7C93}"/>
                </a:ext>
              </a:extLst>
            </p:cNvPr>
            <p:cNvSpPr/>
            <p:nvPr/>
          </p:nvSpPr>
          <p:spPr bwMode="auto">
            <a:xfrm>
              <a:off x="7624962" y="3380085"/>
              <a:ext cx="169210" cy="160796"/>
            </a:xfrm>
            <a:prstGeom prst="ellipse">
              <a:avLst/>
            </a:prstGeom>
            <a:solidFill>
              <a:srgbClr val="92D050"/>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endParaRPr>
            </a:p>
          </p:txBody>
        </p:sp>
        <p:sp>
          <p:nvSpPr>
            <p:cNvPr id="522" name="Oval 521">
              <a:extLst>
                <a:ext uri="{FF2B5EF4-FFF2-40B4-BE49-F238E27FC236}">
                  <a16:creationId xmlns:a16="http://schemas.microsoft.com/office/drawing/2014/main" id="{A87D9B19-0752-4323-ABF2-54F8D9118760}"/>
                </a:ext>
              </a:extLst>
            </p:cNvPr>
            <p:cNvSpPr/>
            <p:nvPr/>
          </p:nvSpPr>
          <p:spPr bwMode="auto">
            <a:xfrm>
              <a:off x="10062478" y="2971255"/>
              <a:ext cx="169210" cy="160796"/>
            </a:xfrm>
            <a:prstGeom prst="ellipse">
              <a:avLst/>
            </a:prstGeom>
            <a:solidFill>
              <a:schemeClr val="accent2"/>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23" name="Oval 522">
              <a:extLst>
                <a:ext uri="{FF2B5EF4-FFF2-40B4-BE49-F238E27FC236}">
                  <a16:creationId xmlns:a16="http://schemas.microsoft.com/office/drawing/2014/main" id="{94E101BA-DD4F-41CE-AEEB-2C6EA0762505}"/>
                </a:ext>
              </a:extLst>
            </p:cNvPr>
            <p:cNvSpPr/>
            <p:nvPr/>
          </p:nvSpPr>
          <p:spPr bwMode="auto">
            <a:xfrm>
              <a:off x="10039951" y="3398888"/>
              <a:ext cx="169210" cy="160796"/>
            </a:xfrm>
            <a:prstGeom prst="ellipse">
              <a:avLst/>
            </a:prstGeom>
            <a:solidFill>
              <a:schemeClr val="accent2">
                <a:lumMod val="60000"/>
                <a:lumOff val="40000"/>
              </a:schemeClr>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24" name="Oval 523">
              <a:extLst>
                <a:ext uri="{FF2B5EF4-FFF2-40B4-BE49-F238E27FC236}">
                  <a16:creationId xmlns:a16="http://schemas.microsoft.com/office/drawing/2014/main" id="{40CC8DC1-B847-45B6-9B01-7DE66BFE98C3}"/>
                </a:ext>
              </a:extLst>
            </p:cNvPr>
            <p:cNvSpPr/>
            <p:nvPr/>
          </p:nvSpPr>
          <p:spPr bwMode="auto">
            <a:xfrm>
              <a:off x="10451551" y="3646080"/>
              <a:ext cx="169210" cy="160796"/>
            </a:xfrm>
            <a:prstGeom prst="ellipse">
              <a:avLst/>
            </a:prstGeom>
            <a:solidFill>
              <a:schemeClr val="accent2">
                <a:lumMod val="60000"/>
                <a:lumOff val="40000"/>
              </a:schemeClr>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25" name="Oval 524">
              <a:extLst>
                <a:ext uri="{FF2B5EF4-FFF2-40B4-BE49-F238E27FC236}">
                  <a16:creationId xmlns:a16="http://schemas.microsoft.com/office/drawing/2014/main" id="{61C42D92-BE44-4119-80FD-A95284F176C7}"/>
                </a:ext>
              </a:extLst>
            </p:cNvPr>
            <p:cNvSpPr/>
            <p:nvPr/>
          </p:nvSpPr>
          <p:spPr bwMode="auto">
            <a:xfrm>
              <a:off x="10323929" y="3992388"/>
              <a:ext cx="169210" cy="160796"/>
            </a:xfrm>
            <a:prstGeom prst="ellipse">
              <a:avLst/>
            </a:prstGeom>
            <a:solidFill>
              <a:schemeClr val="accent2">
                <a:lumMod val="60000"/>
                <a:lumOff val="40000"/>
              </a:schemeClr>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26" name="Oval 525">
              <a:extLst>
                <a:ext uri="{FF2B5EF4-FFF2-40B4-BE49-F238E27FC236}">
                  <a16:creationId xmlns:a16="http://schemas.microsoft.com/office/drawing/2014/main" id="{C4F90F9C-A537-4A5C-944F-163F12FA7922}"/>
                </a:ext>
              </a:extLst>
            </p:cNvPr>
            <p:cNvSpPr/>
            <p:nvPr/>
          </p:nvSpPr>
          <p:spPr bwMode="auto">
            <a:xfrm>
              <a:off x="9956649" y="3788248"/>
              <a:ext cx="169210" cy="160796"/>
            </a:xfrm>
            <a:prstGeom prst="ellipse">
              <a:avLst/>
            </a:prstGeom>
            <a:solidFill>
              <a:schemeClr val="accent2">
                <a:lumMod val="60000"/>
                <a:lumOff val="40000"/>
              </a:schemeClr>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27" name="Rectangle: Rounded Corners 526">
              <a:extLst>
                <a:ext uri="{FF2B5EF4-FFF2-40B4-BE49-F238E27FC236}">
                  <a16:creationId xmlns:a16="http://schemas.microsoft.com/office/drawing/2014/main" id="{85E5DF9B-2392-4A2A-BAAD-893BE9E82849}"/>
                </a:ext>
              </a:extLst>
            </p:cNvPr>
            <p:cNvSpPr/>
            <p:nvPr/>
          </p:nvSpPr>
          <p:spPr bwMode="auto">
            <a:xfrm>
              <a:off x="4714752" y="3351736"/>
              <a:ext cx="955820" cy="250697"/>
            </a:xfrm>
            <a:prstGeom prst="roundRect">
              <a:avLst/>
            </a:prstGeom>
            <a:noFill/>
            <a:ln w="19050" cap="flat" cmpd="sng" algn="ctr">
              <a:solidFill>
                <a:srgbClr val="FF7C80"/>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sym typeface="Arial" pitchFamily="-110" charset="0"/>
                </a:rPr>
                <a:t>Dual ERA </a:t>
              </a:r>
            </a:p>
          </p:txBody>
        </p:sp>
        <p:sp>
          <p:nvSpPr>
            <p:cNvPr id="528" name="Rectangle: Rounded Corners 527">
              <a:extLst>
                <a:ext uri="{FF2B5EF4-FFF2-40B4-BE49-F238E27FC236}">
                  <a16:creationId xmlns:a16="http://schemas.microsoft.com/office/drawing/2014/main" id="{7221482F-CB39-4995-BB96-D516857C7FED}"/>
                </a:ext>
              </a:extLst>
            </p:cNvPr>
            <p:cNvSpPr/>
            <p:nvPr/>
          </p:nvSpPr>
          <p:spPr bwMode="auto">
            <a:xfrm>
              <a:off x="2776495" y="3312153"/>
              <a:ext cx="1010337" cy="250697"/>
            </a:xfrm>
            <a:prstGeom prst="roundRect">
              <a:avLst/>
            </a:prstGeom>
            <a:noFill/>
            <a:ln w="19050" cap="flat" cmpd="sng" algn="ctr">
              <a:solidFill>
                <a:srgbClr val="FF7C80"/>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Selective ERA</a:t>
              </a:r>
            </a:p>
          </p:txBody>
        </p:sp>
        <p:sp>
          <p:nvSpPr>
            <p:cNvPr id="529" name="Rectangle: Rounded Corners 528">
              <a:extLst>
                <a:ext uri="{FF2B5EF4-FFF2-40B4-BE49-F238E27FC236}">
                  <a16:creationId xmlns:a16="http://schemas.microsoft.com/office/drawing/2014/main" id="{5889A5B7-7A3C-4C8B-A195-170B87831547}"/>
                </a:ext>
              </a:extLst>
            </p:cNvPr>
            <p:cNvSpPr/>
            <p:nvPr/>
          </p:nvSpPr>
          <p:spPr bwMode="auto">
            <a:xfrm>
              <a:off x="8799672" y="3694596"/>
              <a:ext cx="1067070" cy="420956"/>
            </a:xfrm>
            <a:prstGeom prst="roundRect">
              <a:avLst/>
            </a:prstGeom>
            <a:noFill/>
            <a:ln w="19050" cap="flat" cmpd="sng" algn="ctr">
              <a:solidFill>
                <a:srgbClr val="6EBD44"/>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sym typeface="Arial" pitchFamily="-110" charset="0"/>
                </a:rPr>
                <a:t>Prostacyclin analogs</a:t>
              </a:r>
            </a:p>
          </p:txBody>
        </p:sp>
        <p:sp>
          <p:nvSpPr>
            <p:cNvPr id="530" name="Rectangle: Rounded Corners 529">
              <a:extLst>
                <a:ext uri="{FF2B5EF4-FFF2-40B4-BE49-F238E27FC236}">
                  <a16:creationId xmlns:a16="http://schemas.microsoft.com/office/drawing/2014/main" id="{AB64B99D-1455-4D3B-B384-755118CFECFA}"/>
                </a:ext>
              </a:extLst>
            </p:cNvPr>
            <p:cNvSpPr/>
            <p:nvPr/>
          </p:nvSpPr>
          <p:spPr bwMode="auto">
            <a:xfrm>
              <a:off x="5794387" y="4219559"/>
              <a:ext cx="686923" cy="420956"/>
            </a:xfrm>
            <a:prstGeom prst="roundRect">
              <a:avLst/>
            </a:prstGeom>
            <a:solidFill>
              <a:schemeClr val="bg1">
                <a:alpha val="65000"/>
              </a:schemeClr>
            </a:solidFill>
            <a:ln w="19050" cap="flat" cmpd="sng" algn="ctr">
              <a:solidFill>
                <a:srgbClr val="FF7C80"/>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sym typeface="Arial" pitchFamily="-110" charset="0"/>
                </a:rPr>
                <a:t>PDE-5 inhibitors</a:t>
              </a:r>
            </a:p>
          </p:txBody>
        </p:sp>
        <p:sp>
          <p:nvSpPr>
            <p:cNvPr id="531" name="Rectangle: Rounded Corners 530">
              <a:extLst>
                <a:ext uri="{FF2B5EF4-FFF2-40B4-BE49-F238E27FC236}">
                  <a16:creationId xmlns:a16="http://schemas.microsoft.com/office/drawing/2014/main" id="{65F92115-3B8A-4D1D-B3E8-455D48D858E2}"/>
                </a:ext>
              </a:extLst>
            </p:cNvPr>
            <p:cNvSpPr/>
            <p:nvPr/>
          </p:nvSpPr>
          <p:spPr bwMode="auto">
            <a:xfrm>
              <a:off x="10710668" y="3837519"/>
              <a:ext cx="1072657" cy="591216"/>
            </a:xfrm>
            <a:prstGeom prst="roundRect">
              <a:avLst/>
            </a:prstGeom>
            <a:noFill/>
            <a:ln w="19050" cap="flat" cmpd="sng" algn="ctr">
              <a:solidFill>
                <a:srgbClr val="6EBD44"/>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sym typeface="Arial" pitchFamily="-110" charset="0"/>
                </a:rPr>
                <a:t>Non-</a:t>
              </a:r>
              <a:r>
                <a:rPr kumimoji="0" lang="en-US" sz="1000" b="0" i="0" u="none" strike="noStrike" kern="1200" cap="none" spc="0" normalizeH="0" baseline="0" noProof="0" err="1">
                  <a:ln>
                    <a:noFill/>
                  </a:ln>
                  <a:solidFill>
                    <a:srgbClr val="212121"/>
                  </a:solidFill>
                  <a:effectLst/>
                  <a:uLnTx/>
                  <a:uFillTx/>
                  <a:latin typeface="Verdana" panose="020B0604030504040204" pitchFamily="34" charset="0"/>
                  <a:ea typeface="Verdana" panose="020B0604030504040204" pitchFamily="34" charset="0"/>
                  <a:cs typeface="+mn-cs"/>
                  <a:sym typeface="Arial" pitchFamily="-110" charset="0"/>
                </a:rPr>
                <a:t>prostanoid</a:t>
              </a:r>
              <a:r>
                <a:rPr kumimoji="0" lang="en-US" sz="10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sym typeface="Arial" pitchFamily="-110" charset="0"/>
                </a:rPr>
                <a:t> </a:t>
              </a:r>
              <a:br>
                <a:rPr kumimoji="0" lang="en-US" sz="10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sym typeface="Arial" pitchFamily="-110" charset="0"/>
                </a:rPr>
              </a:br>
              <a:r>
                <a:rPr kumimoji="0" lang="en-US" sz="10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sym typeface="Arial" pitchFamily="-110" charset="0"/>
                </a:rPr>
                <a:t>IP receptor agonist </a:t>
              </a:r>
            </a:p>
          </p:txBody>
        </p:sp>
        <p:sp>
          <p:nvSpPr>
            <p:cNvPr id="532" name="Rectangle: Rounded Corners 531">
              <a:extLst>
                <a:ext uri="{FF2B5EF4-FFF2-40B4-BE49-F238E27FC236}">
                  <a16:creationId xmlns:a16="http://schemas.microsoft.com/office/drawing/2014/main" id="{2594F399-6CCC-4DA9-A3A9-0B2CEEF25B91}"/>
                </a:ext>
              </a:extLst>
            </p:cNvPr>
            <p:cNvSpPr/>
            <p:nvPr/>
          </p:nvSpPr>
          <p:spPr bwMode="auto">
            <a:xfrm>
              <a:off x="7573702" y="4281603"/>
              <a:ext cx="1059694" cy="250697"/>
            </a:xfrm>
            <a:prstGeom prst="roundRect">
              <a:avLst/>
            </a:prstGeom>
            <a:noFill/>
            <a:ln w="19050" cap="flat" cmpd="sng" algn="ctr">
              <a:solidFill>
                <a:srgbClr val="6EBD44"/>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0" i="0" u="none" strike="noStrike" kern="1200" cap="none" spc="0" normalizeH="0" baseline="0" noProof="0" err="1">
                  <a:ln>
                    <a:noFill/>
                  </a:ln>
                  <a:solidFill>
                    <a:srgbClr val="212121"/>
                  </a:solidFill>
                  <a:effectLst/>
                  <a:uLnTx/>
                  <a:uFillTx/>
                  <a:latin typeface="Verdana" panose="020B0604030504040204" pitchFamily="34" charset="0"/>
                  <a:ea typeface="Verdana" panose="020B0604030504040204" pitchFamily="34" charset="0"/>
                  <a:cs typeface="+mn-cs"/>
                  <a:sym typeface="Arial" pitchFamily="-110" charset="0"/>
                </a:rPr>
                <a:t>sGC</a:t>
              </a:r>
              <a:r>
                <a:rPr kumimoji="0" lang="en-US" sz="10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sym typeface="Arial" pitchFamily="-110" charset="0"/>
                </a:rPr>
                <a:t> stimulator</a:t>
              </a:r>
            </a:p>
          </p:txBody>
        </p:sp>
        <p:sp>
          <p:nvSpPr>
            <p:cNvPr id="533" name="TextBox 532">
              <a:extLst>
                <a:ext uri="{FF2B5EF4-FFF2-40B4-BE49-F238E27FC236}">
                  <a16:creationId xmlns:a16="http://schemas.microsoft.com/office/drawing/2014/main" id="{A8E0B1D8-FB77-4CDE-9DF5-5A03762C36C8}"/>
                </a:ext>
              </a:extLst>
            </p:cNvPr>
            <p:cNvSpPr txBox="1"/>
            <p:nvPr/>
          </p:nvSpPr>
          <p:spPr>
            <a:xfrm>
              <a:off x="2386747" y="2144541"/>
              <a:ext cx="1326730"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Pro-</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endothelin-1</a:t>
              </a:r>
            </a:p>
          </p:txBody>
        </p:sp>
        <p:sp>
          <p:nvSpPr>
            <p:cNvPr id="534" name="TextBox 533">
              <a:extLst>
                <a:ext uri="{FF2B5EF4-FFF2-40B4-BE49-F238E27FC236}">
                  <a16:creationId xmlns:a16="http://schemas.microsoft.com/office/drawing/2014/main" id="{FAC1E580-9957-4D0F-9FDA-85646947D1E6}"/>
                </a:ext>
              </a:extLst>
            </p:cNvPr>
            <p:cNvSpPr txBox="1"/>
            <p:nvPr/>
          </p:nvSpPr>
          <p:spPr>
            <a:xfrm>
              <a:off x="2572452" y="2606090"/>
              <a:ext cx="1017686"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Endothelin-1</a:t>
              </a:r>
            </a:p>
          </p:txBody>
        </p:sp>
        <p:cxnSp>
          <p:nvCxnSpPr>
            <p:cNvPr id="535" name="Straight Connector 534">
              <a:extLst>
                <a:ext uri="{FF2B5EF4-FFF2-40B4-BE49-F238E27FC236}">
                  <a16:creationId xmlns:a16="http://schemas.microsoft.com/office/drawing/2014/main" id="{365A7FAB-D660-4F01-84ED-AF473497801C}"/>
                </a:ext>
              </a:extLst>
            </p:cNvPr>
            <p:cNvCxnSpPr>
              <a:cxnSpLocks/>
            </p:cNvCxnSpPr>
            <p:nvPr/>
          </p:nvCxnSpPr>
          <p:spPr bwMode="auto">
            <a:xfrm flipH="1">
              <a:off x="3451992" y="2245037"/>
              <a:ext cx="369391" cy="117416"/>
            </a:xfrm>
            <a:prstGeom prst="line">
              <a:avLst/>
            </a:prstGeom>
            <a:solidFill>
              <a:srgbClr val="C0C0C0"/>
            </a:solidFill>
            <a:ln w="12700" cap="flat" cmpd="sng" algn="ctr">
              <a:solidFill>
                <a:schemeClr val="tx1"/>
              </a:solidFill>
              <a:prstDash val="solid"/>
              <a:round/>
              <a:headEnd type="none" w="med" len="med"/>
              <a:tailEnd type="none" w="med" len="med"/>
            </a:ln>
            <a:effectLst/>
          </p:spPr>
        </p:cxnSp>
        <p:cxnSp>
          <p:nvCxnSpPr>
            <p:cNvPr id="536" name="Straight Connector 535">
              <a:extLst>
                <a:ext uri="{FF2B5EF4-FFF2-40B4-BE49-F238E27FC236}">
                  <a16:creationId xmlns:a16="http://schemas.microsoft.com/office/drawing/2014/main" id="{B40923AA-EE51-4C7B-B51A-8C2687B960F2}"/>
                </a:ext>
              </a:extLst>
            </p:cNvPr>
            <p:cNvCxnSpPr>
              <a:cxnSpLocks/>
            </p:cNvCxnSpPr>
            <p:nvPr/>
          </p:nvCxnSpPr>
          <p:spPr bwMode="auto">
            <a:xfrm flipH="1">
              <a:off x="3493855" y="2548201"/>
              <a:ext cx="237138" cy="175527"/>
            </a:xfrm>
            <a:prstGeom prst="line">
              <a:avLst/>
            </a:prstGeom>
            <a:solidFill>
              <a:srgbClr val="C0C0C0"/>
            </a:solidFill>
            <a:ln w="12700" cap="flat" cmpd="sng" algn="ctr">
              <a:solidFill>
                <a:schemeClr val="tx1"/>
              </a:solidFill>
              <a:prstDash val="solid"/>
              <a:round/>
              <a:headEnd type="none" w="med" len="med"/>
              <a:tailEnd type="none" w="med" len="med"/>
            </a:ln>
            <a:effectLst/>
          </p:spPr>
        </p:cxnSp>
        <p:sp>
          <p:nvSpPr>
            <p:cNvPr id="537" name="TextBox 536">
              <a:extLst>
                <a:ext uri="{FF2B5EF4-FFF2-40B4-BE49-F238E27FC236}">
                  <a16:creationId xmlns:a16="http://schemas.microsoft.com/office/drawing/2014/main" id="{88F67965-8FFE-4C9D-AB92-1F08CFC45825}"/>
                </a:ext>
              </a:extLst>
            </p:cNvPr>
            <p:cNvSpPr txBox="1"/>
            <p:nvPr/>
          </p:nvSpPr>
          <p:spPr>
            <a:xfrm>
              <a:off x="3679557" y="3843506"/>
              <a:ext cx="391722"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ET</a:t>
              </a:r>
              <a:r>
                <a:rPr kumimoji="0" lang="en-US" sz="900" b="0" i="0" u="none" strike="noStrike" kern="1200" cap="none" spc="0" normalizeH="0" baseline="-25000" noProof="0">
                  <a:ln>
                    <a:noFill/>
                  </a:ln>
                  <a:solidFill>
                    <a:srgbClr val="212121"/>
                  </a:solidFill>
                  <a:effectLst/>
                  <a:uLnTx/>
                  <a:uFillTx/>
                  <a:latin typeface="Verdana" panose="020B0604030504040204" pitchFamily="34" charset="0"/>
                  <a:ea typeface="Verdana" panose="020B0604030504040204" pitchFamily="34" charset="0"/>
                  <a:cs typeface="+mn-cs"/>
                </a:rPr>
                <a:t>A</a:t>
              </a:r>
            </a:p>
          </p:txBody>
        </p:sp>
        <p:sp>
          <p:nvSpPr>
            <p:cNvPr id="538" name="TextBox 537">
              <a:extLst>
                <a:ext uri="{FF2B5EF4-FFF2-40B4-BE49-F238E27FC236}">
                  <a16:creationId xmlns:a16="http://schemas.microsoft.com/office/drawing/2014/main" id="{C4ADEE99-ECBA-46FE-A578-0897A65355CB}"/>
                </a:ext>
              </a:extLst>
            </p:cNvPr>
            <p:cNvSpPr txBox="1"/>
            <p:nvPr/>
          </p:nvSpPr>
          <p:spPr>
            <a:xfrm>
              <a:off x="4234880" y="3713265"/>
              <a:ext cx="401592" cy="230832"/>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900" b="0" i="0" u="none" strike="noStrike" cap="none" spc="0" normalizeH="0" baseline="0">
                  <a:ln>
                    <a:noFill/>
                  </a:ln>
                  <a:solidFill>
                    <a:srgbClr val="212121"/>
                  </a:solidFill>
                  <a:effectLst/>
                  <a:uLnTx/>
                  <a:uFillTx/>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ET</a:t>
              </a:r>
              <a:r>
                <a:rPr kumimoji="0" lang="en-US" sz="900" b="0" i="0" u="none" strike="noStrike" kern="1200" cap="none" spc="0" normalizeH="0" baseline="-25000" noProof="0">
                  <a:ln>
                    <a:noFill/>
                  </a:ln>
                  <a:solidFill>
                    <a:srgbClr val="212121"/>
                  </a:solidFill>
                  <a:effectLst/>
                  <a:uLnTx/>
                  <a:uFillTx/>
                  <a:latin typeface="Verdana" panose="020B0604030504040204" pitchFamily="34" charset="0"/>
                  <a:ea typeface="Verdana" panose="020B0604030504040204" pitchFamily="34" charset="0"/>
                  <a:cs typeface="+mn-cs"/>
                </a:rPr>
                <a:t>B</a:t>
              </a:r>
            </a:p>
          </p:txBody>
        </p:sp>
        <p:sp>
          <p:nvSpPr>
            <p:cNvPr id="539" name="TextBox 538">
              <a:extLst>
                <a:ext uri="{FF2B5EF4-FFF2-40B4-BE49-F238E27FC236}">
                  <a16:creationId xmlns:a16="http://schemas.microsoft.com/office/drawing/2014/main" id="{C4495205-3DDB-451B-8F37-4FDA0C7AEDF4}"/>
                </a:ext>
              </a:extLst>
            </p:cNvPr>
            <p:cNvSpPr txBox="1"/>
            <p:nvPr/>
          </p:nvSpPr>
          <p:spPr>
            <a:xfrm>
              <a:off x="5788230" y="3069742"/>
              <a:ext cx="132673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L-arginine</a:t>
              </a:r>
            </a:p>
          </p:txBody>
        </p:sp>
        <p:sp>
          <p:nvSpPr>
            <p:cNvPr id="540" name="TextBox 539">
              <a:extLst>
                <a:ext uri="{FF2B5EF4-FFF2-40B4-BE49-F238E27FC236}">
                  <a16:creationId xmlns:a16="http://schemas.microsoft.com/office/drawing/2014/main" id="{750D53D0-D658-4B77-8D2E-1B5846BA8D67}"/>
                </a:ext>
              </a:extLst>
            </p:cNvPr>
            <p:cNvSpPr txBox="1"/>
            <p:nvPr/>
          </p:nvSpPr>
          <p:spPr>
            <a:xfrm>
              <a:off x="5550229" y="3527420"/>
              <a:ext cx="132673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Nitric oxide</a:t>
              </a:r>
            </a:p>
          </p:txBody>
        </p:sp>
        <p:sp>
          <p:nvSpPr>
            <p:cNvPr id="541" name="TextBox 540">
              <a:extLst>
                <a:ext uri="{FF2B5EF4-FFF2-40B4-BE49-F238E27FC236}">
                  <a16:creationId xmlns:a16="http://schemas.microsoft.com/office/drawing/2014/main" id="{703CF4AE-C6C7-4C28-9089-5A5184D5F2D2}"/>
                </a:ext>
              </a:extLst>
            </p:cNvPr>
            <p:cNvSpPr txBox="1"/>
            <p:nvPr/>
          </p:nvSpPr>
          <p:spPr>
            <a:xfrm>
              <a:off x="8654300" y="3184638"/>
              <a:ext cx="132673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Arachidonic acid</a:t>
              </a:r>
            </a:p>
          </p:txBody>
        </p:sp>
        <p:sp>
          <p:nvSpPr>
            <p:cNvPr id="542" name="TextBox 541">
              <a:extLst>
                <a:ext uri="{FF2B5EF4-FFF2-40B4-BE49-F238E27FC236}">
                  <a16:creationId xmlns:a16="http://schemas.microsoft.com/office/drawing/2014/main" id="{03F73E9D-CDBB-4C0E-A7F6-30A5B6B03D5E}"/>
                </a:ext>
              </a:extLst>
            </p:cNvPr>
            <p:cNvSpPr txBox="1"/>
            <p:nvPr/>
          </p:nvSpPr>
          <p:spPr>
            <a:xfrm>
              <a:off x="10270254" y="3172841"/>
              <a:ext cx="132673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Prostacyclin</a:t>
              </a:r>
            </a:p>
          </p:txBody>
        </p:sp>
        <p:cxnSp>
          <p:nvCxnSpPr>
            <p:cNvPr id="543" name="Straight Connector 542">
              <a:extLst>
                <a:ext uri="{FF2B5EF4-FFF2-40B4-BE49-F238E27FC236}">
                  <a16:creationId xmlns:a16="http://schemas.microsoft.com/office/drawing/2014/main" id="{6917498B-3F5A-4088-BA40-D2A5B5DACD25}"/>
                </a:ext>
              </a:extLst>
            </p:cNvPr>
            <p:cNvCxnSpPr>
              <a:cxnSpLocks/>
            </p:cNvCxnSpPr>
            <p:nvPr/>
          </p:nvCxnSpPr>
          <p:spPr bwMode="auto">
            <a:xfrm flipH="1">
              <a:off x="6776238" y="3028032"/>
              <a:ext cx="238050" cy="162969"/>
            </a:xfrm>
            <a:prstGeom prst="line">
              <a:avLst/>
            </a:prstGeom>
            <a:solidFill>
              <a:srgbClr val="C0C0C0"/>
            </a:solidFill>
            <a:ln w="12700" cap="flat" cmpd="sng" algn="ctr">
              <a:solidFill>
                <a:schemeClr val="tx1"/>
              </a:solidFill>
              <a:prstDash val="solid"/>
              <a:round/>
              <a:headEnd type="none" w="med" len="med"/>
              <a:tailEnd type="none" w="med" len="med"/>
            </a:ln>
            <a:effectLst/>
          </p:spPr>
        </p:cxnSp>
        <p:cxnSp>
          <p:nvCxnSpPr>
            <p:cNvPr id="544" name="Straight Connector 543">
              <a:extLst>
                <a:ext uri="{FF2B5EF4-FFF2-40B4-BE49-F238E27FC236}">
                  <a16:creationId xmlns:a16="http://schemas.microsoft.com/office/drawing/2014/main" id="{73B1C0E6-D23B-4B24-991C-FD109F7ACA5A}"/>
                </a:ext>
              </a:extLst>
            </p:cNvPr>
            <p:cNvCxnSpPr>
              <a:cxnSpLocks/>
            </p:cNvCxnSpPr>
            <p:nvPr/>
          </p:nvCxnSpPr>
          <p:spPr bwMode="auto">
            <a:xfrm flipH="1">
              <a:off x="6626419" y="3516445"/>
              <a:ext cx="426981" cy="146352"/>
            </a:xfrm>
            <a:prstGeom prst="line">
              <a:avLst/>
            </a:prstGeom>
            <a:solidFill>
              <a:srgbClr val="C0C0C0"/>
            </a:solidFill>
            <a:ln w="12700" cap="flat" cmpd="sng" algn="ctr">
              <a:solidFill>
                <a:schemeClr val="tx1"/>
              </a:solidFill>
              <a:prstDash val="solid"/>
              <a:round/>
              <a:headEnd type="none" w="med" len="med"/>
              <a:tailEnd type="none" w="med" len="med"/>
            </a:ln>
            <a:effectLst/>
          </p:spPr>
        </p:cxnSp>
        <p:cxnSp>
          <p:nvCxnSpPr>
            <p:cNvPr id="545" name="Straight Connector 544">
              <a:extLst>
                <a:ext uri="{FF2B5EF4-FFF2-40B4-BE49-F238E27FC236}">
                  <a16:creationId xmlns:a16="http://schemas.microsoft.com/office/drawing/2014/main" id="{6CB103BF-5632-4474-8550-DB6C124E3C52}"/>
                </a:ext>
              </a:extLst>
            </p:cNvPr>
            <p:cNvCxnSpPr>
              <a:cxnSpLocks/>
            </p:cNvCxnSpPr>
            <p:nvPr/>
          </p:nvCxnSpPr>
          <p:spPr bwMode="auto">
            <a:xfrm flipH="1">
              <a:off x="9799634" y="3141704"/>
              <a:ext cx="276040" cy="159207"/>
            </a:xfrm>
            <a:prstGeom prst="line">
              <a:avLst/>
            </a:prstGeom>
            <a:solidFill>
              <a:srgbClr val="C0C0C0"/>
            </a:solidFill>
            <a:ln w="12700" cap="flat" cmpd="sng" algn="ctr">
              <a:solidFill>
                <a:schemeClr val="tx1"/>
              </a:solidFill>
              <a:prstDash val="solid"/>
              <a:round/>
              <a:headEnd type="none" w="med" len="med"/>
              <a:tailEnd type="none" w="med" len="med"/>
            </a:ln>
            <a:effectLst/>
          </p:spPr>
        </p:cxnSp>
        <p:cxnSp>
          <p:nvCxnSpPr>
            <p:cNvPr id="546" name="Straight Connector 545">
              <a:extLst>
                <a:ext uri="{FF2B5EF4-FFF2-40B4-BE49-F238E27FC236}">
                  <a16:creationId xmlns:a16="http://schemas.microsoft.com/office/drawing/2014/main" id="{CC269ACC-22D6-4A1A-B848-EBB3511F421D}"/>
                </a:ext>
              </a:extLst>
            </p:cNvPr>
            <p:cNvCxnSpPr>
              <a:cxnSpLocks/>
            </p:cNvCxnSpPr>
            <p:nvPr/>
          </p:nvCxnSpPr>
          <p:spPr bwMode="auto">
            <a:xfrm flipH="1">
              <a:off x="10231688" y="3343532"/>
              <a:ext cx="286027" cy="125933"/>
            </a:xfrm>
            <a:prstGeom prst="line">
              <a:avLst/>
            </a:prstGeom>
            <a:solidFill>
              <a:srgbClr val="C0C0C0"/>
            </a:solidFill>
            <a:ln w="12700" cap="flat" cmpd="sng" algn="ctr">
              <a:solidFill>
                <a:schemeClr val="tx1"/>
              </a:solidFill>
              <a:prstDash val="solid"/>
              <a:round/>
              <a:headEnd type="none" w="med" len="med"/>
              <a:tailEnd type="none" w="med" len="med"/>
            </a:ln>
            <a:effectLst/>
          </p:spPr>
        </p:cxnSp>
        <p:sp>
          <p:nvSpPr>
            <p:cNvPr id="547" name="Oval 546">
              <a:extLst>
                <a:ext uri="{FF2B5EF4-FFF2-40B4-BE49-F238E27FC236}">
                  <a16:creationId xmlns:a16="http://schemas.microsoft.com/office/drawing/2014/main" id="{4BAF2087-ECB8-4165-B4F0-5088EB70CC56}"/>
                </a:ext>
              </a:extLst>
            </p:cNvPr>
            <p:cNvSpPr/>
            <p:nvPr/>
          </p:nvSpPr>
          <p:spPr bwMode="auto">
            <a:xfrm>
              <a:off x="6498728" y="4714464"/>
              <a:ext cx="366912" cy="288000"/>
            </a:xfrm>
            <a:prstGeom prst="ellipse">
              <a:avLst/>
            </a:prstGeom>
            <a:solidFill>
              <a:schemeClr val="accent6"/>
            </a:solidFill>
            <a:ln w="12700"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10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548" name="TextBox 547">
              <a:extLst>
                <a:ext uri="{FF2B5EF4-FFF2-40B4-BE49-F238E27FC236}">
                  <a16:creationId xmlns:a16="http://schemas.microsoft.com/office/drawing/2014/main" id="{85B71C9B-7981-41F4-A523-4A2EF916909E}"/>
                </a:ext>
              </a:extLst>
            </p:cNvPr>
            <p:cNvSpPr txBox="1"/>
            <p:nvPr/>
          </p:nvSpPr>
          <p:spPr>
            <a:xfrm>
              <a:off x="6480275" y="4737609"/>
              <a:ext cx="394684" cy="215444"/>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err="1">
                  <a:ln>
                    <a:noFill/>
                  </a:ln>
                  <a:solidFill>
                    <a:srgbClr val="FFFFFF"/>
                  </a:solidFill>
                  <a:effectLst/>
                  <a:uLnTx/>
                  <a:uFillTx/>
                  <a:latin typeface="Verdana" panose="020B0604030504040204" pitchFamily="34" charset="0"/>
                  <a:ea typeface="Verdana" panose="020B0604030504040204" pitchFamily="34" charset="0"/>
                  <a:cs typeface="+mn-cs"/>
                </a:rPr>
                <a:t>sGC</a:t>
              </a:r>
              <a:endPar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endParaRPr>
            </a:p>
          </p:txBody>
        </p:sp>
        <p:sp>
          <p:nvSpPr>
            <p:cNvPr id="549" name="TextBox 548">
              <a:extLst>
                <a:ext uri="{FF2B5EF4-FFF2-40B4-BE49-F238E27FC236}">
                  <a16:creationId xmlns:a16="http://schemas.microsoft.com/office/drawing/2014/main" id="{A188A7C4-D3EF-4866-94F7-567239A0053A}"/>
                </a:ext>
              </a:extLst>
            </p:cNvPr>
            <p:cNvSpPr txBox="1"/>
            <p:nvPr/>
          </p:nvSpPr>
          <p:spPr>
            <a:xfrm>
              <a:off x="6911310" y="4737609"/>
              <a:ext cx="394684" cy="215444"/>
            </a:xfrm>
            <a:prstGeom prst="rect">
              <a:avLst/>
            </a:prstGeom>
            <a:noFill/>
          </p:spPr>
          <p:txBody>
            <a:bodyPr wrap="square" lIns="0" r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rPr>
                <a:t>PDE-5</a:t>
              </a:r>
            </a:p>
          </p:txBody>
        </p:sp>
        <p:grpSp>
          <p:nvGrpSpPr>
            <p:cNvPr id="550" name="Group 549">
              <a:extLst>
                <a:ext uri="{FF2B5EF4-FFF2-40B4-BE49-F238E27FC236}">
                  <a16:creationId xmlns:a16="http://schemas.microsoft.com/office/drawing/2014/main" id="{B796A60F-6F5E-4E3E-AC4F-BBF70540F5C3}"/>
                </a:ext>
              </a:extLst>
            </p:cNvPr>
            <p:cNvGrpSpPr/>
            <p:nvPr/>
          </p:nvGrpSpPr>
          <p:grpSpPr>
            <a:xfrm>
              <a:off x="6021629" y="5034004"/>
              <a:ext cx="1798194" cy="238069"/>
              <a:chOff x="6094805" y="5094537"/>
              <a:chExt cx="1798194" cy="265861"/>
            </a:xfrm>
          </p:grpSpPr>
          <p:sp>
            <p:nvSpPr>
              <p:cNvPr id="551" name="Rectangle 550">
                <a:extLst>
                  <a:ext uri="{FF2B5EF4-FFF2-40B4-BE49-F238E27FC236}">
                    <a16:creationId xmlns:a16="http://schemas.microsoft.com/office/drawing/2014/main" id="{7A0A6B29-251D-4B43-9EB9-5E76A5745B2C}"/>
                  </a:ext>
                </a:extLst>
              </p:cNvPr>
              <p:cNvSpPr/>
              <p:nvPr/>
            </p:nvSpPr>
            <p:spPr bwMode="auto">
              <a:xfrm>
                <a:off x="6115946" y="5094537"/>
                <a:ext cx="1707287" cy="265861"/>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52" name="TextBox 551">
                <a:extLst>
                  <a:ext uri="{FF2B5EF4-FFF2-40B4-BE49-F238E27FC236}">
                    <a16:creationId xmlns:a16="http://schemas.microsoft.com/office/drawing/2014/main" id="{B18D4EF2-E7CB-4CFC-A556-FB8F0538EE29}"/>
                  </a:ext>
                </a:extLst>
              </p:cNvPr>
              <p:cNvSpPr txBox="1"/>
              <p:nvPr/>
            </p:nvSpPr>
            <p:spPr>
              <a:xfrm>
                <a:off x="6094805" y="5104815"/>
                <a:ext cx="505352" cy="246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GTP</a:t>
                </a:r>
              </a:p>
            </p:txBody>
          </p:sp>
          <p:sp>
            <p:nvSpPr>
              <p:cNvPr id="553" name="TextBox 552">
                <a:extLst>
                  <a:ext uri="{FF2B5EF4-FFF2-40B4-BE49-F238E27FC236}">
                    <a16:creationId xmlns:a16="http://schemas.microsoft.com/office/drawing/2014/main" id="{44431A37-17DE-466B-BBFE-A9A73C0D80CD}"/>
                  </a:ext>
                </a:extLst>
              </p:cNvPr>
              <p:cNvSpPr txBox="1"/>
              <p:nvPr/>
            </p:nvSpPr>
            <p:spPr>
              <a:xfrm>
                <a:off x="6694876" y="5104815"/>
                <a:ext cx="591851" cy="246220"/>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1000" i="0" u="none" strike="noStrike" cap="none" spc="0" normalizeH="0" baseline="0">
                    <a:ln>
                      <a:noFill/>
                    </a:ln>
                    <a:solidFill>
                      <a:srgbClr val="212121"/>
                    </a:solidFill>
                    <a:effectLst/>
                    <a:uLnTx/>
                    <a:uFillTx/>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cGMP</a:t>
                </a:r>
              </a:p>
            </p:txBody>
          </p:sp>
          <p:sp>
            <p:nvSpPr>
              <p:cNvPr id="554" name="TextBox 553">
                <a:extLst>
                  <a:ext uri="{FF2B5EF4-FFF2-40B4-BE49-F238E27FC236}">
                    <a16:creationId xmlns:a16="http://schemas.microsoft.com/office/drawing/2014/main" id="{572E4AB0-9149-4C80-A2AB-913338D2BED4}"/>
                  </a:ext>
                </a:extLst>
              </p:cNvPr>
              <p:cNvSpPr txBox="1"/>
              <p:nvPr/>
            </p:nvSpPr>
            <p:spPr>
              <a:xfrm>
                <a:off x="7387647" y="5104815"/>
                <a:ext cx="505352" cy="246220"/>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1000" i="0" u="none" strike="noStrike" cap="none" spc="0" normalizeH="0" baseline="0">
                    <a:ln>
                      <a:noFill/>
                    </a:ln>
                    <a:solidFill>
                      <a:srgbClr val="212121"/>
                    </a:solidFill>
                    <a:effectLst/>
                    <a:uLnTx/>
                    <a:uFillTx/>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GMP</a:t>
                </a:r>
              </a:p>
            </p:txBody>
          </p:sp>
          <p:cxnSp>
            <p:nvCxnSpPr>
              <p:cNvPr id="555" name="Straight Arrow Connector 554">
                <a:extLst>
                  <a:ext uri="{FF2B5EF4-FFF2-40B4-BE49-F238E27FC236}">
                    <a16:creationId xmlns:a16="http://schemas.microsoft.com/office/drawing/2014/main" id="{AA6582FC-CA23-4A79-9691-3B110F8157EA}"/>
                  </a:ext>
                </a:extLst>
              </p:cNvPr>
              <p:cNvCxnSpPr>
                <a:cxnSpLocks/>
              </p:cNvCxnSpPr>
              <p:nvPr/>
            </p:nvCxnSpPr>
            <p:spPr bwMode="auto">
              <a:xfrm>
                <a:off x="6498249" y="5236439"/>
                <a:ext cx="252664" cy="0"/>
              </a:xfrm>
              <a:prstGeom prst="straightConnector1">
                <a:avLst/>
              </a:prstGeom>
              <a:solidFill>
                <a:srgbClr val="C0C0C0"/>
              </a:solidFill>
              <a:ln w="12700" cap="flat" cmpd="sng" algn="ctr">
                <a:solidFill>
                  <a:schemeClr val="tx1"/>
                </a:solidFill>
                <a:prstDash val="solid"/>
                <a:round/>
                <a:headEnd type="none" w="med" len="med"/>
                <a:tailEnd type="triangle"/>
              </a:ln>
              <a:effectLst/>
            </p:spPr>
          </p:cxnSp>
          <p:cxnSp>
            <p:nvCxnSpPr>
              <p:cNvPr id="556" name="Straight Arrow Connector 555">
                <a:extLst>
                  <a:ext uri="{FF2B5EF4-FFF2-40B4-BE49-F238E27FC236}">
                    <a16:creationId xmlns:a16="http://schemas.microsoft.com/office/drawing/2014/main" id="{3FFB86D7-9106-4A86-A6DA-B940CCF049CB}"/>
                  </a:ext>
                </a:extLst>
              </p:cNvPr>
              <p:cNvCxnSpPr>
                <a:cxnSpLocks/>
              </p:cNvCxnSpPr>
              <p:nvPr/>
            </p:nvCxnSpPr>
            <p:spPr bwMode="auto">
              <a:xfrm>
                <a:off x="7196154" y="5236439"/>
                <a:ext cx="252664" cy="0"/>
              </a:xfrm>
              <a:prstGeom prst="straightConnector1">
                <a:avLst/>
              </a:prstGeom>
              <a:solidFill>
                <a:srgbClr val="C0C0C0"/>
              </a:solidFill>
              <a:ln w="12700" cap="flat" cmpd="sng" algn="ctr">
                <a:solidFill>
                  <a:schemeClr val="tx1"/>
                </a:solidFill>
                <a:prstDash val="solid"/>
                <a:round/>
                <a:headEnd type="none" w="med" len="med"/>
                <a:tailEnd type="triangle"/>
              </a:ln>
              <a:effectLst/>
            </p:spPr>
          </p:cxnSp>
        </p:grpSp>
        <p:grpSp>
          <p:nvGrpSpPr>
            <p:cNvPr id="557" name="Group 556">
              <a:extLst>
                <a:ext uri="{FF2B5EF4-FFF2-40B4-BE49-F238E27FC236}">
                  <a16:creationId xmlns:a16="http://schemas.microsoft.com/office/drawing/2014/main" id="{43939235-877F-4319-9884-83971D5A35A8}"/>
                </a:ext>
              </a:extLst>
            </p:cNvPr>
            <p:cNvGrpSpPr/>
            <p:nvPr/>
          </p:nvGrpSpPr>
          <p:grpSpPr>
            <a:xfrm>
              <a:off x="10128428" y="4968776"/>
              <a:ext cx="570648" cy="265861"/>
              <a:chOff x="6436183" y="5094537"/>
              <a:chExt cx="570648" cy="265861"/>
            </a:xfrm>
          </p:grpSpPr>
          <p:sp>
            <p:nvSpPr>
              <p:cNvPr id="558" name="Rectangle 557">
                <a:extLst>
                  <a:ext uri="{FF2B5EF4-FFF2-40B4-BE49-F238E27FC236}">
                    <a16:creationId xmlns:a16="http://schemas.microsoft.com/office/drawing/2014/main" id="{53FF3AFF-8F64-4470-9503-CDE30BF9681E}"/>
                  </a:ext>
                </a:extLst>
              </p:cNvPr>
              <p:cNvSpPr/>
              <p:nvPr/>
            </p:nvSpPr>
            <p:spPr bwMode="auto">
              <a:xfrm>
                <a:off x="6436183" y="5094537"/>
                <a:ext cx="487150" cy="265861"/>
              </a:xfrm>
              <a:prstGeom prst="rect">
                <a:avLst/>
              </a:prstGeom>
              <a:solidFill>
                <a:schemeClr val="bg1"/>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59" name="TextBox 558">
                <a:extLst>
                  <a:ext uri="{FF2B5EF4-FFF2-40B4-BE49-F238E27FC236}">
                    <a16:creationId xmlns:a16="http://schemas.microsoft.com/office/drawing/2014/main" id="{0C537031-ECF1-4BA3-B200-B95582B032D4}"/>
                  </a:ext>
                </a:extLst>
              </p:cNvPr>
              <p:cNvSpPr txBox="1"/>
              <p:nvPr/>
            </p:nvSpPr>
            <p:spPr>
              <a:xfrm>
                <a:off x="6467546" y="5103869"/>
                <a:ext cx="539285" cy="246221"/>
              </a:xfrm>
              <a:prstGeom prst="rect">
                <a:avLst/>
              </a:prstGeom>
              <a:noFill/>
            </p:spPr>
            <p:txBody>
              <a:bodyPr wrap="square" rtlCol="0">
                <a:spAutoFit/>
              </a:bodyPr>
              <a:lstStyle>
                <a:defPPr>
                  <a:defRPr lang="en-US"/>
                </a:defPPr>
                <a:lvl1pPr marR="0" lvl="0" indent="0" fontAlgn="auto">
                  <a:lnSpc>
                    <a:spcPct val="100000"/>
                  </a:lnSpc>
                  <a:spcBef>
                    <a:spcPts val="0"/>
                  </a:spcBef>
                  <a:spcAft>
                    <a:spcPts val="0"/>
                  </a:spcAft>
                  <a:buClrTx/>
                  <a:buSzTx/>
                  <a:buFontTx/>
                  <a:buNone/>
                  <a:tabLst/>
                  <a:defRPr kumimoji="0" sz="1000" i="0" u="none" strike="noStrike" cap="none" spc="0" normalizeH="0" baseline="0">
                    <a:ln>
                      <a:noFill/>
                    </a:ln>
                    <a:solidFill>
                      <a:srgbClr val="212121"/>
                    </a:solidFill>
                    <a:effectLst/>
                    <a:uLnTx/>
                    <a:uFillTx/>
                    <a:latin typeface="Verdana" panose="020B0604030504040204" pitchFamily="34" charset="0"/>
                    <a:ea typeface="Verdana" panose="020B060403050404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cAMP</a:t>
                </a:r>
              </a:p>
            </p:txBody>
          </p:sp>
          <p:cxnSp>
            <p:nvCxnSpPr>
              <p:cNvPr id="560" name="Straight Arrow Connector 559">
                <a:extLst>
                  <a:ext uri="{FF2B5EF4-FFF2-40B4-BE49-F238E27FC236}">
                    <a16:creationId xmlns:a16="http://schemas.microsoft.com/office/drawing/2014/main" id="{D0B88853-ACF4-4A7B-9D73-C749611D83E2}"/>
                  </a:ext>
                </a:extLst>
              </p:cNvPr>
              <p:cNvCxnSpPr>
                <a:cxnSpLocks/>
              </p:cNvCxnSpPr>
              <p:nvPr/>
            </p:nvCxnSpPr>
            <p:spPr bwMode="auto">
              <a:xfrm flipV="1">
                <a:off x="6494752" y="5133822"/>
                <a:ext cx="0" cy="160375"/>
              </a:xfrm>
              <a:prstGeom prst="straightConnector1">
                <a:avLst/>
              </a:prstGeom>
              <a:solidFill>
                <a:srgbClr val="C0C0C0"/>
              </a:solidFill>
              <a:ln w="12700" cap="flat" cmpd="sng" algn="ctr">
                <a:solidFill>
                  <a:schemeClr val="tx1"/>
                </a:solidFill>
                <a:prstDash val="solid"/>
                <a:round/>
                <a:headEnd type="none" w="med" len="med"/>
                <a:tailEnd type="triangle"/>
              </a:ln>
              <a:effectLst/>
            </p:spPr>
          </p:cxnSp>
        </p:grpSp>
        <p:sp>
          <p:nvSpPr>
            <p:cNvPr id="561" name="TextBox 560">
              <a:extLst>
                <a:ext uri="{FF2B5EF4-FFF2-40B4-BE49-F238E27FC236}">
                  <a16:creationId xmlns:a16="http://schemas.microsoft.com/office/drawing/2014/main" id="{D6E0077C-3D38-4E27-A9F3-BC1D92CD3F4B}"/>
                </a:ext>
              </a:extLst>
            </p:cNvPr>
            <p:cNvSpPr txBox="1"/>
            <p:nvPr/>
          </p:nvSpPr>
          <p:spPr>
            <a:xfrm>
              <a:off x="10178826" y="4548246"/>
              <a:ext cx="933739"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IP receptor</a:t>
              </a:r>
            </a:p>
          </p:txBody>
        </p:sp>
        <p:cxnSp>
          <p:nvCxnSpPr>
            <p:cNvPr id="562" name="Connector: Elbow 561">
              <a:extLst>
                <a:ext uri="{FF2B5EF4-FFF2-40B4-BE49-F238E27FC236}">
                  <a16:creationId xmlns:a16="http://schemas.microsoft.com/office/drawing/2014/main" id="{84FFC78F-4C5B-459E-B83E-631E3A666E38}"/>
                </a:ext>
              </a:extLst>
            </p:cNvPr>
            <p:cNvCxnSpPr>
              <a:cxnSpLocks/>
              <a:stCxn id="509" idx="4"/>
              <a:endCxn id="537" idx="0"/>
            </p:cNvCxnSpPr>
            <p:nvPr/>
          </p:nvCxnSpPr>
          <p:spPr bwMode="auto">
            <a:xfrm rot="5400000">
              <a:off x="3471245" y="3269695"/>
              <a:ext cx="977985" cy="169637"/>
            </a:xfrm>
            <a:prstGeom prst="bentConnector3">
              <a:avLst/>
            </a:prstGeom>
            <a:solidFill>
              <a:srgbClr val="C0C0C0"/>
            </a:solidFill>
            <a:ln w="28575" cap="flat" cmpd="sng" algn="ctr">
              <a:solidFill>
                <a:schemeClr val="bg2">
                  <a:lumMod val="10000"/>
                </a:schemeClr>
              </a:solidFill>
              <a:prstDash val="solid"/>
              <a:round/>
              <a:headEnd type="none" w="med" len="med"/>
              <a:tailEnd type="triangle"/>
            </a:ln>
            <a:effectLst/>
          </p:spPr>
        </p:cxnSp>
        <p:cxnSp>
          <p:nvCxnSpPr>
            <p:cNvPr id="563" name="Connector: Elbow 562">
              <a:extLst>
                <a:ext uri="{FF2B5EF4-FFF2-40B4-BE49-F238E27FC236}">
                  <a16:creationId xmlns:a16="http://schemas.microsoft.com/office/drawing/2014/main" id="{FC78B1EB-0694-48CD-8B71-70539FB49C7D}"/>
                </a:ext>
              </a:extLst>
            </p:cNvPr>
            <p:cNvCxnSpPr>
              <a:cxnSpLocks/>
              <a:stCxn id="509" idx="4"/>
              <a:endCxn id="538" idx="0"/>
            </p:cNvCxnSpPr>
            <p:nvPr/>
          </p:nvCxnSpPr>
          <p:spPr bwMode="auto">
            <a:xfrm rot="16200000" flipH="1">
              <a:off x="3816493" y="3094082"/>
              <a:ext cx="847744" cy="390621"/>
            </a:xfrm>
            <a:prstGeom prst="bentConnector3">
              <a:avLst>
                <a:gd name="adj1" fmla="val 71910"/>
              </a:avLst>
            </a:prstGeom>
            <a:solidFill>
              <a:srgbClr val="C0C0C0"/>
            </a:solidFill>
            <a:ln w="28575" cap="flat" cmpd="sng" algn="ctr">
              <a:solidFill>
                <a:schemeClr val="bg2">
                  <a:lumMod val="10000"/>
                </a:schemeClr>
              </a:solidFill>
              <a:prstDash val="solid"/>
              <a:round/>
              <a:headEnd type="none" w="med" len="med"/>
              <a:tailEnd type="triangle"/>
            </a:ln>
            <a:effectLst/>
          </p:spPr>
        </p:cxnSp>
        <p:cxnSp>
          <p:nvCxnSpPr>
            <p:cNvPr id="564" name="Connector: Elbow 563">
              <a:extLst>
                <a:ext uri="{FF2B5EF4-FFF2-40B4-BE49-F238E27FC236}">
                  <a16:creationId xmlns:a16="http://schemas.microsoft.com/office/drawing/2014/main" id="{477D69FE-ECE7-45EB-BCC9-11BD8B44782D}"/>
                </a:ext>
              </a:extLst>
            </p:cNvPr>
            <p:cNvCxnSpPr>
              <a:cxnSpLocks/>
              <a:stCxn id="528" idx="2"/>
              <a:endCxn id="511" idx="1"/>
            </p:cNvCxnSpPr>
            <p:nvPr/>
          </p:nvCxnSpPr>
          <p:spPr bwMode="auto">
            <a:xfrm rot="16200000" flipH="1">
              <a:off x="3181560" y="3662953"/>
              <a:ext cx="601078" cy="400871"/>
            </a:xfrm>
            <a:prstGeom prst="bentConnector2">
              <a:avLst/>
            </a:prstGeom>
            <a:solidFill>
              <a:srgbClr val="C0C0C0"/>
            </a:solidFill>
            <a:ln w="28575" cap="flat" cmpd="sng" algn="ctr">
              <a:solidFill>
                <a:schemeClr val="bg2">
                  <a:lumMod val="10000"/>
                </a:schemeClr>
              </a:solidFill>
              <a:prstDash val="solid"/>
              <a:round/>
              <a:headEnd type="none" w="med" len="med"/>
              <a:tailEnd type="triangle"/>
            </a:ln>
            <a:effectLst/>
          </p:spPr>
        </p:cxnSp>
        <p:cxnSp>
          <p:nvCxnSpPr>
            <p:cNvPr id="565" name="Connector: Elbow 564">
              <a:extLst>
                <a:ext uri="{FF2B5EF4-FFF2-40B4-BE49-F238E27FC236}">
                  <a16:creationId xmlns:a16="http://schemas.microsoft.com/office/drawing/2014/main" id="{2349559B-FEFE-4017-8025-587392157AC0}"/>
                </a:ext>
              </a:extLst>
            </p:cNvPr>
            <p:cNvCxnSpPr>
              <a:cxnSpLocks/>
              <a:stCxn id="527" idx="2"/>
              <a:endCxn id="511" idx="2"/>
            </p:cNvCxnSpPr>
            <p:nvPr/>
          </p:nvCxnSpPr>
          <p:spPr bwMode="auto">
            <a:xfrm rot="5400000">
              <a:off x="4145871" y="3317192"/>
              <a:ext cx="761550" cy="1332033"/>
            </a:xfrm>
            <a:prstGeom prst="bentConnector3">
              <a:avLst>
                <a:gd name="adj1" fmla="val 130018"/>
              </a:avLst>
            </a:prstGeom>
            <a:solidFill>
              <a:srgbClr val="C0C0C0"/>
            </a:solidFill>
            <a:ln w="28575" cap="flat" cmpd="sng" algn="ctr">
              <a:solidFill>
                <a:schemeClr val="bg2">
                  <a:lumMod val="10000"/>
                </a:schemeClr>
              </a:solidFill>
              <a:prstDash val="solid"/>
              <a:round/>
              <a:headEnd type="none" w="med" len="med"/>
              <a:tailEnd type="triangle"/>
            </a:ln>
            <a:effectLst/>
          </p:spPr>
        </p:cxnSp>
        <p:cxnSp>
          <p:nvCxnSpPr>
            <p:cNvPr id="566" name="Connector: Elbow 565">
              <a:extLst>
                <a:ext uri="{FF2B5EF4-FFF2-40B4-BE49-F238E27FC236}">
                  <a16:creationId xmlns:a16="http://schemas.microsoft.com/office/drawing/2014/main" id="{6A0A4663-9362-485B-A853-1D4E4B1658A8}"/>
                </a:ext>
              </a:extLst>
            </p:cNvPr>
            <p:cNvCxnSpPr>
              <a:cxnSpLocks/>
              <a:stCxn id="527" idx="2"/>
              <a:endCxn id="512" idx="3"/>
            </p:cNvCxnSpPr>
            <p:nvPr/>
          </p:nvCxnSpPr>
          <p:spPr bwMode="auto">
            <a:xfrm rot="5400000">
              <a:off x="4681041" y="3516624"/>
              <a:ext cx="425813" cy="597431"/>
            </a:xfrm>
            <a:prstGeom prst="bentConnector2">
              <a:avLst/>
            </a:prstGeom>
            <a:solidFill>
              <a:srgbClr val="C0C0C0"/>
            </a:solidFill>
            <a:ln w="28575" cap="flat" cmpd="sng" algn="ctr">
              <a:solidFill>
                <a:schemeClr val="bg2">
                  <a:lumMod val="10000"/>
                </a:schemeClr>
              </a:solidFill>
              <a:prstDash val="solid"/>
              <a:round/>
              <a:headEnd type="none" w="med" len="med"/>
              <a:tailEnd type="triangle"/>
            </a:ln>
            <a:effectLst/>
          </p:spPr>
        </p:cxnSp>
        <p:cxnSp>
          <p:nvCxnSpPr>
            <p:cNvPr id="567" name="Straight Connector 566">
              <a:extLst>
                <a:ext uri="{FF2B5EF4-FFF2-40B4-BE49-F238E27FC236}">
                  <a16:creationId xmlns:a16="http://schemas.microsoft.com/office/drawing/2014/main" id="{82D70095-FC3F-4A6B-92C0-56F9BFBE1FFE}"/>
                </a:ext>
              </a:extLst>
            </p:cNvPr>
            <p:cNvCxnSpPr>
              <a:cxnSpLocks/>
            </p:cNvCxnSpPr>
            <p:nvPr/>
          </p:nvCxnSpPr>
          <p:spPr bwMode="auto">
            <a:xfrm>
              <a:off x="3948314" y="2327243"/>
              <a:ext cx="78332" cy="330779"/>
            </a:xfrm>
            <a:prstGeom prst="line">
              <a:avLst/>
            </a:prstGeom>
            <a:solidFill>
              <a:srgbClr val="C0C0C0"/>
            </a:solidFill>
            <a:ln w="12700" cap="flat" cmpd="sng" algn="ctr">
              <a:solidFill>
                <a:schemeClr val="tx1"/>
              </a:solidFill>
              <a:prstDash val="solid"/>
              <a:round/>
              <a:headEnd type="none" w="med" len="med"/>
              <a:tailEnd type="triangle" w="med" len="med"/>
            </a:ln>
            <a:effectLst/>
          </p:spPr>
        </p:cxnSp>
        <p:cxnSp>
          <p:nvCxnSpPr>
            <p:cNvPr id="568" name="Straight Connector 567">
              <a:extLst>
                <a:ext uri="{FF2B5EF4-FFF2-40B4-BE49-F238E27FC236}">
                  <a16:creationId xmlns:a16="http://schemas.microsoft.com/office/drawing/2014/main" id="{CA063404-2ED9-440A-B81F-66CD8FC0CFBF}"/>
                </a:ext>
              </a:extLst>
            </p:cNvPr>
            <p:cNvCxnSpPr>
              <a:cxnSpLocks/>
            </p:cNvCxnSpPr>
            <p:nvPr/>
          </p:nvCxnSpPr>
          <p:spPr bwMode="auto">
            <a:xfrm>
              <a:off x="7110666" y="3043957"/>
              <a:ext cx="38737" cy="271805"/>
            </a:xfrm>
            <a:prstGeom prst="line">
              <a:avLst/>
            </a:prstGeom>
            <a:solidFill>
              <a:srgbClr val="C0C0C0"/>
            </a:solidFill>
            <a:ln w="12700" cap="flat" cmpd="sng" algn="ctr">
              <a:solidFill>
                <a:schemeClr val="tx1"/>
              </a:solidFill>
              <a:prstDash val="solid"/>
              <a:round/>
              <a:headEnd type="none" w="med" len="med"/>
              <a:tailEnd type="triangle" w="med" len="med"/>
            </a:ln>
            <a:effectLst/>
          </p:spPr>
        </p:cxnSp>
        <p:cxnSp>
          <p:nvCxnSpPr>
            <p:cNvPr id="569" name="Straight Connector 568">
              <a:extLst>
                <a:ext uri="{FF2B5EF4-FFF2-40B4-BE49-F238E27FC236}">
                  <a16:creationId xmlns:a16="http://schemas.microsoft.com/office/drawing/2014/main" id="{B2455903-3073-46D1-920E-78E9B39FA188}"/>
                </a:ext>
              </a:extLst>
            </p:cNvPr>
            <p:cNvCxnSpPr>
              <a:cxnSpLocks/>
              <a:endCxn id="523" idx="0"/>
            </p:cNvCxnSpPr>
            <p:nvPr/>
          </p:nvCxnSpPr>
          <p:spPr bwMode="auto">
            <a:xfrm flipH="1">
              <a:off x="10124556" y="3148003"/>
              <a:ext cx="15316" cy="216000"/>
            </a:xfrm>
            <a:prstGeom prst="line">
              <a:avLst/>
            </a:prstGeom>
            <a:solidFill>
              <a:srgbClr val="C0C0C0"/>
            </a:solidFill>
            <a:ln w="12700" cap="flat" cmpd="sng" algn="ctr">
              <a:solidFill>
                <a:schemeClr val="tx1"/>
              </a:solidFill>
              <a:prstDash val="solid"/>
              <a:round/>
              <a:headEnd type="none" w="med" len="med"/>
              <a:tailEnd type="triangle" w="med" len="med"/>
            </a:ln>
            <a:effectLst/>
          </p:spPr>
        </p:cxnSp>
        <p:cxnSp>
          <p:nvCxnSpPr>
            <p:cNvPr id="570" name="Connector: Elbow 569">
              <a:extLst>
                <a:ext uri="{FF2B5EF4-FFF2-40B4-BE49-F238E27FC236}">
                  <a16:creationId xmlns:a16="http://schemas.microsoft.com/office/drawing/2014/main" id="{F4D4DA58-D4CC-45F1-B04F-E86A6D7E555C}"/>
                </a:ext>
              </a:extLst>
            </p:cNvPr>
            <p:cNvCxnSpPr>
              <a:cxnSpLocks/>
              <a:stCxn id="518" idx="4"/>
              <a:endCxn id="547" idx="0"/>
            </p:cNvCxnSpPr>
            <p:nvPr/>
          </p:nvCxnSpPr>
          <p:spPr bwMode="auto">
            <a:xfrm rot="5400000">
              <a:off x="6333076" y="3879809"/>
              <a:ext cx="1183763" cy="485546"/>
            </a:xfrm>
            <a:prstGeom prst="bentConnector3">
              <a:avLst>
                <a:gd name="adj1" fmla="val 64305"/>
              </a:avLst>
            </a:prstGeom>
            <a:solidFill>
              <a:srgbClr val="C0C0C0"/>
            </a:solidFill>
            <a:ln w="28575" cap="flat" cmpd="sng" algn="ctr">
              <a:solidFill>
                <a:schemeClr val="bg2">
                  <a:lumMod val="10000"/>
                </a:schemeClr>
              </a:solidFill>
              <a:prstDash val="solid"/>
              <a:round/>
              <a:headEnd type="none" w="med" len="med"/>
              <a:tailEnd type="triangle"/>
            </a:ln>
            <a:effectLst/>
          </p:spPr>
        </p:cxnSp>
        <p:cxnSp>
          <p:nvCxnSpPr>
            <p:cNvPr id="571" name="Connector: Elbow 570">
              <a:extLst>
                <a:ext uri="{FF2B5EF4-FFF2-40B4-BE49-F238E27FC236}">
                  <a16:creationId xmlns:a16="http://schemas.microsoft.com/office/drawing/2014/main" id="{01F1BB39-FBDC-464C-A069-3977180C7AA7}"/>
                </a:ext>
              </a:extLst>
            </p:cNvPr>
            <p:cNvCxnSpPr>
              <a:cxnSpLocks/>
              <a:stCxn id="530" idx="3"/>
              <a:endCxn id="549" idx="0"/>
            </p:cNvCxnSpPr>
            <p:nvPr/>
          </p:nvCxnSpPr>
          <p:spPr bwMode="auto">
            <a:xfrm>
              <a:off x="6481310" y="4430037"/>
              <a:ext cx="627342" cy="307572"/>
            </a:xfrm>
            <a:prstGeom prst="bentConnector2">
              <a:avLst/>
            </a:prstGeom>
            <a:solidFill>
              <a:srgbClr val="C0C0C0"/>
            </a:solidFill>
            <a:ln w="28575" cap="flat" cmpd="sng" algn="ctr">
              <a:solidFill>
                <a:schemeClr val="bg2">
                  <a:lumMod val="10000"/>
                </a:schemeClr>
              </a:solidFill>
              <a:prstDash val="solid"/>
              <a:round/>
              <a:headEnd type="none" w="med" len="med"/>
              <a:tailEnd type="triangle"/>
            </a:ln>
            <a:effectLst/>
          </p:spPr>
        </p:cxnSp>
        <p:cxnSp>
          <p:nvCxnSpPr>
            <p:cNvPr id="572" name="Connector: Elbow 571">
              <a:extLst>
                <a:ext uri="{FF2B5EF4-FFF2-40B4-BE49-F238E27FC236}">
                  <a16:creationId xmlns:a16="http://schemas.microsoft.com/office/drawing/2014/main" id="{59AD6BEA-F17D-4AA5-AC7E-B4E2683C3C7F}"/>
                </a:ext>
              </a:extLst>
            </p:cNvPr>
            <p:cNvCxnSpPr>
              <a:cxnSpLocks/>
              <a:stCxn id="532" idx="2"/>
              <a:endCxn id="547" idx="7"/>
            </p:cNvCxnSpPr>
            <p:nvPr/>
          </p:nvCxnSpPr>
          <p:spPr bwMode="auto">
            <a:xfrm rot="5400000">
              <a:off x="7345558" y="3998649"/>
              <a:ext cx="224341" cy="1291642"/>
            </a:xfrm>
            <a:prstGeom prst="bentConnector3">
              <a:avLst>
                <a:gd name="adj1" fmla="val 27355"/>
              </a:avLst>
            </a:prstGeom>
            <a:solidFill>
              <a:srgbClr val="C0C0C0"/>
            </a:solidFill>
            <a:ln w="28575" cap="flat" cmpd="sng" algn="ctr">
              <a:solidFill>
                <a:schemeClr val="bg2">
                  <a:lumMod val="10000"/>
                </a:schemeClr>
              </a:solidFill>
              <a:prstDash val="solid"/>
              <a:round/>
              <a:headEnd type="none" w="med" len="med"/>
              <a:tailEnd type="triangle"/>
            </a:ln>
            <a:effectLst/>
          </p:spPr>
        </p:cxnSp>
        <p:cxnSp>
          <p:nvCxnSpPr>
            <p:cNvPr id="573" name="Connector: Elbow 572">
              <a:extLst>
                <a:ext uri="{FF2B5EF4-FFF2-40B4-BE49-F238E27FC236}">
                  <a16:creationId xmlns:a16="http://schemas.microsoft.com/office/drawing/2014/main" id="{881B1145-8504-48A0-8610-96EAE4B49F6C}"/>
                </a:ext>
              </a:extLst>
            </p:cNvPr>
            <p:cNvCxnSpPr>
              <a:cxnSpLocks/>
              <a:stCxn id="526" idx="4"/>
              <a:endCxn id="561" idx="0"/>
            </p:cNvCxnSpPr>
            <p:nvPr/>
          </p:nvCxnSpPr>
          <p:spPr bwMode="auto">
            <a:xfrm rot="16200000" flipH="1">
              <a:off x="10043874" y="3946424"/>
              <a:ext cx="599202" cy="604442"/>
            </a:xfrm>
            <a:prstGeom prst="bentConnector3">
              <a:avLst>
                <a:gd name="adj1" fmla="val 50000"/>
              </a:avLst>
            </a:prstGeom>
            <a:solidFill>
              <a:srgbClr val="C0C0C0"/>
            </a:solidFill>
            <a:ln w="28575" cap="flat" cmpd="sng" algn="ctr">
              <a:solidFill>
                <a:schemeClr val="bg2">
                  <a:lumMod val="10000"/>
                </a:schemeClr>
              </a:solidFill>
              <a:prstDash val="solid"/>
              <a:round/>
              <a:headEnd type="none" w="med" len="med"/>
              <a:tailEnd type="triangle"/>
            </a:ln>
            <a:effectLst/>
          </p:spPr>
        </p:cxnSp>
        <p:cxnSp>
          <p:nvCxnSpPr>
            <p:cNvPr id="574" name="Connector: Elbow 573">
              <a:extLst>
                <a:ext uri="{FF2B5EF4-FFF2-40B4-BE49-F238E27FC236}">
                  <a16:creationId xmlns:a16="http://schemas.microsoft.com/office/drawing/2014/main" id="{2D77E56F-562B-4D91-BE2D-2E20EE318C21}"/>
                </a:ext>
              </a:extLst>
            </p:cNvPr>
            <p:cNvCxnSpPr>
              <a:cxnSpLocks/>
              <a:stCxn id="529" idx="2"/>
              <a:endCxn id="516" idx="1"/>
            </p:cNvCxnSpPr>
            <p:nvPr/>
          </p:nvCxnSpPr>
          <p:spPr bwMode="auto">
            <a:xfrm rot="16200000" flipH="1">
              <a:off x="9522522" y="3926236"/>
              <a:ext cx="760042" cy="1138673"/>
            </a:xfrm>
            <a:prstGeom prst="bentConnector2">
              <a:avLst/>
            </a:prstGeom>
            <a:solidFill>
              <a:srgbClr val="C0C0C0"/>
            </a:solidFill>
            <a:ln w="28575" cap="flat" cmpd="sng" algn="ctr">
              <a:solidFill>
                <a:schemeClr val="bg2">
                  <a:lumMod val="10000"/>
                </a:schemeClr>
              </a:solidFill>
              <a:prstDash val="solid"/>
              <a:round/>
              <a:headEnd type="none" w="med" len="med"/>
              <a:tailEnd type="triangle"/>
            </a:ln>
            <a:effectLst/>
          </p:spPr>
        </p:cxnSp>
        <p:cxnSp>
          <p:nvCxnSpPr>
            <p:cNvPr id="575" name="Connector: Elbow 574">
              <a:extLst>
                <a:ext uri="{FF2B5EF4-FFF2-40B4-BE49-F238E27FC236}">
                  <a16:creationId xmlns:a16="http://schemas.microsoft.com/office/drawing/2014/main" id="{7AC0B107-BF24-4D58-A9A5-38383A282AC2}"/>
                </a:ext>
              </a:extLst>
            </p:cNvPr>
            <p:cNvCxnSpPr>
              <a:cxnSpLocks/>
              <a:stCxn id="531" idx="2"/>
              <a:endCxn id="516" idx="3"/>
            </p:cNvCxnSpPr>
            <p:nvPr/>
          </p:nvCxnSpPr>
          <p:spPr bwMode="auto">
            <a:xfrm rot="5400000">
              <a:off x="10814103" y="4442699"/>
              <a:ext cx="446859" cy="418930"/>
            </a:xfrm>
            <a:prstGeom prst="bentConnector2">
              <a:avLst/>
            </a:prstGeom>
            <a:solidFill>
              <a:srgbClr val="C0C0C0"/>
            </a:solidFill>
            <a:ln w="28575" cap="flat" cmpd="sng" algn="ctr">
              <a:solidFill>
                <a:schemeClr val="bg2">
                  <a:lumMod val="10000"/>
                </a:schemeClr>
              </a:solidFill>
              <a:prstDash val="solid"/>
              <a:round/>
              <a:headEnd type="none" w="med" len="med"/>
              <a:tailEnd type="triangle"/>
            </a:ln>
            <a:effectLst/>
          </p:spPr>
        </p:cxnSp>
        <p:sp>
          <p:nvSpPr>
            <p:cNvPr id="576" name="Rectangle 575">
              <a:extLst>
                <a:ext uri="{FF2B5EF4-FFF2-40B4-BE49-F238E27FC236}">
                  <a16:creationId xmlns:a16="http://schemas.microsoft.com/office/drawing/2014/main" id="{560D67D1-95E2-4CA3-BE93-FB8BE1EFEE75}"/>
                </a:ext>
              </a:extLst>
            </p:cNvPr>
            <p:cNvSpPr/>
            <p:nvPr/>
          </p:nvSpPr>
          <p:spPr bwMode="auto">
            <a:xfrm>
              <a:off x="2929760" y="5310114"/>
              <a:ext cx="2635476" cy="288000"/>
            </a:xfrm>
            <a:prstGeom prst="rect">
              <a:avLst/>
            </a:prstGeom>
            <a:solidFill>
              <a:schemeClr val="bg1"/>
            </a:solidFill>
            <a:ln w="19050" cap="flat" cmpd="sng" algn="ctr">
              <a:solidFill>
                <a:schemeClr val="tx1"/>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Vasoconstriction and proliferation</a:t>
              </a:r>
            </a:p>
          </p:txBody>
        </p:sp>
        <p:sp>
          <p:nvSpPr>
            <p:cNvPr id="577" name="Rectangle 576">
              <a:extLst>
                <a:ext uri="{FF2B5EF4-FFF2-40B4-BE49-F238E27FC236}">
                  <a16:creationId xmlns:a16="http://schemas.microsoft.com/office/drawing/2014/main" id="{8F87CDA2-2544-44E3-B1E4-8404CDBA915A}"/>
                </a:ext>
              </a:extLst>
            </p:cNvPr>
            <p:cNvSpPr/>
            <p:nvPr/>
          </p:nvSpPr>
          <p:spPr bwMode="auto">
            <a:xfrm>
              <a:off x="5944493" y="5310114"/>
              <a:ext cx="2635476" cy="288000"/>
            </a:xfrm>
            <a:prstGeom prst="rect">
              <a:avLst/>
            </a:prstGeom>
            <a:solidFill>
              <a:schemeClr val="bg1"/>
            </a:solidFill>
            <a:ln w="19050" cap="flat" cmpd="sng" algn="ctr">
              <a:solidFill>
                <a:schemeClr val="tx1"/>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Vasodilation and anti-proliferation</a:t>
              </a:r>
            </a:p>
          </p:txBody>
        </p:sp>
        <p:sp>
          <p:nvSpPr>
            <p:cNvPr id="578" name="Rectangle 577">
              <a:extLst>
                <a:ext uri="{FF2B5EF4-FFF2-40B4-BE49-F238E27FC236}">
                  <a16:creationId xmlns:a16="http://schemas.microsoft.com/office/drawing/2014/main" id="{42337562-EE5D-4401-90A8-220D6CE175E8}"/>
                </a:ext>
              </a:extLst>
            </p:cNvPr>
            <p:cNvSpPr/>
            <p:nvPr/>
          </p:nvSpPr>
          <p:spPr bwMode="auto">
            <a:xfrm>
              <a:off x="9029227" y="5310114"/>
              <a:ext cx="2635476" cy="288000"/>
            </a:xfrm>
            <a:prstGeom prst="rect">
              <a:avLst/>
            </a:prstGeom>
            <a:solidFill>
              <a:schemeClr val="bg1"/>
            </a:solidFill>
            <a:ln w="19050" cap="flat" cmpd="sng" algn="ctr">
              <a:solidFill>
                <a:schemeClr val="tx1"/>
              </a:solidFill>
              <a:prstDash val="solid"/>
              <a:round/>
              <a:headEnd type="none" w="med" len="med"/>
              <a:tailEnd type="none" w="med" len="med"/>
            </a:ln>
            <a:effectLst/>
          </p:spPr>
          <p:txBody>
            <a:bodyPr vert="horz" wrap="square" lIns="0" tIns="36000" rIns="0" bIns="3600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000" b="1"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Vasodilation and anti-proliferation</a:t>
              </a:r>
            </a:p>
          </p:txBody>
        </p:sp>
        <p:sp>
          <p:nvSpPr>
            <p:cNvPr id="579" name="TextBox 578">
              <a:extLst>
                <a:ext uri="{FF2B5EF4-FFF2-40B4-BE49-F238E27FC236}">
                  <a16:creationId xmlns:a16="http://schemas.microsoft.com/office/drawing/2014/main" id="{90068DA5-FF5A-4C11-B3F0-919812732CB8}"/>
                </a:ext>
              </a:extLst>
            </p:cNvPr>
            <p:cNvSpPr txBox="1"/>
            <p:nvPr/>
          </p:nvSpPr>
          <p:spPr>
            <a:xfrm>
              <a:off x="711950" y="2200787"/>
              <a:ext cx="132673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Endothelium</a:t>
              </a:r>
            </a:p>
          </p:txBody>
        </p:sp>
        <p:sp>
          <p:nvSpPr>
            <p:cNvPr id="580" name="TextBox 579">
              <a:extLst>
                <a:ext uri="{FF2B5EF4-FFF2-40B4-BE49-F238E27FC236}">
                  <a16:creationId xmlns:a16="http://schemas.microsoft.com/office/drawing/2014/main" id="{FF588F4F-905F-498F-AFD6-6AACC31A4A97}"/>
                </a:ext>
              </a:extLst>
            </p:cNvPr>
            <p:cNvSpPr txBox="1"/>
            <p:nvPr/>
          </p:nvSpPr>
          <p:spPr>
            <a:xfrm>
              <a:off x="567353" y="5437907"/>
              <a:ext cx="1326730" cy="2308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mn-cs"/>
                </a:rPr>
                <a:t>Smooth muscle cell</a:t>
              </a:r>
            </a:p>
          </p:txBody>
        </p:sp>
        <p:cxnSp>
          <p:nvCxnSpPr>
            <p:cNvPr id="581" name="Straight Connector 580">
              <a:extLst>
                <a:ext uri="{FF2B5EF4-FFF2-40B4-BE49-F238E27FC236}">
                  <a16:creationId xmlns:a16="http://schemas.microsoft.com/office/drawing/2014/main" id="{DC46A708-4CCA-4DD6-9DED-E5149F5B008D}"/>
                </a:ext>
              </a:extLst>
            </p:cNvPr>
            <p:cNvCxnSpPr>
              <a:cxnSpLocks/>
              <a:stCxn id="579" idx="2"/>
              <a:endCxn id="203" idx="6"/>
            </p:cNvCxnSpPr>
            <p:nvPr/>
          </p:nvCxnSpPr>
          <p:spPr bwMode="auto">
            <a:xfrm flipH="1">
              <a:off x="1271386" y="2431619"/>
              <a:ext cx="103929" cy="1110289"/>
            </a:xfrm>
            <a:prstGeom prst="line">
              <a:avLst/>
            </a:prstGeom>
            <a:solidFill>
              <a:srgbClr val="C0C0C0"/>
            </a:solidFill>
            <a:ln w="12700" cap="flat" cmpd="sng" algn="ctr">
              <a:solidFill>
                <a:schemeClr val="tx1"/>
              </a:solidFill>
              <a:prstDash val="solid"/>
              <a:round/>
              <a:headEnd type="none" w="med" len="med"/>
              <a:tailEnd type="none" w="med" len="med"/>
            </a:ln>
            <a:effectLst/>
          </p:spPr>
        </p:cxnSp>
        <p:cxnSp>
          <p:nvCxnSpPr>
            <p:cNvPr id="582" name="Straight Connector 581">
              <a:extLst>
                <a:ext uri="{FF2B5EF4-FFF2-40B4-BE49-F238E27FC236}">
                  <a16:creationId xmlns:a16="http://schemas.microsoft.com/office/drawing/2014/main" id="{89AEE893-CAE0-4C33-878B-6F94D94EEEAB}"/>
                </a:ext>
              </a:extLst>
            </p:cNvPr>
            <p:cNvCxnSpPr>
              <a:cxnSpLocks/>
              <a:stCxn id="580" idx="0"/>
              <a:endCxn id="170" idx="2"/>
            </p:cNvCxnSpPr>
            <p:nvPr/>
          </p:nvCxnSpPr>
          <p:spPr bwMode="auto">
            <a:xfrm flipH="1" flipV="1">
              <a:off x="1015807" y="4468386"/>
              <a:ext cx="214911" cy="969521"/>
            </a:xfrm>
            <a:prstGeom prst="line">
              <a:avLst/>
            </a:prstGeom>
            <a:solidFill>
              <a:srgbClr val="C0C0C0"/>
            </a:solidFill>
            <a:ln w="12700" cap="flat" cmpd="sng" algn="ctr">
              <a:solidFill>
                <a:schemeClr val="tx1"/>
              </a:solidFill>
              <a:prstDash val="solid"/>
              <a:round/>
              <a:headEnd type="none" w="med" len="med"/>
              <a:tailEnd type="none" w="med" len="med"/>
            </a:ln>
            <a:effectLst/>
          </p:spPr>
        </p:cxnSp>
        <p:sp>
          <p:nvSpPr>
            <p:cNvPr id="583" name="Rectangle 582">
              <a:extLst>
                <a:ext uri="{FF2B5EF4-FFF2-40B4-BE49-F238E27FC236}">
                  <a16:creationId xmlns:a16="http://schemas.microsoft.com/office/drawing/2014/main" id="{2F891B4C-A015-4972-9431-872DC5DE2F33}"/>
                </a:ext>
              </a:extLst>
            </p:cNvPr>
            <p:cNvSpPr/>
            <p:nvPr/>
          </p:nvSpPr>
          <p:spPr bwMode="auto">
            <a:xfrm>
              <a:off x="2594115" y="1592217"/>
              <a:ext cx="6119376" cy="4050096"/>
            </a:xfrm>
            <a:prstGeom prst="rect">
              <a:avLst/>
            </a:prstGeom>
            <a:noFill/>
            <a:ln w="28575"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84" name="Rectangle 583">
              <a:extLst>
                <a:ext uri="{FF2B5EF4-FFF2-40B4-BE49-F238E27FC236}">
                  <a16:creationId xmlns:a16="http://schemas.microsoft.com/office/drawing/2014/main" id="{333AC1D5-C9FF-4003-B99C-7AFAB5CE4DAF}"/>
                </a:ext>
              </a:extLst>
            </p:cNvPr>
            <p:cNvSpPr/>
            <p:nvPr/>
          </p:nvSpPr>
          <p:spPr bwMode="auto">
            <a:xfrm>
              <a:off x="2594115" y="1592217"/>
              <a:ext cx="3137077" cy="4050096"/>
            </a:xfrm>
            <a:prstGeom prst="rect">
              <a:avLst/>
            </a:prstGeom>
            <a:noFill/>
            <a:ln w="28575" cap="flat" cmpd="sng" algn="ctr">
              <a:solidFill>
                <a:schemeClr val="tx1"/>
              </a:solidFill>
              <a:prstDash val="dash"/>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grpSp>
      <p:sp>
        <p:nvSpPr>
          <p:cNvPr id="588" name="TextBox 587">
            <a:extLst>
              <a:ext uri="{FF2B5EF4-FFF2-40B4-BE49-F238E27FC236}">
                <a16:creationId xmlns:a16="http://schemas.microsoft.com/office/drawing/2014/main" id="{87C2ABCD-99CC-E0BF-11D4-F39CF9899947}"/>
              </a:ext>
            </a:extLst>
          </p:cNvPr>
          <p:cNvSpPr txBox="1"/>
          <p:nvPr/>
        </p:nvSpPr>
        <p:spPr>
          <a:xfrm>
            <a:off x="92345" y="6356818"/>
            <a:ext cx="11936493" cy="461665"/>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3F3F3F"/>
                </a:solidFill>
                <a:effectLst/>
                <a:uLnTx/>
                <a:uFillTx/>
                <a:latin typeface="Arial" panose="020B0604020202020204"/>
                <a:ea typeface="+mn-ea"/>
                <a:cs typeface="+mn-cs"/>
              </a:rPr>
              <a:t>1. Pugliese S, et al. </a:t>
            </a:r>
            <a:r>
              <a:rPr kumimoji="0" lang="en-US" sz="800" b="0" i="1" u="none" strike="noStrike" kern="1200" cap="none" spc="0" normalizeH="0" baseline="0" noProof="0" dirty="0">
                <a:ln>
                  <a:noFill/>
                </a:ln>
                <a:solidFill>
                  <a:srgbClr val="3F3F3F"/>
                </a:solidFill>
                <a:effectLst/>
                <a:uLnTx/>
                <a:uFillTx/>
                <a:latin typeface="Arial" panose="020B0604020202020204"/>
                <a:ea typeface="+mn-ea"/>
                <a:cs typeface="+mn-cs"/>
              </a:rPr>
              <a:t>Am J </a:t>
            </a:r>
            <a:r>
              <a:rPr kumimoji="0" lang="en-US" sz="800" b="0" i="1" u="none" strike="noStrike" kern="1200" cap="none" spc="0" normalizeH="0" baseline="0" noProof="0" dirty="0" err="1">
                <a:ln>
                  <a:noFill/>
                </a:ln>
                <a:solidFill>
                  <a:srgbClr val="3F3F3F"/>
                </a:solidFill>
                <a:effectLst/>
                <a:uLnTx/>
                <a:uFillTx/>
                <a:latin typeface="Arial" panose="020B0604020202020204"/>
                <a:ea typeface="+mn-ea"/>
                <a:cs typeface="+mn-cs"/>
              </a:rPr>
              <a:t>Physiol</a:t>
            </a:r>
            <a:r>
              <a:rPr kumimoji="0" lang="en-US" sz="800" b="0" i="1" u="none" strike="noStrike" kern="1200" cap="none" spc="0" normalizeH="0" baseline="0" noProof="0" dirty="0">
                <a:ln>
                  <a:noFill/>
                </a:ln>
                <a:solidFill>
                  <a:srgbClr val="3F3F3F"/>
                </a:solidFill>
                <a:effectLst/>
                <a:uLnTx/>
                <a:uFillTx/>
                <a:latin typeface="Arial" panose="020B0604020202020204"/>
                <a:ea typeface="+mn-ea"/>
                <a:cs typeface="+mn-cs"/>
              </a:rPr>
              <a:t> Lung Cell Mol Physiol.</a:t>
            </a:r>
            <a:r>
              <a:rPr kumimoji="0" lang="en-US" sz="800" b="0" i="0" u="none" strike="noStrike" kern="1200" cap="none" spc="0" normalizeH="0" baseline="0" noProof="0" dirty="0">
                <a:ln>
                  <a:noFill/>
                </a:ln>
                <a:solidFill>
                  <a:srgbClr val="3F3F3F"/>
                </a:solidFill>
                <a:effectLst/>
                <a:uLnTx/>
                <a:uFillTx/>
                <a:latin typeface="Arial" panose="020B0604020202020204"/>
                <a:ea typeface="+mn-ea"/>
                <a:cs typeface="+mn-cs"/>
              </a:rPr>
              <a:t> 2015; 308:L229-252; 2. Lau EMT, et al. </a:t>
            </a:r>
            <a:r>
              <a:rPr kumimoji="0" lang="en-US" sz="800" b="0" i="1" u="none" strike="noStrike" kern="1200" cap="none" spc="0" normalizeH="0" baseline="0" noProof="0" dirty="0">
                <a:ln>
                  <a:noFill/>
                </a:ln>
                <a:solidFill>
                  <a:srgbClr val="3F3F3F"/>
                </a:solidFill>
                <a:effectLst/>
                <a:uLnTx/>
                <a:uFillTx/>
                <a:latin typeface="Arial" panose="020B0604020202020204"/>
                <a:ea typeface="+mn-ea"/>
                <a:cs typeface="+mn-cs"/>
              </a:rPr>
              <a:t>Nat Rev </a:t>
            </a:r>
            <a:r>
              <a:rPr kumimoji="0" lang="en-US" sz="800" b="0" i="1" u="none" strike="noStrike" kern="1200" cap="none" spc="0" normalizeH="0" baseline="0" noProof="0" dirty="0" err="1">
                <a:ln>
                  <a:noFill/>
                </a:ln>
                <a:solidFill>
                  <a:srgbClr val="3F3F3F"/>
                </a:solidFill>
                <a:effectLst/>
                <a:uLnTx/>
                <a:uFillTx/>
                <a:latin typeface="Arial" panose="020B0604020202020204"/>
                <a:ea typeface="+mn-ea"/>
                <a:cs typeface="+mn-cs"/>
              </a:rPr>
              <a:t>Cardio</a:t>
            </a:r>
            <a:r>
              <a:rPr kumimoji="0" lang="en-US" sz="800" b="0" i="0" u="none" strike="noStrike" kern="1200" cap="none" spc="0" normalizeH="0" baseline="0" noProof="0" dirty="0" err="1">
                <a:ln>
                  <a:noFill/>
                </a:ln>
                <a:solidFill>
                  <a:srgbClr val="3F3F3F"/>
                </a:solidFill>
                <a:effectLst/>
                <a:uLnTx/>
                <a:uFillTx/>
                <a:latin typeface="Arial" panose="020B0604020202020204"/>
                <a:ea typeface="+mn-ea"/>
                <a:cs typeface="+mn-cs"/>
              </a:rPr>
              <a:t>l</a:t>
            </a:r>
            <a:r>
              <a:rPr kumimoji="0" lang="en-US" sz="800" b="0" i="0" u="none" strike="noStrike" kern="1200" cap="none" spc="0" normalizeH="0" baseline="0" noProof="0" dirty="0">
                <a:ln>
                  <a:noFill/>
                </a:ln>
                <a:solidFill>
                  <a:srgbClr val="3F3F3F"/>
                </a:solidFill>
                <a:effectLst/>
                <a:uLnTx/>
                <a:uFillTx/>
                <a:latin typeface="Arial" panose="020B0604020202020204"/>
                <a:ea typeface="+mn-ea"/>
                <a:cs typeface="+mn-cs"/>
              </a:rPr>
              <a:t>. 2017;14:603-14; 3. Actelion. </a:t>
            </a:r>
            <a:r>
              <a:rPr kumimoji="0" lang="en-US" sz="800" b="0" i="0" u="none" strike="noStrike" kern="1200" cap="none" spc="0" normalizeH="0" baseline="0" noProof="0" dirty="0" err="1">
                <a:ln>
                  <a:noFill/>
                </a:ln>
                <a:solidFill>
                  <a:srgbClr val="3F3F3F"/>
                </a:solidFill>
                <a:effectLst/>
                <a:uLnTx/>
                <a:uFillTx/>
                <a:latin typeface="Arial" panose="020B0604020202020204"/>
                <a:ea typeface="+mn-ea"/>
                <a:cs typeface="+mn-cs"/>
              </a:rPr>
              <a:t>ClinicalTrials.gov</a:t>
            </a:r>
            <a:r>
              <a:rPr kumimoji="0" lang="en-US" sz="800" b="0" i="0" u="none" strike="noStrike" kern="1200" cap="none" spc="0" normalizeH="0" baseline="0" noProof="0" dirty="0">
                <a:ln>
                  <a:noFill/>
                </a:ln>
                <a:solidFill>
                  <a:srgbClr val="3F3F3F"/>
                </a:solidFill>
                <a:effectLst/>
                <a:uLnTx/>
                <a:uFillTx/>
                <a:latin typeface="Arial" panose="020B0604020202020204"/>
                <a:ea typeface="+mn-ea"/>
                <a:cs typeface="+mn-cs"/>
              </a:rPr>
              <a:t> Identifier: NCT04273945. Updated August 16,2023; 4. Actelion. </a:t>
            </a:r>
            <a:r>
              <a:rPr kumimoji="0" lang="en-US" sz="800" b="0" i="0" u="none" strike="noStrike" kern="1200" cap="none" spc="0" normalizeH="0" baseline="0" noProof="0" dirty="0" err="1">
                <a:ln>
                  <a:noFill/>
                </a:ln>
                <a:solidFill>
                  <a:srgbClr val="3F3F3F"/>
                </a:solidFill>
                <a:effectLst/>
                <a:uLnTx/>
                <a:uFillTx/>
                <a:latin typeface="Arial" panose="020B0604020202020204"/>
                <a:ea typeface="+mn-ea"/>
                <a:cs typeface="+mn-cs"/>
              </a:rPr>
              <a:t>ClinicalTrials.gov</a:t>
            </a:r>
            <a:r>
              <a:rPr kumimoji="0" lang="en-US" sz="800" b="0" i="0" u="none" strike="noStrike" kern="1200" cap="none" spc="0" normalizeH="0" baseline="0" noProof="0" dirty="0">
                <a:ln>
                  <a:noFill/>
                </a:ln>
                <a:solidFill>
                  <a:srgbClr val="3F3F3F"/>
                </a:solidFill>
                <a:effectLst/>
                <a:uLnTx/>
                <a:uFillTx/>
                <a:latin typeface="Arial" panose="020B0604020202020204"/>
                <a:ea typeface="+mn-ea"/>
                <a:cs typeface="+mn-cs"/>
              </a:rPr>
              <a:t> Identifier: NCT03904693. Updated August 16, 2023; 5. </a:t>
            </a:r>
            <a:r>
              <a:rPr kumimoji="0" lang="en-US" sz="800" b="0" i="0" u="none" strike="noStrike" kern="1200" cap="none" spc="0" normalizeH="0" baseline="0" noProof="0" dirty="0" err="1">
                <a:ln>
                  <a:noFill/>
                </a:ln>
                <a:solidFill>
                  <a:srgbClr val="3F3F3F"/>
                </a:solidFill>
                <a:effectLst/>
                <a:uLnTx/>
                <a:uFillTx/>
                <a:latin typeface="Arial" panose="020B0604020202020204"/>
                <a:ea typeface="+mn-ea"/>
                <a:cs typeface="+mn-cs"/>
              </a:rPr>
              <a:t>Liquidia</a:t>
            </a:r>
            <a:r>
              <a:rPr kumimoji="0" lang="en-US" sz="800" b="0" i="0" u="none" strike="noStrike" kern="1200" cap="none" spc="0" normalizeH="0" baseline="0" noProof="0" dirty="0">
                <a:ln>
                  <a:noFill/>
                </a:ln>
                <a:solidFill>
                  <a:srgbClr val="3F3F3F"/>
                </a:solidFill>
                <a:effectLst/>
                <a:uLnTx/>
                <a:uFillTx/>
                <a:latin typeface="Arial" panose="020B0604020202020204"/>
                <a:ea typeface="+mn-ea"/>
                <a:cs typeface="+mn-cs"/>
              </a:rPr>
              <a:t> Technologies, Inc. </a:t>
            </a:r>
            <a:r>
              <a:rPr kumimoji="0" lang="en-US" sz="800" b="0" i="0" u="none" strike="noStrike" kern="1200" cap="none" spc="0" normalizeH="0" baseline="0" noProof="0" dirty="0" err="1">
                <a:ln>
                  <a:noFill/>
                </a:ln>
                <a:solidFill>
                  <a:srgbClr val="3F3F3F"/>
                </a:solidFill>
                <a:effectLst/>
                <a:uLnTx/>
                <a:uFillTx/>
                <a:latin typeface="Arial" panose="020B0604020202020204"/>
                <a:ea typeface="+mn-ea"/>
                <a:cs typeface="+mn-cs"/>
              </a:rPr>
              <a:t>ClinicalTrials.gov</a:t>
            </a:r>
            <a:r>
              <a:rPr kumimoji="0" lang="en-US" sz="800" b="0" i="0" u="none" strike="noStrike" kern="1200" cap="none" spc="0" normalizeH="0" baseline="0" noProof="0" dirty="0">
                <a:ln>
                  <a:noFill/>
                </a:ln>
                <a:solidFill>
                  <a:srgbClr val="3F3F3F"/>
                </a:solidFill>
                <a:effectLst/>
                <a:uLnTx/>
                <a:uFillTx/>
                <a:latin typeface="Arial" panose="020B0604020202020204"/>
                <a:ea typeface="+mn-ea"/>
                <a:cs typeface="+mn-cs"/>
              </a:rPr>
              <a:t> Identifier: NCT03399604. Updated November 6, 2020; 6. </a:t>
            </a:r>
            <a:r>
              <a:rPr kumimoji="0" lang="en-US" sz="800" b="0" i="0" u="none" strike="noStrike" kern="1200" cap="none" spc="0" normalizeH="0" baseline="0" noProof="0" dirty="0" err="1">
                <a:ln>
                  <a:noFill/>
                </a:ln>
                <a:solidFill>
                  <a:srgbClr val="3F3F3F"/>
                </a:solidFill>
                <a:effectLst/>
                <a:uLnTx/>
                <a:uFillTx/>
                <a:latin typeface="Arial" panose="020B0604020202020204"/>
                <a:ea typeface="+mn-ea"/>
                <a:cs typeface="+mn-cs"/>
              </a:rPr>
              <a:t>Liquidia</a:t>
            </a:r>
            <a:r>
              <a:rPr kumimoji="0" lang="en-US" sz="800" b="0" i="0" u="none" strike="noStrike" kern="1200" cap="none" spc="0" normalizeH="0" baseline="0" noProof="0" dirty="0">
                <a:ln>
                  <a:noFill/>
                </a:ln>
                <a:solidFill>
                  <a:srgbClr val="3F3F3F"/>
                </a:solidFill>
                <a:effectLst/>
                <a:uLnTx/>
                <a:uFillTx/>
                <a:latin typeface="Arial" panose="020B0604020202020204"/>
                <a:ea typeface="+mn-ea"/>
                <a:cs typeface="+mn-cs"/>
              </a:rPr>
              <a:t> Technologies, Inc. </a:t>
            </a:r>
            <a:r>
              <a:rPr kumimoji="0" lang="en-US" sz="800" b="0" i="0" u="none" strike="noStrike" kern="1200" cap="none" spc="0" normalizeH="0" baseline="0" noProof="0" dirty="0" err="1">
                <a:ln>
                  <a:noFill/>
                </a:ln>
                <a:solidFill>
                  <a:srgbClr val="3F3F3F"/>
                </a:solidFill>
                <a:effectLst/>
                <a:uLnTx/>
                <a:uFillTx/>
                <a:latin typeface="Arial" panose="020B0604020202020204"/>
                <a:ea typeface="+mn-ea"/>
                <a:cs typeface="+mn-cs"/>
              </a:rPr>
              <a:t>ClinicalTrials.gov</a:t>
            </a:r>
            <a:r>
              <a:rPr kumimoji="0" lang="en-US" sz="800" b="0" i="0" u="none" strike="noStrike" kern="1200" cap="none" spc="0" normalizeH="0" baseline="0" noProof="0" dirty="0">
                <a:ln>
                  <a:noFill/>
                </a:ln>
                <a:solidFill>
                  <a:srgbClr val="3F3F3F"/>
                </a:solidFill>
                <a:effectLst/>
                <a:uLnTx/>
                <a:uFillTx/>
                <a:latin typeface="Arial" panose="020B0604020202020204"/>
                <a:ea typeface="+mn-ea"/>
                <a:cs typeface="+mn-cs"/>
              </a:rPr>
              <a:t> Identifier: NCT04691154. Updated August 14, 2023; 7. Torres F,</a:t>
            </a:r>
            <a:r>
              <a:rPr kumimoji="0" lang="en-US" sz="800" b="0" i="1" u="none" strike="noStrike" kern="1200" cap="none" spc="0" normalizeH="0" baseline="0" noProof="0" dirty="0">
                <a:ln>
                  <a:noFill/>
                </a:ln>
                <a:solidFill>
                  <a:srgbClr val="3F3F3F"/>
                </a:solidFill>
                <a:effectLst/>
                <a:uLnTx/>
                <a:uFillTx/>
                <a:latin typeface="Arial" panose="020B0604020202020204"/>
                <a:ea typeface="+mn-ea"/>
                <a:cs typeface="+mn-cs"/>
              </a:rPr>
              <a:t> </a:t>
            </a:r>
            <a:r>
              <a:rPr kumimoji="0" lang="en-US" sz="800" b="0" i="0" u="none" strike="noStrike" kern="1200" cap="none" spc="0" normalizeH="0" baseline="0" noProof="0" dirty="0">
                <a:ln>
                  <a:noFill/>
                </a:ln>
                <a:solidFill>
                  <a:srgbClr val="3F3F3F"/>
                </a:solidFill>
                <a:effectLst/>
                <a:uLnTx/>
                <a:uFillTx/>
                <a:latin typeface="Arial" panose="020B0604020202020204"/>
                <a:ea typeface="+mn-ea"/>
                <a:cs typeface="+mn-cs"/>
              </a:rPr>
              <a:t>et al. </a:t>
            </a:r>
            <a:r>
              <a:rPr kumimoji="0" lang="en-US" sz="800" b="0" i="1" u="none" strike="noStrike" kern="1200" cap="none" spc="0" normalizeH="0" baseline="0" noProof="0" dirty="0" err="1">
                <a:ln>
                  <a:noFill/>
                </a:ln>
                <a:solidFill>
                  <a:srgbClr val="3F3F3F"/>
                </a:solidFill>
                <a:effectLst/>
                <a:uLnTx/>
                <a:uFillTx/>
                <a:latin typeface="Arial" panose="020B0604020202020204"/>
                <a:ea typeface="+mn-ea"/>
                <a:cs typeface="+mn-cs"/>
              </a:rPr>
              <a:t>Eur</a:t>
            </a:r>
            <a:r>
              <a:rPr kumimoji="0" lang="en-US" sz="800" b="0" i="1" u="none" strike="noStrike" kern="1200" cap="none" spc="0" normalizeH="0" baseline="0" noProof="0" dirty="0">
                <a:ln>
                  <a:noFill/>
                </a:ln>
                <a:solidFill>
                  <a:srgbClr val="3F3F3F"/>
                </a:solidFill>
                <a:effectLst/>
                <a:uLnTx/>
                <a:uFillTx/>
                <a:latin typeface="Arial" panose="020B0604020202020204"/>
                <a:ea typeface="+mn-ea"/>
                <a:cs typeface="+mn-cs"/>
              </a:rPr>
              <a:t> Resp J.</a:t>
            </a:r>
            <a:r>
              <a:rPr kumimoji="0" lang="en-US" sz="800" b="0" i="0" u="none" strike="noStrike" kern="1200" cap="none" spc="0" normalizeH="0" baseline="0" noProof="0" dirty="0">
                <a:ln>
                  <a:noFill/>
                </a:ln>
                <a:solidFill>
                  <a:srgbClr val="3F3F3F"/>
                </a:solidFill>
                <a:effectLst/>
                <a:uLnTx/>
                <a:uFillTx/>
                <a:latin typeface="Arial" panose="020B0604020202020204"/>
                <a:ea typeface="+mn-ea"/>
                <a:cs typeface="+mn-cs"/>
              </a:rPr>
              <a:t> 2019;54:1901030; Merck Sharp &amp; Dohme LLC. </a:t>
            </a:r>
            <a:r>
              <a:rPr kumimoji="0" lang="en-US" sz="800" b="0" i="0" u="none" strike="noStrike" kern="1200" cap="none" spc="0" normalizeH="0" baseline="0" noProof="0" dirty="0" err="1">
                <a:ln>
                  <a:noFill/>
                </a:ln>
                <a:solidFill>
                  <a:srgbClr val="3F3F3F"/>
                </a:solidFill>
                <a:effectLst/>
                <a:uLnTx/>
                <a:uFillTx/>
                <a:latin typeface="Arial" panose="020B0604020202020204"/>
                <a:ea typeface="+mn-ea"/>
                <a:cs typeface="+mn-cs"/>
              </a:rPr>
              <a:t>ClinicalTrials.gov</a:t>
            </a:r>
            <a:r>
              <a:rPr kumimoji="0" lang="en-US" sz="800" b="0" i="0" u="none" strike="noStrike" kern="1200" cap="none" spc="0" normalizeH="0" baseline="0" noProof="0" dirty="0">
                <a:ln>
                  <a:noFill/>
                </a:ln>
                <a:solidFill>
                  <a:srgbClr val="3F3F3F"/>
                </a:solidFill>
                <a:effectLst/>
                <a:uLnTx/>
                <a:uFillTx/>
                <a:latin typeface="Arial" panose="020B0604020202020204"/>
                <a:ea typeface="+mn-ea"/>
                <a:cs typeface="+mn-cs"/>
              </a:rPr>
              <a:t> Identifier: NCT04732221. Updated August 9, 2023; </a:t>
            </a:r>
            <a:r>
              <a:rPr kumimoji="0" lang="en-US" sz="800" b="0" i="0" u="none" strike="noStrike" kern="1200" cap="none" spc="0" normalizeH="0" baseline="0" noProof="0" dirty="0" err="1">
                <a:ln>
                  <a:noFill/>
                </a:ln>
                <a:solidFill>
                  <a:srgbClr val="3F3F3F"/>
                </a:solidFill>
                <a:effectLst/>
                <a:uLnTx/>
                <a:uFillTx/>
                <a:latin typeface="Arial" panose="020B0604020202020204"/>
                <a:ea typeface="+mn-ea"/>
                <a:cs typeface="+mn-cs"/>
              </a:rPr>
              <a:t>Respira</a:t>
            </a:r>
            <a:r>
              <a:rPr kumimoji="0" lang="en-US" sz="800" b="0" i="0" u="none" strike="noStrike" kern="1200" cap="none" spc="0" normalizeH="0" baseline="0" noProof="0" dirty="0">
                <a:ln>
                  <a:noFill/>
                </a:ln>
                <a:solidFill>
                  <a:srgbClr val="3F3F3F"/>
                </a:solidFill>
                <a:effectLst/>
                <a:uLnTx/>
                <a:uFillTx/>
                <a:latin typeface="Arial" panose="020B0604020202020204"/>
                <a:ea typeface="+mn-ea"/>
                <a:cs typeface="+mn-cs"/>
              </a:rPr>
              <a:t> Therapeutics, Inc. </a:t>
            </a:r>
            <a:r>
              <a:rPr kumimoji="0" lang="en-US" sz="800" b="0" i="0" u="none" strike="noStrike" kern="1200" cap="none" spc="0" normalizeH="0" baseline="0" noProof="0" dirty="0" err="1">
                <a:ln>
                  <a:noFill/>
                </a:ln>
                <a:solidFill>
                  <a:srgbClr val="3F3F3F"/>
                </a:solidFill>
                <a:effectLst/>
                <a:uLnTx/>
                <a:uFillTx/>
                <a:latin typeface="Arial" panose="020B0604020202020204"/>
                <a:ea typeface="+mn-ea"/>
                <a:cs typeface="+mn-cs"/>
              </a:rPr>
              <a:t>ClinicalTrials.gov</a:t>
            </a:r>
            <a:r>
              <a:rPr kumimoji="0" lang="en-US" sz="800" b="0" i="0" u="none" strike="noStrike" kern="1200" cap="none" spc="0" normalizeH="0" baseline="0" noProof="0" dirty="0">
                <a:ln>
                  <a:noFill/>
                </a:ln>
                <a:solidFill>
                  <a:srgbClr val="3F3F3F"/>
                </a:solidFill>
                <a:effectLst/>
                <a:uLnTx/>
                <a:uFillTx/>
                <a:latin typeface="Arial" panose="020B0604020202020204"/>
                <a:ea typeface="+mn-ea"/>
                <a:cs typeface="+mn-cs"/>
              </a:rPr>
              <a:t> Identifier: NCT04266197. Updated February 10, 2023. </a:t>
            </a:r>
          </a:p>
        </p:txBody>
      </p:sp>
      <p:grpSp>
        <p:nvGrpSpPr>
          <p:cNvPr id="587" name="Group 586">
            <a:extLst>
              <a:ext uri="{FF2B5EF4-FFF2-40B4-BE49-F238E27FC236}">
                <a16:creationId xmlns:a16="http://schemas.microsoft.com/office/drawing/2014/main" id="{B2D84A7C-5BE8-C516-8BBB-5F2ABC5C9BA3}"/>
              </a:ext>
            </a:extLst>
          </p:cNvPr>
          <p:cNvGrpSpPr/>
          <p:nvPr/>
        </p:nvGrpSpPr>
        <p:grpSpPr>
          <a:xfrm>
            <a:off x="117594" y="1121095"/>
            <a:ext cx="12074406" cy="4666005"/>
            <a:chOff x="117594" y="1121095"/>
            <a:chExt cx="12074406" cy="4666005"/>
          </a:xfrm>
        </p:grpSpPr>
        <p:sp>
          <p:nvSpPr>
            <p:cNvPr id="592" name="Rectangle 591">
              <a:extLst>
                <a:ext uri="{FF2B5EF4-FFF2-40B4-BE49-F238E27FC236}">
                  <a16:creationId xmlns:a16="http://schemas.microsoft.com/office/drawing/2014/main" id="{EE3FDC89-B606-4733-BE47-DD44104A515A}"/>
                </a:ext>
              </a:extLst>
            </p:cNvPr>
            <p:cNvSpPr/>
            <p:nvPr/>
          </p:nvSpPr>
          <p:spPr bwMode="auto">
            <a:xfrm>
              <a:off x="117594" y="1121095"/>
              <a:ext cx="12074406" cy="4666005"/>
            </a:xfrm>
            <a:prstGeom prst="rect">
              <a:avLst/>
            </a:prstGeom>
            <a:solidFill>
              <a:schemeClr val="bg1">
                <a:alpha val="56000"/>
              </a:schemeClr>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593" name="Rectangle: Rounded Corners 602">
              <a:extLst>
                <a:ext uri="{FF2B5EF4-FFF2-40B4-BE49-F238E27FC236}">
                  <a16:creationId xmlns:a16="http://schemas.microsoft.com/office/drawing/2014/main" id="{512227D6-C302-DFFA-2BC9-48C6CB9BE4D4}"/>
                </a:ext>
              </a:extLst>
            </p:cNvPr>
            <p:cNvSpPr/>
            <p:nvPr/>
          </p:nvSpPr>
          <p:spPr bwMode="auto">
            <a:xfrm>
              <a:off x="10592260" y="3426556"/>
              <a:ext cx="1470759" cy="399476"/>
            </a:xfrm>
            <a:prstGeom prst="roundRect">
              <a:avLst/>
            </a:prstGeom>
            <a:solidFill>
              <a:schemeClr val="accent2"/>
            </a:solidFill>
            <a:ln w="1905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36000" rIns="0" bIns="36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rPr>
                <a:t>Ralinepag</a:t>
              </a:r>
              <a:r>
                <a:rPr kumimoji="0" lang="en-US" sz="1100" b="1" i="0" u="none" strike="noStrike" kern="1200" cap="none" spc="0" normalizeH="0" baseline="30000" noProof="0">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rPr>
                <a:t>7</a:t>
              </a:r>
            </a:p>
          </p:txBody>
        </p:sp>
        <p:sp>
          <p:nvSpPr>
            <p:cNvPr id="594" name="Rectangle: Rounded Corners 584">
              <a:extLst>
                <a:ext uri="{FF2B5EF4-FFF2-40B4-BE49-F238E27FC236}">
                  <a16:creationId xmlns:a16="http://schemas.microsoft.com/office/drawing/2014/main" id="{DB5720D6-4E59-7FE8-5D71-ADB80D8630DF}"/>
                </a:ext>
              </a:extLst>
            </p:cNvPr>
            <p:cNvSpPr/>
            <p:nvPr/>
          </p:nvSpPr>
          <p:spPr bwMode="auto">
            <a:xfrm>
              <a:off x="4313976" y="2926329"/>
              <a:ext cx="1768732" cy="399476"/>
            </a:xfrm>
            <a:prstGeom prst="roundRect">
              <a:avLst/>
            </a:prstGeom>
            <a:solidFill>
              <a:schemeClr val="accent2"/>
            </a:solidFill>
            <a:ln w="1905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36000" rIns="0" bIns="36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rPr>
                <a:t>Macitentan</a:t>
              </a:r>
              <a:r>
                <a:rPr kumimoji="0" lang="en-US" sz="11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rPr>
                <a:t> 75 mg</a:t>
              </a:r>
              <a:r>
                <a:rPr kumimoji="0" lang="en-US" sz="1100" b="1"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rPr>
                <a:t>3</a:t>
              </a:r>
            </a:p>
          </p:txBody>
        </p:sp>
        <p:sp>
          <p:nvSpPr>
            <p:cNvPr id="595" name="Rectangle: Rounded Corners 595">
              <a:extLst>
                <a:ext uri="{FF2B5EF4-FFF2-40B4-BE49-F238E27FC236}">
                  <a16:creationId xmlns:a16="http://schemas.microsoft.com/office/drawing/2014/main" id="{CC6E9865-04F4-3B0D-6055-B3EDD46960B6}"/>
                </a:ext>
              </a:extLst>
            </p:cNvPr>
            <p:cNvSpPr/>
            <p:nvPr/>
          </p:nvSpPr>
          <p:spPr bwMode="auto">
            <a:xfrm>
              <a:off x="5264747" y="3801562"/>
              <a:ext cx="1768732" cy="399476"/>
            </a:xfrm>
            <a:prstGeom prst="roundRect">
              <a:avLst/>
            </a:prstGeom>
            <a:solidFill>
              <a:schemeClr val="accent2"/>
            </a:solidFill>
            <a:ln w="1905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36000" rIns="0" bIns="36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err="1">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rPr>
                <a:t>Macitentan</a:t>
              </a:r>
              <a:r>
                <a:rPr kumimoji="0" lang="en-US" sz="11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rPr>
                <a:t> + tadalafil fixed dose combo</a:t>
              </a:r>
              <a:r>
                <a:rPr kumimoji="0" lang="en-US" sz="1100" b="1" i="0" u="none" strike="noStrike" kern="1200" cap="none" spc="0" normalizeH="0" baseline="30000" noProof="0">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rPr>
                <a:t>4</a:t>
              </a:r>
            </a:p>
          </p:txBody>
        </p:sp>
        <p:sp>
          <p:nvSpPr>
            <p:cNvPr id="597" name="Rectangle: Rounded Corners 599">
              <a:extLst>
                <a:ext uri="{FF2B5EF4-FFF2-40B4-BE49-F238E27FC236}">
                  <a16:creationId xmlns:a16="http://schemas.microsoft.com/office/drawing/2014/main" id="{46D47D09-ED35-59A9-54BF-B4F248E830C7}"/>
                </a:ext>
              </a:extLst>
            </p:cNvPr>
            <p:cNvSpPr/>
            <p:nvPr/>
          </p:nvSpPr>
          <p:spPr bwMode="auto">
            <a:xfrm>
              <a:off x="8799495" y="4214018"/>
              <a:ext cx="1470759" cy="399476"/>
            </a:xfrm>
            <a:prstGeom prst="roundRect">
              <a:avLst/>
            </a:prstGeom>
            <a:solidFill>
              <a:schemeClr val="accent2"/>
            </a:solidFill>
            <a:ln w="1905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36000" rIns="0" bIns="36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rPr>
                <a:t>Treprostinil dry powder, inhaled</a:t>
              </a:r>
              <a:r>
                <a:rPr kumimoji="0" lang="en-US" sz="1100" b="1" i="0" u="none" strike="noStrike" kern="1200" cap="none" spc="0" normalizeH="0" baseline="30000" noProof="0">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rPr>
                <a:t>5</a:t>
              </a:r>
            </a:p>
          </p:txBody>
        </p:sp>
        <p:sp>
          <p:nvSpPr>
            <p:cNvPr id="598" name="Rectangle: Rounded Corners 588">
              <a:extLst>
                <a:ext uri="{FF2B5EF4-FFF2-40B4-BE49-F238E27FC236}">
                  <a16:creationId xmlns:a16="http://schemas.microsoft.com/office/drawing/2014/main" id="{C63BF4E1-175E-78C8-DE08-AFB1DFA78038}"/>
                </a:ext>
              </a:extLst>
            </p:cNvPr>
            <p:cNvSpPr/>
            <p:nvPr/>
          </p:nvSpPr>
          <p:spPr bwMode="auto">
            <a:xfrm>
              <a:off x="8741544" y="4661686"/>
              <a:ext cx="1684662" cy="399476"/>
            </a:xfrm>
            <a:prstGeom prst="roundRect">
              <a:avLst/>
            </a:prstGeom>
            <a:solidFill>
              <a:schemeClr val="accent2"/>
            </a:solidFill>
            <a:ln w="1905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36000" rIns="0" bIns="36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rPr>
                <a:t>Liposomal t</a:t>
              </a:r>
              <a:r>
                <a:rPr kumimoji="0" lang="en-US" sz="11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rPr>
                <a:t>reprostinil</a:t>
              </a:r>
              <a:r>
                <a:rPr kumimoji="0" lang="en-US" sz="11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rPr>
                <a:t>, inhaled</a:t>
              </a:r>
              <a:r>
                <a:rPr kumimoji="0" lang="en-GB" sz="1100" b="1"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rPr>
                <a:t>6</a:t>
              </a:r>
              <a:endParaRPr kumimoji="0" lang="en-US" sz="1100" b="1"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endParaRPr>
            </a:p>
          </p:txBody>
        </p:sp>
        <p:sp>
          <p:nvSpPr>
            <p:cNvPr id="599" name="Rectangle: Rounded Corners 589">
              <a:extLst>
                <a:ext uri="{FF2B5EF4-FFF2-40B4-BE49-F238E27FC236}">
                  <a16:creationId xmlns:a16="http://schemas.microsoft.com/office/drawing/2014/main" id="{553D7D1B-8FE2-DDDE-306B-296E4499D366}"/>
                </a:ext>
              </a:extLst>
            </p:cNvPr>
            <p:cNvSpPr/>
            <p:nvPr/>
          </p:nvSpPr>
          <p:spPr bwMode="auto">
            <a:xfrm>
              <a:off x="7427691" y="4542837"/>
              <a:ext cx="1255946" cy="450613"/>
            </a:xfrm>
            <a:prstGeom prst="roundRect">
              <a:avLst/>
            </a:prstGeom>
            <a:solidFill>
              <a:schemeClr val="accent2"/>
            </a:solidFill>
            <a:ln w="1905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36000" rIns="0" bIns="36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rPr>
                <a:t>sGC</a:t>
              </a:r>
              <a:r>
                <a:rPr kumimoji="0" lang="en-US" sz="11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rPr>
                <a:t> stimulator, inhaled</a:t>
              </a:r>
              <a:r>
                <a:rPr kumimoji="0" lang="en-US" sz="1100" b="1"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rPr>
                <a:t>8</a:t>
              </a:r>
            </a:p>
          </p:txBody>
        </p:sp>
        <p:sp>
          <p:nvSpPr>
            <p:cNvPr id="601" name="Rectangle: Rounded Corners 590">
              <a:extLst>
                <a:ext uri="{FF2B5EF4-FFF2-40B4-BE49-F238E27FC236}">
                  <a16:creationId xmlns:a16="http://schemas.microsoft.com/office/drawing/2014/main" id="{0E73DDA5-57A7-0574-7C0A-858455D9A50A}"/>
                </a:ext>
              </a:extLst>
            </p:cNvPr>
            <p:cNvSpPr/>
            <p:nvPr/>
          </p:nvSpPr>
          <p:spPr bwMode="auto">
            <a:xfrm>
              <a:off x="5661866" y="4682265"/>
              <a:ext cx="1626029" cy="399476"/>
            </a:xfrm>
            <a:prstGeom prst="roundRect">
              <a:avLst/>
            </a:prstGeom>
            <a:solidFill>
              <a:schemeClr val="accent2"/>
            </a:solidFill>
            <a:ln w="19050" cap="flat" cmpd="sng" algn="ctr">
              <a:solidFill>
                <a:schemeClr val="bg1"/>
              </a:solid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36000" rIns="0" bIns="36000" numCol="1" rtlCol="0" anchor="ctr" anchorCtr="0" compatLnSpc="1">
              <a:prstTxWarp prst="textNoShape">
                <a:avLst/>
              </a:prstTxWarp>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100" b="1" i="0" u="none" strike="noStrike" kern="1200" cap="none" spc="0" normalizeH="0" baseline="0" noProof="0" dirty="0" err="1">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rPr>
                <a:t>Vardenafil</a:t>
              </a:r>
              <a:r>
                <a:rPr kumimoji="0" lang="en-US" sz="1100" b="1" i="0" u="none" strike="noStrike" kern="1200" cap="none" spc="0" normalizeH="0" baseline="0" noProof="0" dirty="0">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rPr>
                <a:t> dry powder, inhaled</a:t>
              </a:r>
              <a:r>
                <a:rPr kumimoji="0" lang="en-US" sz="1100" b="1" i="0" u="none" strike="noStrike" kern="1200" cap="none" spc="0" normalizeH="0" baseline="30000" noProof="0" dirty="0">
                  <a:ln>
                    <a:noFill/>
                  </a:ln>
                  <a:solidFill>
                    <a:srgbClr val="FFFFFF"/>
                  </a:solidFill>
                  <a:effectLst/>
                  <a:uLnTx/>
                  <a:uFillTx/>
                  <a:latin typeface="Verdana" panose="020B0604030504040204" pitchFamily="34" charset="0"/>
                  <a:ea typeface="Verdana" panose="020B0604030504040204" pitchFamily="34" charset="0"/>
                  <a:cs typeface="+mn-cs"/>
                  <a:sym typeface="Arial" pitchFamily="-110" charset="0"/>
                </a:rPr>
                <a:t>9</a:t>
              </a:r>
            </a:p>
          </p:txBody>
        </p:sp>
      </p:grpSp>
    </p:spTree>
    <p:extLst>
      <p:ext uri="{BB962C8B-B14F-4D97-AF65-F5344CB8AC3E}">
        <p14:creationId xmlns:p14="http://schemas.microsoft.com/office/powerpoint/2010/main" val="201838458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Footer Placeholder 2">
            <a:extLst>
              <a:ext uri="{FF2B5EF4-FFF2-40B4-BE49-F238E27FC236}">
                <a16:creationId xmlns:a16="http://schemas.microsoft.com/office/drawing/2014/main" id="{D68008B4-9006-4386-A17C-398CA562C1BE}"/>
              </a:ext>
            </a:extLst>
          </p:cNvPr>
          <p:cNvSpPr txBox="1">
            <a:spLocks/>
          </p:cNvSpPr>
          <p:nvPr/>
        </p:nvSpPr>
        <p:spPr>
          <a:xfrm>
            <a:off x="425232" y="6517565"/>
            <a:ext cx="6381431" cy="75378"/>
          </a:xfrm>
        </p:spPr>
        <p:txBody>
          <a:bodyPr anchor="t"/>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000" b="0" i="0" u="none" strike="noStrike" kern="1200" cap="none" spc="0" normalizeH="0" baseline="0" noProof="0" dirty="0">
                <a:ln>
                  <a:noFill/>
                </a:ln>
                <a:solidFill>
                  <a:srgbClr val="3F3F3F"/>
                </a:solidFill>
                <a:effectLst/>
                <a:uLnTx/>
                <a:uFillTx/>
                <a:latin typeface="Arial" panose="020B0604020202020204"/>
                <a:ea typeface="+mn-ea"/>
                <a:cs typeface="+mn-cs"/>
              </a:rPr>
              <a:t>Humbert M, et al. </a:t>
            </a:r>
            <a:r>
              <a:rPr kumimoji="0" lang="en-US" sz="1000" b="0" i="1" u="none" strike="noStrike" kern="1200" cap="none" spc="0" normalizeH="0" baseline="0" noProof="0" dirty="0">
                <a:ln>
                  <a:noFill/>
                </a:ln>
                <a:solidFill>
                  <a:srgbClr val="3F3F3F"/>
                </a:solidFill>
                <a:effectLst/>
                <a:uLnTx/>
                <a:uFillTx/>
                <a:latin typeface="Arial" panose="020B0604020202020204"/>
                <a:ea typeface="+mn-ea"/>
                <a:cs typeface="+mn-cs"/>
              </a:rPr>
              <a:t>Circulation.</a:t>
            </a:r>
            <a:r>
              <a:rPr kumimoji="0" lang="en-US" sz="1000" b="0" i="0" u="none" strike="noStrike" kern="1200" cap="none" spc="0" normalizeH="0" baseline="0" noProof="0" dirty="0">
                <a:ln>
                  <a:noFill/>
                </a:ln>
                <a:solidFill>
                  <a:srgbClr val="3F3F3F"/>
                </a:solidFill>
                <a:effectLst/>
                <a:uLnTx/>
                <a:uFillTx/>
                <a:latin typeface="Arial" panose="020B0604020202020204"/>
                <a:ea typeface="+mn-ea"/>
                <a:cs typeface="+mn-cs"/>
              </a:rPr>
              <a:t> 2014;130:2189-208.</a:t>
            </a:r>
          </a:p>
        </p:txBody>
      </p:sp>
      <p:sp>
        <p:nvSpPr>
          <p:cNvPr id="6" name="Title 1">
            <a:extLst>
              <a:ext uri="{FF2B5EF4-FFF2-40B4-BE49-F238E27FC236}">
                <a16:creationId xmlns:a16="http://schemas.microsoft.com/office/drawing/2014/main" id="{7184E873-C766-2754-0D66-1B17B7CF66FF}"/>
              </a:ext>
            </a:extLst>
          </p:cNvPr>
          <p:cNvSpPr txBox="1">
            <a:spLocks/>
          </p:cNvSpPr>
          <p:nvPr/>
        </p:nvSpPr>
        <p:spPr>
          <a:xfrm>
            <a:off x="609600" y="199505"/>
            <a:ext cx="10744200" cy="1185577"/>
          </a:xfrm>
          <a:prstGeom prst="rect">
            <a:avLst/>
          </a:prstGeom>
        </p:spPr>
        <p:txBody>
          <a:bodyPr/>
          <a:lstStyle>
            <a:lvl1pPr algn="l" defTabSz="914400" rtl="0" eaLnBrk="1" latinLnBrk="0" hangingPunct="1">
              <a:lnSpc>
                <a:spcPct val="100000"/>
              </a:lnSpc>
              <a:spcBef>
                <a:spcPct val="0"/>
              </a:spcBef>
              <a:buNone/>
              <a:defRPr sz="3200" b="1" i="0" kern="1200">
                <a:solidFill>
                  <a:srgbClr val="4D4E4D"/>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GB" sz="3200" b="1" i="0" u="none" strike="noStrike" kern="1200" cap="none" spc="0" normalizeH="0" baseline="0" noProof="0">
                <a:ln>
                  <a:noFill/>
                </a:ln>
                <a:solidFill>
                  <a:srgbClr val="3F3F3F"/>
                </a:solidFill>
                <a:effectLst/>
                <a:uLnTx/>
                <a:uFillTx/>
                <a:latin typeface="Arial" panose="020B0604020202020204"/>
                <a:ea typeface="+mj-ea"/>
                <a:cs typeface="+mj-cs"/>
              </a:rPr>
              <a:t>Conclusion: Targeting Novel Pathways in PAH</a:t>
            </a:r>
            <a:endParaRPr kumimoji="0" lang="en-US" sz="3200" b="1" i="0" u="none" strike="noStrike" kern="1200" cap="none" spc="0" normalizeH="0" baseline="0" noProof="0" dirty="0">
              <a:ln>
                <a:noFill/>
              </a:ln>
              <a:solidFill>
                <a:srgbClr val="4D4E4D"/>
              </a:solidFill>
              <a:effectLst/>
              <a:uLnTx/>
              <a:uFillTx/>
              <a:latin typeface="Arial" panose="020B0604020202020204"/>
              <a:ea typeface="+mj-ea"/>
              <a:cs typeface="+mj-cs"/>
            </a:endParaRPr>
          </a:p>
        </p:txBody>
      </p:sp>
      <p:sp>
        <p:nvSpPr>
          <p:cNvPr id="7" name="Content Placeholder 2">
            <a:extLst>
              <a:ext uri="{FF2B5EF4-FFF2-40B4-BE49-F238E27FC236}">
                <a16:creationId xmlns:a16="http://schemas.microsoft.com/office/drawing/2014/main" id="{F5B9C16B-F9D2-5E0A-58CC-5C93A69B9C05}"/>
              </a:ext>
            </a:extLst>
          </p:cNvPr>
          <p:cNvSpPr txBox="1">
            <a:spLocks/>
          </p:cNvSpPr>
          <p:nvPr/>
        </p:nvSpPr>
        <p:spPr>
          <a:xfrm>
            <a:off x="609600" y="1477906"/>
            <a:ext cx="5486400" cy="4722477"/>
          </a:xfrm>
          <a:prstGeom prst="rect">
            <a:avLst/>
          </a:prstGeom>
        </p:spPr>
        <p:txBody>
          <a:bodyPr/>
          <a:lstStyle>
            <a:lvl1pPr marL="228600" indent="-228600" algn="l" defTabSz="914400" rtl="0" eaLnBrk="1" latinLnBrk="0" hangingPunct="1">
              <a:lnSpc>
                <a:spcPct val="100000"/>
              </a:lnSpc>
              <a:spcBef>
                <a:spcPts val="1000"/>
              </a:spcBef>
              <a:buClr>
                <a:schemeClr val="accent2"/>
              </a:buClr>
              <a:buFont typeface="Arial" panose="020B0604020202020204" pitchFamily="34" charset="0"/>
              <a:buChar char="•"/>
              <a:defRPr sz="2400" kern="1200">
                <a:solidFill>
                  <a:schemeClr val="tx1">
                    <a:lumMod val="75000"/>
                  </a:schemeClr>
                </a:solidFill>
                <a:latin typeface="+mn-lt"/>
                <a:ea typeface="+mn-ea"/>
                <a:cs typeface="+mn-cs"/>
              </a:defRPr>
            </a:lvl1pPr>
            <a:lvl2pPr marL="685800" indent="-228600" algn="l" defTabSz="914400" rtl="0" eaLnBrk="1" latinLnBrk="0" hangingPunct="1">
              <a:lnSpc>
                <a:spcPct val="100000"/>
              </a:lnSpc>
              <a:spcBef>
                <a:spcPts val="500"/>
              </a:spcBef>
              <a:buClr>
                <a:schemeClr val="accent4"/>
              </a:buClr>
              <a:buFont typeface="Arial" panose="020B0604020202020204" pitchFamily="34" charset="0"/>
              <a:buChar char="•"/>
              <a:defRPr sz="2000" kern="1200">
                <a:solidFill>
                  <a:schemeClr val="tx1">
                    <a:lumMod val="75000"/>
                  </a:schemeClr>
                </a:solidFill>
                <a:latin typeface="+mn-lt"/>
                <a:ea typeface="+mn-ea"/>
                <a:cs typeface="+mn-cs"/>
              </a:defRPr>
            </a:lvl2pPr>
            <a:lvl3pPr marL="1143000" indent="-228600" algn="l" defTabSz="914400" rtl="0" eaLnBrk="1" latinLnBrk="0" hangingPunct="1">
              <a:lnSpc>
                <a:spcPct val="100000"/>
              </a:lnSpc>
              <a:spcBef>
                <a:spcPts val="500"/>
              </a:spcBef>
              <a:buClr>
                <a:schemeClr val="tx2">
                  <a:lumMod val="60000"/>
                  <a:lumOff val="40000"/>
                </a:schemeClr>
              </a:buClr>
              <a:buFont typeface="Arial" panose="020B0604020202020204" pitchFamily="34" charset="0"/>
              <a:buChar char="–"/>
              <a:defRPr sz="1800" kern="1200">
                <a:solidFill>
                  <a:schemeClr val="tx1">
                    <a:lumMod val="75000"/>
                  </a:schemeClr>
                </a:solidFill>
                <a:latin typeface="+mn-lt"/>
                <a:ea typeface="+mn-ea"/>
                <a:cs typeface="+mn-cs"/>
              </a:defRPr>
            </a:lvl3pPr>
            <a:lvl4pPr marL="1600200" indent="-228600" algn="l" defTabSz="914400" rtl="0" eaLnBrk="1" latinLnBrk="0" hangingPunct="1">
              <a:lnSpc>
                <a:spcPct val="100000"/>
              </a:lnSpc>
              <a:spcBef>
                <a:spcPts val="500"/>
              </a:spcBef>
              <a:buFont typeface="Arial" panose="020B0604020202020204" pitchFamily="34" charset="0"/>
              <a:buChar char="•"/>
              <a:defRPr sz="1600" kern="1200">
                <a:solidFill>
                  <a:schemeClr val="tx1">
                    <a:lumMod val="75000"/>
                  </a:schemeClr>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14313" marR="0" lvl="0" indent="-214313" algn="l" defTabSz="914400" rtl="0" eaLnBrk="1" fontAlgn="auto" latinLnBrk="0" hangingPunct="1">
              <a:lnSpc>
                <a:spcPct val="100000"/>
              </a:lnSpc>
              <a:spcBef>
                <a:spcPts val="1000"/>
              </a:spcBef>
              <a:spcAft>
                <a:spcPts val="900"/>
              </a:spcAft>
              <a:buClr>
                <a:srgbClr val="B21E6C"/>
              </a:buClr>
              <a:buSzTx/>
              <a:buFont typeface="Arial" panose="020B0604020202020204" pitchFamily="34" charset="0"/>
              <a:buChar char="•"/>
              <a:tabLst/>
              <a:defRPr/>
            </a:pPr>
            <a:r>
              <a:rPr kumimoji="0" lang="en-GB" altLang="fr-FR" sz="2400" b="0" i="0" u="none" strike="noStrike" kern="1200" cap="none" spc="0" normalizeH="0" baseline="0" noProof="0">
                <a:ln>
                  <a:noFill/>
                </a:ln>
                <a:solidFill>
                  <a:srgbClr val="3F3F3F">
                    <a:lumMod val="75000"/>
                  </a:srgbClr>
                </a:solidFill>
                <a:effectLst/>
                <a:uLnTx/>
                <a:uFillTx/>
                <a:latin typeface="Arial" panose="020B0604020202020204"/>
                <a:ea typeface="+mn-ea"/>
                <a:cs typeface="+mn-cs"/>
              </a:rPr>
              <a:t>Pulmonary artery endothelial cell dysfunction is a major abnormality identified in PAH</a:t>
            </a:r>
          </a:p>
          <a:p>
            <a:pPr marL="214313" marR="0" lvl="0" indent="-214313" algn="l" defTabSz="914400" rtl="0" eaLnBrk="1" fontAlgn="auto" latinLnBrk="0" hangingPunct="1">
              <a:lnSpc>
                <a:spcPct val="100000"/>
              </a:lnSpc>
              <a:spcBef>
                <a:spcPts val="1000"/>
              </a:spcBef>
              <a:spcAft>
                <a:spcPts val="900"/>
              </a:spcAft>
              <a:buClr>
                <a:srgbClr val="B21E6C"/>
              </a:buClr>
              <a:buSzTx/>
              <a:buFont typeface="Arial" panose="020B0604020202020204" pitchFamily="34" charset="0"/>
              <a:buChar char="•"/>
              <a:tabLst/>
              <a:defRPr/>
            </a:pPr>
            <a:r>
              <a:rPr kumimoji="0" lang="en-GB" altLang="fr-FR" sz="2400" b="0" i="0" u="none" strike="noStrike" kern="1200" cap="none" spc="0" normalizeH="0" baseline="0" noProof="0">
                <a:ln>
                  <a:noFill/>
                </a:ln>
                <a:solidFill>
                  <a:srgbClr val="3F3F3F">
                    <a:lumMod val="75000"/>
                  </a:srgbClr>
                </a:solidFill>
                <a:effectLst/>
                <a:uLnTx/>
                <a:uFillTx/>
                <a:latin typeface="Arial" panose="020B0604020202020204"/>
                <a:ea typeface="+mn-ea"/>
                <a:cs typeface="+mn-cs"/>
              </a:rPr>
              <a:t>Strong translational research has </a:t>
            </a:r>
            <a:br>
              <a:rPr kumimoji="0" lang="en-GB" altLang="fr-FR" sz="2400" b="0" i="0" u="none" strike="noStrike" kern="1200" cap="none" spc="0" normalizeH="0" baseline="0" noProof="0">
                <a:ln>
                  <a:noFill/>
                </a:ln>
                <a:solidFill>
                  <a:srgbClr val="3F3F3F">
                    <a:lumMod val="75000"/>
                  </a:srgbClr>
                </a:solidFill>
                <a:effectLst/>
                <a:uLnTx/>
                <a:uFillTx/>
                <a:latin typeface="Arial" panose="020B0604020202020204"/>
                <a:ea typeface="+mn-ea"/>
                <a:cs typeface="+mn-cs"/>
              </a:rPr>
            </a:br>
            <a:r>
              <a:rPr kumimoji="0" lang="en-GB" altLang="fr-FR" sz="2400" b="0" i="0" u="none" strike="noStrike" kern="1200" cap="none" spc="0" normalizeH="0" baseline="0" noProof="0">
                <a:ln>
                  <a:noFill/>
                </a:ln>
                <a:solidFill>
                  <a:srgbClr val="3F3F3F">
                    <a:lumMod val="75000"/>
                  </a:srgbClr>
                </a:solidFill>
                <a:effectLst/>
                <a:uLnTx/>
                <a:uFillTx/>
                <a:latin typeface="Arial" panose="020B0604020202020204"/>
                <a:ea typeface="+mn-ea"/>
                <a:cs typeface="+mn-cs"/>
              </a:rPr>
              <a:t>identified a large number of novel </a:t>
            </a:r>
            <a:br>
              <a:rPr kumimoji="0" lang="en-GB" altLang="fr-FR" sz="2400" b="0" i="0" u="none" strike="noStrike" kern="1200" cap="none" spc="0" normalizeH="0" baseline="0" noProof="0">
                <a:ln>
                  <a:noFill/>
                </a:ln>
                <a:solidFill>
                  <a:srgbClr val="3F3F3F">
                    <a:lumMod val="75000"/>
                  </a:srgbClr>
                </a:solidFill>
                <a:effectLst/>
                <a:uLnTx/>
                <a:uFillTx/>
                <a:latin typeface="Arial" panose="020B0604020202020204"/>
                <a:ea typeface="+mn-ea"/>
                <a:cs typeface="+mn-cs"/>
              </a:rPr>
            </a:br>
            <a:r>
              <a:rPr kumimoji="0" lang="en-GB" altLang="fr-FR" sz="2400" b="0" i="0" u="none" strike="noStrike" kern="1200" cap="none" spc="0" normalizeH="0" baseline="0" noProof="0">
                <a:ln>
                  <a:noFill/>
                </a:ln>
                <a:solidFill>
                  <a:srgbClr val="3F3F3F">
                    <a:lumMod val="75000"/>
                  </a:srgbClr>
                </a:solidFill>
                <a:effectLst/>
                <a:uLnTx/>
                <a:uFillTx/>
                <a:latin typeface="Arial" panose="020B0604020202020204"/>
                <a:ea typeface="+mn-ea"/>
                <a:cs typeface="+mn-cs"/>
              </a:rPr>
              <a:t>targets in recent years</a:t>
            </a:r>
          </a:p>
          <a:p>
            <a:pPr marL="214313" marR="0" lvl="0" indent="-214313" algn="l" defTabSz="914400" rtl="0" eaLnBrk="1" fontAlgn="auto" latinLnBrk="0" hangingPunct="1">
              <a:lnSpc>
                <a:spcPct val="100000"/>
              </a:lnSpc>
              <a:spcBef>
                <a:spcPts val="1000"/>
              </a:spcBef>
              <a:spcAft>
                <a:spcPts val="900"/>
              </a:spcAft>
              <a:buClr>
                <a:srgbClr val="B21E6C"/>
              </a:buClr>
              <a:buSzTx/>
              <a:buFont typeface="Arial" panose="020B0604020202020204" pitchFamily="34" charset="0"/>
              <a:buChar char="•"/>
              <a:tabLst/>
              <a:defRPr/>
            </a:pPr>
            <a:r>
              <a:rPr kumimoji="0" lang="en-GB" altLang="fr-FR" sz="2400" b="0" i="0" u="none" strike="noStrike" kern="1200" cap="none" spc="0" normalizeH="0" baseline="0" noProof="0">
                <a:ln>
                  <a:noFill/>
                </a:ln>
                <a:solidFill>
                  <a:srgbClr val="3F3F3F">
                    <a:lumMod val="75000"/>
                  </a:srgbClr>
                </a:solidFill>
                <a:effectLst/>
                <a:uLnTx/>
                <a:uFillTx/>
                <a:latin typeface="Arial" panose="020B0604020202020204"/>
                <a:ea typeface="+mn-ea"/>
                <a:cs typeface="+mn-cs"/>
              </a:rPr>
              <a:t>A major challenge is to prioritize </a:t>
            </a:r>
            <a:br>
              <a:rPr kumimoji="0" lang="en-GB" altLang="fr-FR" sz="2400" b="0" i="0" u="none" strike="noStrike" kern="1200" cap="none" spc="0" normalizeH="0" baseline="0" noProof="0">
                <a:ln>
                  <a:noFill/>
                </a:ln>
                <a:solidFill>
                  <a:srgbClr val="3F3F3F">
                    <a:lumMod val="75000"/>
                  </a:srgbClr>
                </a:solidFill>
                <a:effectLst/>
                <a:uLnTx/>
                <a:uFillTx/>
                <a:latin typeface="Arial" panose="020B0604020202020204"/>
                <a:ea typeface="+mn-ea"/>
                <a:cs typeface="+mn-cs"/>
              </a:rPr>
            </a:br>
            <a:r>
              <a:rPr kumimoji="0" lang="en-GB" altLang="fr-FR" sz="2400" b="0" i="0" u="none" strike="noStrike" kern="1200" cap="none" spc="0" normalizeH="0" baseline="0" noProof="0">
                <a:ln>
                  <a:noFill/>
                </a:ln>
                <a:solidFill>
                  <a:srgbClr val="3F3F3F">
                    <a:lumMod val="75000"/>
                  </a:srgbClr>
                </a:solidFill>
                <a:effectLst/>
                <a:uLnTx/>
                <a:uFillTx/>
                <a:latin typeface="Arial" panose="020B0604020202020204"/>
                <a:ea typeface="+mn-ea"/>
                <a:cs typeface="+mn-cs"/>
              </a:rPr>
              <a:t>drug discovery and development </a:t>
            </a:r>
          </a:p>
          <a:p>
            <a:pPr marL="228600" marR="0" lvl="0" indent="-228600" algn="l" defTabSz="914400" rtl="0" eaLnBrk="1" fontAlgn="auto" latinLnBrk="0" hangingPunct="1">
              <a:lnSpc>
                <a:spcPct val="100000"/>
              </a:lnSpc>
              <a:spcBef>
                <a:spcPts val="1000"/>
              </a:spcBef>
              <a:spcAft>
                <a:spcPts val="0"/>
              </a:spcAft>
              <a:buClr>
                <a:srgbClr val="B21E6C"/>
              </a:buClr>
              <a:buSzTx/>
              <a:buFont typeface="Arial" panose="020B0604020202020204" pitchFamily="34" charset="0"/>
              <a:buChar char="•"/>
              <a:tabLst/>
              <a:defRPr/>
            </a:pPr>
            <a:endParaRPr kumimoji="0" lang="en-US" sz="2400" b="0" i="0" u="none" strike="noStrike" kern="1200" cap="none" spc="0" normalizeH="0" baseline="0" noProof="0" dirty="0">
              <a:ln>
                <a:noFill/>
              </a:ln>
              <a:solidFill>
                <a:srgbClr val="3F3F3F">
                  <a:lumMod val="75000"/>
                </a:srgbClr>
              </a:solidFill>
              <a:effectLst/>
              <a:uLnTx/>
              <a:uFillTx/>
              <a:latin typeface="Arial" panose="020B0604020202020204"/>
              <a:ea typeface="+mn-ea"/>
              <a:cs typeface="+mn-cs"/>
            </a:endParaRPr>
          </a:p>
        </p:txBody>
      </p:sp>
      <p:grpSp>
        <p:nvGrpSpPr>
          <p:cNvPr id="8" name="Group 7">
            <a:extLst>
              <a:ext uri="{FF2B5EF4-FFF2-40B4-BE49-F238E27FC236}">
                <a16:creationId xmlns:a16="http://schemas.microsoft.com/office/drawing/2014/main" id="{0A854789-19EB-B22E-EFCF-685B7A65867A}"/>
              </a:ext>
            </a:extLst>
          </p:cNvPr>
          <p:cNvGrpSpPr>
            <a:grpSpLocks noChangeAspect="1"/>
          </p:cNvGrpSpPr>
          <p:nvPr/>
        </p:nvGrpSpPr>
        <p:grpSpPr>
          <a:xfrm>
            <a:off x="5598546" y="1385082"/>
            <a:ext cx="6493421" cy="4204045"/>
            <a:chOff x="5476255" y="1810381"/>
            <a:chExt cx="5144495" cy="3330708"/>
          </a:xfrm>
        </p:grpSpPr>
        <p:cxnSp>
          <p:nvCxnSpPr>
            <p:cNvPr id="9" name="Straight Connector 8">
              <a:extLst>
                <a:ext uri="{FF2B5EF4-FFF2-40B4-BE49-F238E27FC236}">
                  <a16:creationId xmlns:a16="http://schemas.microsoft.com/office/drawing/2014/main" id="{E5578DBF-27BB-D41A-8A26-9617E2F86FF0}"/>
                </a:ext>
              </a:extLst>
            </p:cNvPr>
            <p:cNvCxnSpPr>
              <a:cxnSpLocks/>
              <a:stCxn id="20" idx="2"/>
            </p:cNvCxnSpPr>
            <p:nvPr/>
          </p:nvCxnSpPr>
          <p:spPr bwMode="auto">
            <a:xfrm>
              <a:off x="7916223" y="2074700"/>
              <a:ext cx="25002" cy="228599"/>
            </a:xfrm>
            <a:prstGeom prst="line">
              <a:avLst/>
            </a:prstGeom>
            <a:solidFill>
              <a:schemeClr val="accent2"/>
            </a:solidFill>
            <a:ln w="19050" cap="flat" cmpd="sng" algn="ctr">
              <a:noFill/>
              <a:prstDash val="solid"/>
              <a:round/>
              <a:headEnd type="none" w="med" len="med"/>
              <a:tailEnd type="none" w="med" len="med"/>
            </a:ln>
            <a:effectLst/>
          </p:spPr>
        </p:cxnSp>
        <p:pic>
          <p:nvPicPr>
            <p:cNvPr id="12" name="Picture 2">
              <a:extLst>
                <a:ext uri="{FF2B5EF4-FFF2-40B4-BE49-F238E27FC236}">
                  <a16:creationId xmlns:a16="http://schemas.microsoft.com/office/drawing/2014/main" id="{5E886A0B-3487-0909-D210-35424BE521CA}"/>
                </a:ext>
              </a:extLst>
            </p:cNvPr>
            <p:cNvPicPr>
              <a:picLocks noChangeAspect="1" noChangeArrowheads="1"/>
            </p:cNvPicPr>
            <p:nvPr/>
          </p:nvPicPr>
          <p:blipFill>
            <a:blip r:embed="rId3" cstate="print"/>
            <a:srcRect/>
            <a:stretch>
              <a:fillRect/>
            </a:stretch>
          </p:blipFill>
          <p:spPr bwMode="auto">
            <a:xfrm>
              <a:off x="6490315" y="2305187"/>
              <a:ext cx="2687913" cy="2481943"/>
            </a:xfrm>
            <a:prstGeom prst="rect">
              <a:avLst/>
            </a:prstGeom>
            <a:noFill/>
            <a:ln w="9525">
              <a:noFill/>
              <a:miter lim="800000"/>
              <a:headEnd/>
              <a:tailEnd/>
            </a:ln>
          </p:spPr>
        </p:pic>
        <p:sp>
          <p:nvSpPr>
            <p:cNvPr id="20" name="Rectangle 19">
              <a:extLst>
                <a:ext uri="{FF2B5EF4-FFF2-40B4-BE49-F238E27FC236}">
                  <a16:creationId xmlns:a16="http://schemas.microsoft.com/office/drawing/2014/main" id="{6731EF4B-57BA-089F-34A6-DB317D10FADA}"/>
                </a:ext>
              </a:extLst>
            </p:cNvPr>
            <p:cNvSpPr/>
            <p:nvPr/>
          </p:nvSpPr>
          <p:spPr bwMode="auto">
            <a:xfrm>
              <a:off x="7376870" y="1810381"/>
              <a:ext cx="1078706" cy="264319"/>
            </a:xfrm>
            <a:prstGeom prst="rect">
              <a:avLst/>
            </a:prstGeom>
            <a:noFill/>
            <a:ln w="19050"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1" indent="0" algn="ctr" defTabSz="685783" rtl="0" eaLnBrk="1" fontAlgn="auto" latinLnBrk="0" hangingPunct="1">
                <a:lnSpc>
                  <a:spcPct val="100000"/>
                </a:lnSpc>
                <a:spcBef>
                  <a:spcPts val="0"/>
                </a:spcBef>
                <a:spcAft>
                  <a:spcPts val="0"/>
                </a:spcAft>
                <a:buClrTx/>
                <a:buSzTx/>
                <a:buFontTx/>
                <a:buNone/>
                <a:tabLst/>
                <a:defRPr/>
              </a:pPr>
              <a:r>
                <a:rPr kumimoji="0" lang="en-US" altLang="fr-FR" sz="1400" b="1" i="0" u="none" strike="noStrike" kern="1200" cap="none" spc="0" normalizeH="0" baseline="0" noProof="0">
                  <a:ln>
                    <a:noFill/>
                  </a:ln>
                  <a:solidFill>
                    <a:srgbClr val="3F3F3F"/>
                  </a:solidFill>
                  <a:effectLst/>
                  <a:uLnTx/>
                  <a:uFillTx/>
                  <a:latin typeface="Calibri" panose="020F0502020204030204" pitchFamily="34" charset="0"/>
                  <a:ea typeface="+mn-ea"/>
                  <a:cs typeface="Calibri" panose="020F0502020204030204" pitchFamily="34" charset="0"/>
                </a:rPr>
                <a:t>Inflammation</a:t>
              </a:r>
            </a:p>
          </p:txBody>
        </p:sp>
        <p:sp>
          <p:nvSpPr>
            <p:cNvPr id="22" name="Rectangle 21">
              <a:extLst>
                <a:ext uri="{FF2B5EF4-FFF2-40B4-BE49-F238E27FC236}">
                  <a16:creationId xmlns:a16="http://schemas.microsoft.com/office/drawing/2014/main" id="{5B357E98-171D-CD9C-966A-BCC68A63B900}"/>
                </a:ext>
              </a:extLst>
            </p:cNvPr>
            <p:cNvSpPr/>
            <p:nvPr/>
          </p:nvSpPr>
          <p:spPr bwMode="auto">
            <a:xfrm>
              <a:off x="8587167" y="2115567"/>
              <a:ext cx="1002920" cy="487198"/>
            </a:xfrm>
            <a:prstGeom prst="rect">
              <a:avLst/>
            </a:prstGeom>
            <a:noFill/>
            <a:ln w="19050"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1" indent="0" algn="ctr" defTabSz="685783" rtl="0" eaLnBrk="1" fontAlgn="auto" latinLnBrk="0" hangingPunct="1">
                <a:lnSpc>
                  <a:spcPct val="100000"/>
                </a:lnSpc>
                <a:spcBef>
                  <a:spcPts val="0"/>
                </a:spcBef>
                <a:spcAft>
                  <a:spcPts val="0"/>
                </a:spcAft>
                <a:buClrTx/>
                <a:buSzTx/>
                <a:buFontTx/>
                <a:buNone/>
                <a:tabLst/>
                <a:defRPr/>
              </a:pPr>
              <a:r>
                <a:rPr kumimoji="0" lang="en-US" altLang="fr-FR" sz="1400" b="1" i="0" u="none" strike="noStrike" kern="1200" cap="none" spc="0" normalizeH="0" baseline="0" noProof="0">
                  <a:ln>
                    <a:noFill/>
                  </a:ln>
                  <a:solidFill>
                    <a:srgbClr val="3F3F3F"/>
                  </a:solidFill>
                  <a:effectLst/>
                  <a:uLnTx/>
                  <a:uFillTx/>
                  <a:latin typeface="Calibri" panose="020F0502020204030204" pitchFamily="34" charset="0"/>
                  <a:ea typeface="+mn-ea"/>
                  <a:cs typeface="Calibri" panose="020F0502020204030204" pitchFamily="34" charset="0"/>
                </a:rPr>
                <a:t>Growth </a:t>
              </a:r>
              <a:br>
                <a:rPr kumimoji="0" lang="en-US" altLang="fr-FR" sz="1400" b="1" i="0" u="none" strike="noStrike" kern="1200" cap="none" spc="0" normalizeH="0" baseline="0" noProof="0">
                  <a:ln>
                    <a:noFill/>
                  </a:ln>
                  <a:solidFill>
                    <a:srgbClr val="3F3F3F"/>
                  </a:solidFill>
                  <a:effectLst/>
                  <a:uLnTx/>
                  <a:uFillTx/>
                  <a:latin typeface="Calibri" panose="020F0502020204030204" pitchFamily="34" charset="0"/>
                  <a:ea typeface="+mn-ea"/>
                  <a:cs typeface="Calibri" panose="020F0502020204030204" pitchFamily="34" charset="0"/>
                </a:rPr>
              </a:br>
              <a:r>
                <a:rPr kumimoji="0" lang="en-US" altLang="fr-FR" sz="1400" b="1" i="0" u="none" strike="noStrike" kern="1200" cap="none" spc="0" normalizeH="0" baseline="0" noProof="0">
                  <a:ln>
                    <a:noFill/>
                  </a:ln>
                  <a:solidFill>
                    <a:srgbClr val="3F3F3F"/>
                  </a:solidFill>
                  <a:effectLst/>
                  <a:uLnTx/>
                  <a:uFillTx/>
                  <a:latin typeface="Calibri" panose="020F0502020204030204" pitchFamily="34" charset="0"/>
                  <a:ea typeface="+mn-ea"/>
                  <a:cs typeface="Calibri" panose="020F0502020204030204" pitchFamily="34" charset="0"/>
                </a:rPr>
                <a:t>factors</a:t>
              </a:r>
            </a:p>
          </p:txBody>
        </p:sp>
        <p:sp>
          <p:nvSpPr>
            <p:cNvPr id="24" name="Rectangle 23">
              <a:extLst>
                <a:ext uri="{FF2B5EF4-FFF2-40B4-BE49-F238E27FC236}">
                  <a16:creationId xmlns:a16="http://schemas.microsoft.com/office/drawing/2014/main" id="{64282472-89C3-AA9F-6514-9E2E7528A188}"/>
                </a:ext>
              </a:extLst>
            </p:cNvPr>
            <p:cNvSpPr/>
            <p:nvPr/>
          </p:nvSpPr>
          <p:spPr bwMode="auto">
            <a:xfrm>
              <a:off x="9083660" y="3097463"/>
              <a:ext cx="1537090" cy="635326"/>
            </a:xfrm>
            <a:prstGeom prst="rect">
              <a:avLst/>
            </a:prstGeom>
            <a:noFill/>
            <a:ln w="19050"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1" indent="0" algn="ctr" defTabSz="685783" rtl="0" eaLnBrk="1" fontAlgn="auto" latinLnBrk="0" hangingPunct="1">
                <a:lnSpc>
                  <a:spcPct val="100000"/>
                </a:lnSpc>
                <a:spcBef>
                  <a:spcPts val="0"/>
                </a:spcBef>
                <a:spcAft>
                  <a:spcPts val="0"/>
                </a:spcAft>
                <a:buClrTx/>
                <a:buSzTx/>
                <a:buFontTx/>
                <a:buNone/>
                <a:tabLst/>
                <a:defRPr/>
              </a:pPr>
              <a:r>
                <a:rPr kumimoji="0" lang="en-US" altLang="fr-FR" sz="1400" b="1" i="1" u="none" strike="noStrike" kern="1200" cap="none" spc="0" normalizeH="0" baseline="0" noProof="0" dirty="0">
                  <a:ln>
                    <a:noFill/>
                  </a:ln>
                  <a:solidFill>
                    <a:srgbClr val="3F3F3F"/>
                  </a:solidFill>
                  <a:effectLst/>
                  <a:uLnTx/>
                  <a:uFillTx/>
                  <a:latin typeface="Calibri" panose="020F0502020204030204" pitchFamily="34" charset="0"/>
                  <a:ea typeface="+mn-ea"/>
                  <a:cs typeface="Calibri" panose="020F0502020204030204" pitchFamily="34" charset="0"/>
                </a:rPr>
                <a:t>BMPR-II</a:t>
              </a:r>
              <a:r>
                <a:rPr kumimoji="0" lang="en-US" altLang="fr-FR" sz="1400" b="1" i="0" u="none" strike="noStrike" kern="1200" cap="none" spc="0" normalizeH="0" baseline="0" noProof="0" dirty="0">
                  <a:ln>
                    <a:noFill/>
                  </a:ln>
                  <a:solidFill>
                    <a:srgbClr val="3F3F3F"/>
                  </a:solidFill>
                  <a:effectLst/>
                  <a:uLnTx/>
                  <a:uFillTx/>
                  <a:latin typeface="Calibri" panose="020F0502020204030204" pitchFamily="34" charset="0"/>
                  <a:ea typeface="+mn-ea"/>
                  <a:cs typeface="Calibri" panose="020F0502020204030204" pitchFamily="34" charset="0"/>
                </a:rPr>
                <a:t>/TGF-</a:t>
              </a:r>
              <a:r>
                <a:rPr kumimoji="0" lang="el-GR" altLang="fr-FR" sz="1400" b="1" i="0" u="none" strike="noStrike" kern="1200" cap="none" spc="0" normalizeH="0" baseline="0" noProof="0" dirty="0">
                  <a:ln>
                    <a:noFill/>
                  </a:ln>
                  <a:solidFill>
                    <a:srgbClr val="3F3F3F"/>
                  </a:solidFill>
                  <a:effectLst/>
                  <a:uLnTx/>
                  <a:uFillTx/>
                  <a:latin typeface="Calibri" panose="020F0502020204030204" pitchFamily="34" charset="0"/>
                  <a:ea typeface="+mn-ea"/>
                  <a:cs typeface="Calibri" panose="020F0502020204030204" pitchFamily="34" charset="0"/>
                </a:rPr>
                <a:t>β</a:t>
              </a:r>
              <a:r>
                <a:rPr kumimoji="0" lang="en-US" altLang="fr-FR" sz="1400" b="1" i="0" u="none" strike="noStrike" kern="1200" cap="none" spc="0" normalizeH="0" baseline="0" noProof="0" dirty="0">
                  <a:ln>
                    <a:noFill/>
                  </a:ln>
                  <a:solidFill>
                    <a:srgbClr val="3F3F3F"/>
                  </a:solidFill>
                  <a:effectLst/>
                  <a:uLnTx/>
                  <a:uFillTx/>
                  <a:latin typeface="Calibri" panose="020F0502020204030204" pitchFamily="34" charset="0"/>
                  <a:ea typeface="+mn-ea"/>
                  <a:cs typeface="Calibri" panose="020F0502020204030204" pitchFamily="34" charset="0"/>
                </a:rPr>
                <a:t> </a:t>
              </a:r>
              <a:br>
                <a:rPr kumimoji="0" lang="en-US" altLang="fr-FR" sz="1400" b="1" i="0" u="none" strike="noStrike" kern="1200" cap="none" spc="0" normalizeH="0" baseline="0" noProof="0" dirty="0">
                  <a:ln>
                    <a:noFill/>
                  </a:ln>
                  <a:solidFill>
                    <a:srgbClr val="3F3F3F"/>
                  </a:solidFill>
                  <a:effectLst/>
                  <a:uLnTx/>
                  <a:uFillTx/>
                  <a:latin typeface="Calibri" panose="020F0502020204030204" pitchFamily="34" charset="0"/>
                  <a:ea typeface="+mn-ea"/>
                  <a:cs typeface="Calibri" panose="020F0502020204030204" pitchFamily="34" charset="0"/>
                </a:rPr>
              </a:br>
              <a:r>
                <a:rPr kumimoji="0" lang="en-US" altLang="fr-FR" sz="1400" b="1" i="0" u="none" strike="noStrike" kern="1200" cap="none" spc="0" normalizeH="0" baseline="0" noProof="0" dirty="0">
                  <a:ln>
                    <a:noFill/>
                  </a:ln>
                  <a:solidFill>
                    <a:srgbClr val="3F3F3F"/>
                  </a:solidFill>
                  <a:effectLst/>
                  <a:uLnTx/>
                  <a:uFillTx/>
                  <a:latin typeface="Calibri" panose="020F0502020204030204" pitchFamily="34" charset="0"/>
                  <a:ea typeface="+mn-ea"/>
                  <a:cs typeface="Calibri" panose="020F0502020204030204" pitchFamily="34" charset="0"/>
                </a:rPr>
                <a:t>superfamily signaling</a:t>
              </a:r>
            </a:p>
          </p:txBody>
        </p:sp>
        <p:sp>
          <p:nvSpPr>
            <p:cNvPr id="26" name="Rectangle 25">
              <a:extLst>
                <a:ext uri="{FF2B5EF4-FFF2-40B4-BE49-F238E27FC236}">
                  <a16:creationId xmlns:a16="http://schemas.microsoft.com/office/drawing/2014/main" id="{C9EC23B9-2046-EDA7-383D-3D591C815EF7}"/>
                </a:ext>
              </a:extLst>
            </p:cNvPr>
            <p:cNvSpPr/>
            <p:nvPr/>
          </p:nvSpPr>
          <p:spPr bwMode="auto">
            <a:xfrm>
              <a:off x="8926845" y="3886018"/>
              <a:ext cx="1161162" cy="471151"/>
            </a:xfrm>
            <a:prstGeom prst="rect">
              <a:avLst/>
            </a:prstGeom>
            <a:noFill/>
            <a:ln w="19050"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1" indent="0" algn="ctr" defTabSz="685783" rtl="0" eaLnBrk="1" fontAlgn="auto" latinLnBrk="0" hangingPunct="1">
                <a:lnSpc>
                  <a:spcPct val="100000"/>
                </a:lnSpc>
                <a:spcBef>
                  <a:spcPts val="0"/>
                </a:spcBef>
                <a:spcAft>
                  <a:spcPts val="0"/>
                </a:spcAft>
                <a:buClrTx/>
                <a:buSzTx/>
                <a:buFontTx/>
                <a:buNone/>
                <a:tabLst/>
                <a:defRPr/>
              </a:pPr>
              <a:r>
                <a:rPr kumimoji="0" lang="en-US" altLang="fr-FR" sz="1400" b="1" i="0" u="none" strike="noStrike" kern="1200" cap="none" spc="0" normalizeH="0" baseline="0" noProof="0">
                  <a:ln>
                    <a:noFill/>
                  </a:ln>
                  <a:solidFill>
                    <a:srgbClr val="3F3F3F"/>
                  </a:solidFill>
                  <a:effectLst/>
                  <a:uLnTx/>
                  <a:uFillTx/>
                  <a:latin typeface="Calibri" panose="020F0502020204030204" pitchFamily="34" charset="0"/>
                  <a:ea typeface="+mn-ea"/>
                  <a:cs typeface="Calibri" panose="020F0502020204030204" pitchFamily="34" charset="0"/>
                </a:rPr>
                <a:t>Calcium </a:t>
              </a:r>
              <a:br>
                <a:rPr kumimoji="0" lang="en-US" altLang="fr-FR" sz="1400" b="1" i="0" u="none" strike="noStrike" kern="1200" cap="none" spc="0" normalizeH="0" baseline="0" noProof="0">
                  <a:ln>
                    <a:noFill/>
                  </a:ln>
                  <a:solidFill>
                    <a:srgbClr val="3F3F3F"/>
                  </a:solidFill>
                  <a:effectLst/>
                  <a:uLnTx/>
                  <a:uFillTx/>
                  <a:latin typeface="Calibri" panose="020F0502020204030204" pitchFamily="34" charset="0"/>
                  <a:ea typeface="+mn-ea"/>
                  <a:cs typeface="Calibri" panose="020F0502020204030204" pitchFamily="34" charset="0"/>
                </a:rPr>
              </a:br>
              <a:r>
                <a:rPr kumimoji="0" lang="en-US" altLang="fr-FR" sz="1400" b="1" i="0" u="none" strike="noStrike" kern="1200" cap="none" spc="0" normalizeH="0" baseline="0" noProof="0">
                  <a:ln>
                    <a:noFill/>
                  </a:ln>
                  <a:solidFill>
                    <a:srgbClr val="3F3F3F"/>
                  </a:solidFill>
                  <a:effectLst/>
                  <a:uLnTx/>
                  <a:uFillTx/>
                  <a:latin typeface="Calibri" panose="020F0502020204030204" pitchFamily="34" charset="0"/>
                  <a:ea typeface="+mn-ea"/>
                  <a:cs typeface="Calibri" panose="020F0502020204030204" pitchFamily="34" charset="0"/>
                </a:rPr>
                <a:t>signaling</a:t>
              </a:r>
            </a:p>
          </p:txBody>
        </p:sp>
        <p:sp>
          <p:nvSpPr>
            <p:cNvPr id="32" name="Rectangle 31">
              <a:extLst>
                <a:ext uri="{FF2B5EF4-FFF2-40B4-BE49-F238E27FC236}">
                  <a16:creationId xmlns:a16="http://schemas.microsoft.com/office/drawing/2014/main" id="{D1CD8CFF-9FE2-B756-4219-373D3590EFA5}"/>
                </a:ext>
              </a:extLst>
            </p:cNvPr>
            <p:cNvSpPr/>
            <p:nvPr/>
          </p:nvSpPr>
          <p:spPr bwMode="auto">
            <a:xfrm>
              <a:off x="8572360" y="4632042"/>
              <a:ext cx="1022600" cy="509047"/>
            </a:xfrm>
            <a:prstGeom prst="rect">
              <a:avLst/>
            </a:prstGeom>
            <a:noFill/>
            <a:ln w="19050"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1" indent="0" algn="ctr" defTabSz="685783" rtl="0" eaLnBrk="1" fontAlgn="auto" latinLnBrk="0" hangingPunct="1">
                <a:lnSpc>
                  <a:spcPct val="100000"/>
                </a:lnSpc>
                <a:spcBef>
                  <a:spcPts val="0"/>
                </a:spcBef>
                <a:spcAft>
                  <a:spcPts val="0"/>
                </a:spcAft>
                <a:buClrTx/>
                <a:buSzTx/>
                <a:buFontTx/>
                <a:buNone/>
                <a:tabLst/>
                <a:defRPr/>
              </a:pPr>
              <a:r>
                <a:rPr kumimoji="0" lang="en-US" altLang="fr-FR" sz="1400" b="1" i="0" u="none" strike="noStrike" kern="1200" cap="none" spc="0" normalizeH="0" baseline="0" noProof="0">
                  <a:ln>
                    <a:noFill/>
                  </a:ln>
                  <a:solidFill>
                    <a:srgbClr val="3F3F3F"/>
                  </a:solidFill>
                  <a:effectLst/>
                  <a:uLnTx/>
                  <a:uFillTx/>
                  <a:latin typeface="Calibri" panose="020F0502020204030204" pitchFamily="34" charset="0"/>
                  <a:ea typeface="+mn-ea"/>
                  <a:cs typeface="Calibri" panose="020F0502020204030204" pitchFamily="34" charset="0"/>
                </a:rPr>
                <a:t>Vasoactive </a:t>
              </a:r>
              <a:br>
                <a:rPr kumimoji="0" lang="en-US" altLang="fr-FR" sz="1400" b="1" i="0" u="none" strike="noStrike" kern="1200" cap="none" spc="0" normalizeH="0" baseline="0" noProof="0">
                  <a:ln>
                    <a:noFill/>
                  </a:ln>
                  <a:solidFill>
                    <a:srgbClr val="3F3F3F"/>
                  </a:solidFill>
                  <a:effectLst/>
                  <a:uLnTx/>
                  <a:uFillTx/>
                  <a:latin typeface="Calibri" panose="020F0502020204030204" pitchFamily="34" charset="0"/>
                  <a:ea typeface="+mn-ea"/>
                  <a:cs typeface="Calibri" panose="020F0502020204030204" pitchFamily="34" charset="0"/>
                </a:rPr>
              </a:br>
              <a:r>
                <a:rPr kumimoji="0" lang="en-US" altLang="fr-FR" sz="1400" b="1" i="0" u="none" strike="noStrike" kern="1200" cap="none" spc="0" normalizeH="0" baseline="0" noProof="0">
                  <a:ln>
                    <a:noFill/>
                  </a:ln>
                  <a:solidFill>
                    <a:srgbClr val="3F3F3F"/>
                  </a:solidFill>
                  <a:effectLst/>
                  <a:uLnTx/>
                  <a:uFillTx/>
                  <a:latin typeface="Calibri" panose="020F0502020204030204" pitchFamily="34" charset="0"/>
                  <a:ea typeface="+mn-ea"/>
                  <a:cs typeface="Calibri" panose="020F0502020204030204" pitchFamily="34" charset="0"/>
                </a:rPr>
                <a:t>peptides</a:t>
              </a:r>
            </a:p>
          </p:txBody>
        </p:sp>
        <p:sp>
          <p:nvSpPr>
            <p:cNvPr id="34" name="Rectangle 33">
              <a:extLst>
                <a:ext uri="{FF2B5EF4-FFF2-40B4-BE49-F238E27FC236}">
                  <a16:creationId xmlns:a16="http://schemas.microsoft.com/office/drawing/2014/main" id="{3EEF28D2-885F-3F80-A16A-1D15B7E10E6C}"/>
                </a:ext>
              </a:extLst>
            </p:cNvPr>
            <p:cNvSpPr/>
            <p:nvPr/>
          </p:nvSpPr>
          <p:spPr bwMode="auto">
            <a:xfrm>
              <a:off x="5875291" y="4652831"/>
              <a:ext cx="1503054" cy="467466"/>
            </a:xfrm>
            <a:prstGeom prst="rect">
              <a:avLst/>
            </a:prstGeom>
            <a:noFill/>
            <a:ln w="19050"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1" indent="0" algn="ctr" defTabSz="685783" rtl="0" eaLnBrk="1" fontAlgn="auto" latinLnBrk="0" hangingPunct="1">
                <a:lnSpc>
                  <a:spcPct val="100000"/>
                </a:lnSpc>
                <a:spcBef>
                  <a:spcPts val="0"/>
                </a:spcBef>
                <a:spcAft>
                  <a:spcPts val="0"/>
                </a:spcAft>
                <a:buClrTx/>
                <a:buSzTx/>
                <a:buFontTx/>
                <a:buNone/>
                <a:tabLst/>
                <a:defRPr/>
              </a:pPr>
              <a:r>
                <a:rPr kumimoji="0" lang="en-US" altLang="fr-FR" sz="1400" b="1" i="0" u="none" strike="noStrike" kern="1200" cap="none" spc="0" normalizeH="0" baseline="0" noProof="0">
                  <a:ln>
                    <a:noFill/>
                  </a:ln>
                  <a:solidFill>
                    <a:srgbClr val="3F3F3F"/>
                  </a:solidFill>
                  <a:effectLst/>
                  <a:uLnTx/>
                  <a:uFillTx/>
                  <a:latin typeface="Calibri" panose="020F0502020204030204" pitchFamily="34" charset="0"/>
                  <a:ea typeface="+mn-ea"/>
                  <a:cs typeface="Calibri" panose="020F0502020204030204" pitchFamily="34" charset="0"/>
                </a:rPr>
                <a:t>Neurohormonal </a:t>
              </a:r>
              <a:br>
                <a:rPr kumimoji="0" lang="en-US" altLang="fr-FR" sz="1400" b="1" i="0" u="none" strike="noStrike" kern="1200" cap="none" spc="0" normalizeH="0" baseline="0" noProof="0">
                  <a:ln>
                    <a:noFill/>
                  </a:ln>
                  <a:solidFill>
                    <a:srgbClr val="3F3F3F"/>
                  </a:solidFill>
                  <a:effectLst/>
                  <a:uLnTx/>
                  <a:uFillTx/>
                  <a:latin typeface="Calibri" panose="020F0502020204030204" pitchFamily="34" charset="0"/>
                  <a:ea typeface="+mn-ea"/>
                  <a:cs typeface="Calibri" panose="020F0502020204030204" pitchFamily="34" charset="0"/>
                </a:rPr>
              </a:br>
              <a:r>
                <a:rPr kumimoji="0" lang="en-US" altLang="fr-FR" sz="1400" b="1" i="0" u="none" strike="noStrike" kern="1200" cap="none" spc="0" normalizeH="0" baseline="0" noProof="0">
                  <a:ln>
                    <a:noFill/>
                  </a:ln>
                  <a:solidFill>
                    <a:srgbClr val="3F3F3F"/>
                  </a:solidFill>
                  <a:effectLst/>
                  <a:uLnTx/>
                  <a:uFillTx/>
                  <a:latin typeface="Calibri" panose="020F0502020204030204" pitchFamily="34" charset="0"/>
                  <a:ea typeface="+mn-ea"/>
                  <a:cs typeface="Calibri" panose="020F0502020204030204" pitchFamily="34" charset="0"/>
                </a:rPr>
                <a:t>activation</a:t>
              </a:r>
            </a:p>
          </p:txBody>
        </p:sp>
        <p:sp>
          <p:nvSpPr>
            <p:cNvPr id="35" name="Rectangle 34">
              <a:extLst>
                <a:ext uri="{FF2B5EF4-FFF2-40B4-BE49-F238E27FC236}">
                  <a16:creationId xmlns:a16="http://schemas.microsoft.com/office/drawing/2014/main" id="{530A5757-568A-F0DB-1B83-C5F9430E4968}"/>
                </a:ext>
              </a:extLst>
            </p:cNvPr>
            <p:cNvSpPr/>
            <p:nvPr/>
          </p:nvSpPr>
          <p:spPr bwMode="auto">
            <a:xfrm>
              <a:off x="5563381" y="3886018"/>
              <a:ext cx="1243283" cy="471151"/>
            </a:xfrm>
            <a:prstGeom prst="rect">
              <a:avLst/>
            </a:prstGeom>
            <a:noFill/>
            <a:ln w="19050"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1" indent="0" algn="ctr" defTabSz="685783" rtl="0" eaLnBrk="1" fontAlgn="auto" latinLnBrk="0" hangingPunct="1">
                <a:lnSpc>
                  <a:spcPct val="100000"/>
                </a:lnSpc>
                <a:spcBef>
                  <a:spcPts val="0"/>
                </a:spcBef>
                <a:spcAft>
                  <a:spcPts val="0"/>
                </a:spcAft>
                <a:buClrTx/>
                <a:buSzTx/>
                <a:buFontTx/>
                <a:buNone/>
                <a:tabLst/>
                <a:defRPr/>
              </a:pPr>
              <a:r>
                <a:rPr kumimoji="0" lang="en-US" altLang="fr-FR" sz="1400" b="1" i="0" u="none" strike="noStrike" kern="1200" cap="none" spc="0" normalizeH="0" baseline="0" noProof="0" dirty="0">
                  <a:ln>
                    <a:noFill/>
                  </a:ln>
                  <a:solidFill>
                    <a:srgbClr val="3F3F3F"/>
                  </a:solidFill>
                  <a:effectLst/>
                  <a:uLnTx/>
                  <a:uFillTx/>
                  <a:latin typeface="Calibri" panose="020F0502020204030204" pitchFamily="34" charset="0"/>
                  <a:ea typeface="+mn-ea"/>
                  <a:cs typeface="Calibri" panose="020F0502020204030204" pitchFamily="34" charset="0"/>
                </a:rPr>
                <a:t>Extra-cellular </a:t>
              </a:r>
              <a:br>
                <a:rPr kumimoji="0" lang="en-US" altLang="fr-FR" sz="1400" b="1" i="0" u="none" strike="noStrike" kern="1200" cap="none" spc="0" normalizeH="0" baseline="0" noProof="0" dirty="0">
                  <a:ln>
                    <a:noFill/>
                  </a:ln>
                  <a:solidFill>
                    <a:srgbClr val="3F3F3F"/>
                  </a:solidFill>
                  <a:effectLst/>
                  <a:uLnTx/>
                  <a:uFillTx/>
                  <a:latin typeface="Calibri" panose="020F0502020204030204" pitchFamily="34" charset="0"/>
                  <a:ea typeface="+mn-ea"/>
                  <a:cs typeface="Calibri" panose="020F0502020204030204" pitchFamily="34" charset="0"/>
                </a:rPr>
              </a:br>
              <a:r>
                <a:rPr kumimoji="0" lang="en-US" altLang="fr-FR" sz="1400" b="1" i="0" u="none" strike="noStrike" kern="1200" cap="none" spc="0" normalizeH="0" baseline="0" noProof="0" dirty="0">
                  <a:ln>
                    <a:noFill/>
                  </a:ln>
                  <a:solidFill>
                    <a:srgbClr val="3F3F3F"/>
                  </a:solidFill>
                  <a:effectLst/>
                  <a:uLnTx/>
                  <a:uFillTx/>
                  <a:latin typeface="Calibri" panose="020F0502020204030204" pitchFamily="34" charset="0"/>
                  <a:ea typeface="+mn-ea"/>
                  <a:cs typeface="Calibri" panose="020F0502020204030204" pitchFamily="34" charset="0"/>
                </a:rPr>
                <a:t>matrix</a:t>
              </a:r>
            </a:p>
          </p:txBody>
        </p:sp>
        <p:sp>
          <p:nvSpPr>
            <p:cNvPr id="36" name="Rectangle 35">
              <a:extLst>
                <a:ext uri="{FF2B5EF4-FFF2-40B4-BE49-F238E27FC236}">
                  <a16:creationId xmlns:a16="http://schemas.microsoft.com/office/drawing/2014/main" id="{DC6B0850-F8B6-F491-0C8E-87EAC0D12735}"/>
                </a:ext>
              </a:extLst>
            </p:cNvPr>
            <p:cNvSpPr/>
            <p:nvPr/>
          </p:nvSpPr>
          <p:spPr bwMode="auto">
            <a:xfrm>
              <a:off x="5476255" y="2926151"/>
              <a:ext cx="1159627" cy="488975"/>
            </a:xfrm>
            <a:prstGeom prst="rect">
              <a:avLst/>
            </a:prstGeom>
            <a:noFill/>
            <a:ln w="19050"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1" indent="0" algn="ctr" defTabSz="685783" rtl="0" eaLnBrk="1" fontAlgn="auto" latinLnBrk="0" hangingPunct="1">
                <a:lnSpc>
                  <a:spcPct val="100000"/>
                </a:lnSpc>
                <a:spcBef>
                  <a:spcPts val="0"/>
                </a:spcBef>
                <a:spcAft>
                  <a:spcPts val="0"/>
                </a:spcAft>
                <a:buClrTx/>
                <a:buSzTx/>
                <a:buFontTx/>
                <a:buNone/>
                <a:tabLst/>
                <a:defRPr/>
              </a:pPr>
              <a:r>
                <a:rPr kumimoji="0" lang="en-US" altLang="fr-FR" sz="1400" b="1" i="0" u="none" strike="noStrike" kern="1200" cap="none" spc="0" normalizeH="0" baseline="0" noProof="0">
                  <a:ln>
                    <a:noFill/>
                  </a:ln>
                  <a:solidFill>
                    <a:srgbClr val="3F3F3F"/>
                  </a:solidFill>
                  <a:effectLst/>
                  <a:uLnTx/>
                  <a:uFillTx/>
                  <a:latin typeface="Calibri" panose="020F0502020204030204" pitchFamily="34" charset="0"/>
                  <a:ea typeface="+mn-ea"/>
                  <a:cs typeface="Calibri" panose="020F0502020204030204" pitchFamily="34" charset="0"/>
                </a:rPr>
                <a:t>Dysregulated </a:t>
              </a:r>
              <a:br>
                <a:rPr kumimoji="0" lang="en-US" altLang="fr-FR" sz="1400" b="1" i="0" u="none" strike="noStrike" kern="1200" cap="none" spc="0" normalizeH="0" baseline="0" noProof="0">
                  <a:ln>
                    <a:noFill/>
                  </a:ln>
                  <a:solidFill>
                    <a:srgbClr val="3F3F3F"/>
                  </a:solidFill>
                  <a:effectLst/>
                  <a:uLnTx/>
                  <a:uFillTx/>
                  <a:latin typeface="Calibri" panose="020F0502020204030204" pitchFamily="34" charset="0"/>
                  <a:ea typeface="+mn-ea"/>
                  <a:cs typeface="Calibri" panose="020F0502020204030204" pitchFamily="34" charset="0"/>
                </a:rPr>
              </a:br>
              <a:r>
                <a:rPr kumimoji="0" lang="en-US" altLang="fr-FR" sz="1400" b="1" i="0" u="none" strike="noStrike" kern="1200" cap="none" spc="0" normalizeH="0" baseline="0" noProof="0">
                  <a:ln>
                    <a:noFill/>
                  </a:ln>
                  <a:solidFill>
                    <a:srgbClr val="3F3F3F"/>
                  </a:solidFill>
                  <a:effectLst/>
                  <a:uLnTx/>
                  <a:uFillTx/>
                  <a:latin typeface="Calibri" panose="020F0502020204030204" pitchFamily="34" charset="0"/>
                  <a:ea typeface="+mn-ea"/>
                  <a:cs typeface="Calibri" panose="020F0502020204030204" pitchFamily="34" charset="0"/>
                </a:rPr>
                <a:t>angiogenesis</a:t>
              </a:r>
            </a:p>
          </p:txBody>
        </p:sp>
        <p:sp>
          <p:nvSpPr>
            <p:cNvPr id="37" name="Rectangle 36">
              <a:extLst>
                <a:ext uri="{FF2B5EF4-FFF2-40B4-BE49-F238E27FC236}">
                  <a16:creationId xmlns:a16="http://schemas.microsoft.com/office/drawing/2014/main" id="{46F15525-27EB-B1CD-FDEC-E835F497031D}"/>
                </a:ext>
              </a:extLst>
            </p:cNvPr>
            <p:cNvSpPr/>
            <p:nvPr/>
          </p:nvSpPr>
          <p:spPr bwMode="auto">
            <a:xfrm>
              <a:off x="5952932" y="2115568"/>
              <a:ext cx="1218281" cy="488975"/>
            </a:xfrm>
            <a:prstGeom prst="rect">
              <a:avLst/>
            </a:prstGeom>
            <a:noFill/>
            <a:ln w="19050"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marL="0" marR="0" lvl="1" indent="0" algn="ctr" defTabSz="685783" rtl="0" eaLnBrk="1" fontAlgn="auto" latinLnBrk="0" hangingPunct="1">
                <a:lnSpc>
                  <a:spcPct val="100000"/>
                </a:lnSpc>
                <a:spcBef>
                  <a:spcPts val="0"/>
                </a:spcBef>
                <a:spcAft>
                  <a:spcPts val="0"/>
                </a:spcAft>
                <a:buClrTx/>
                <a:buSzTx/>
                <a:buFontTx/>
                <a:buNone/>
                <a:tabLst/>
                <a:defRPr/>
              </a:pPr>
              <a:r>
                <a:rPr kumimoji="0" lang="en-US" altLang="fr-FR" sz="1400" b="1" i="0" u="none" strike="noStrike" kern="1200" cap="none" spc="0" normalizeH="0" baseline="0" noProof="0">
                  <a:ln>
                    <a:noFill/>
                  </a:ln>
                  <a:solidFill>
                    <a:srgbClr val="3F3F3F"/>
                  </a:solidFill>
                  <a:effectLst/>
                  <a:uLnTx/>
                  <a:uFillTx/>
                  <a:latin typeface="Calibri" panose="020F0502020204030204" pitchFamily="34" charset="0"/>
                  <a:ea typeface="+mn-ea"/>
                  <a:cs typeface="Calibri" panose="020F0502020204030204" pitchFamily="34" charset="0"/>
                </a:rPr>
                <a:t>Mitochondrial </a:t>
              </a:r>
              <a:br>
                <a:rPr kumimoji="0" lang="en-US" altLang="fr-FR" sz="1400" b="1" i="0" u="none" strike="noStrike" kern="1200" cap="none" spc="0" normalizeH="0" baseline="0" noProof="0">
                  <a:ln>
                    <a:noFill/>
                  </a:ln>
                  <a:solidFill>
                    <a:srgbClr val="3F3F3F"/>
                  </a:solidFill>
                  <a:effectLst/>
                  <a:uLnTx/>
                  <a:uFillTx/>
                  <a:latin typeface="Calibri" panose="020F0502020204030204" pitchFamily="34" charset="0"/>
                  <a:ea typeface="+mn-ea"/>
                  <a:cs typeface="Calibri" panose="020F0502020204030204" pitchFamily="34" charset="0"/>
                </a:rPr>
              </a:br>
              <a:r>
                <a:rPr kumimoji="0" lang="en-US" altLang="fr-FR" sz="1400" b="1" i="0" u="none" strike="noStrike" kern="1200" cap="none" spc="0" normalizeH="0" baseline="0" noProof="0">
                  <a:ln>
                    <a:noFill/>
                  </a:ln>
                  <a:solidFill>
                    <a:srgbClr val="3F3F3F"/>
                  </a:solidFill>
                  <a:effectLst/>
                  <a:uLnTx/>
                  <a:uFillTx/>
                  <a:latin typeface="Calibri" panose="020F0502020204030204" pitchFamily="34" charset="0"/>
                  <a:ea typeface="+mn-ea"/>
                  <a:cs typeface="Calibri" panose="020F0502020204030204" pitchFamily="34" charset="0"/>
                </a:rPr>
                <a:t>metabolism</a:t>
              </a:r>
            </a:p>
          </p:txBody>
        </p:sp>
        <p:cxnSp>
          <p:nvCxnSpPr>
            <p:cNvPr id="38" name="Straight Connector 37">
              <a:extLst>
                <a:ext uri="{FF2B5EF4-FFF2-40B4-BE49-F238E27FC236}">
                  <a16:creationId xmlns:a16="http://schemas.microsoft.com/office/drawing/2014/main" id="{B14FF660-7461-72B7-6F06-0F186DDB65E0}"/>
                </a:ext>
              </a:extLst>
            </p:cNvPr>
            <p:cNvCxnSpPr>
              <a:cxnSpLocks/>
              <a:stCxn id="22" idx="1"/>
            </p:cNvCxnSpPr>
            <p:nvPr/>
          </p:nvCxnSpPr>
          <p:spPr bwMode="auto">
            <a:xfrm flipH="1">
              <a:off x="7961311" y="2359167"/>
              <a:ext cx="625856" cy="193209"/>
            </a:xfrm>
            <a:prstGeom prst="line">
              <a:avLst/>
            </a:prstGeom>
            <a:solidFill>
              <a:schemeClr val="accent2"/>
            </a:solidFill>
            <a:ln w="19050" cap="flat" cmpd="sng" algn="ctr">
              <a:noFill/>
              <a:prstDash val="solid"/>
              <a:round/>
              <a:headEnd type="none" w="med" len="med"/>
              <a:tailEnd type="none" w="med" len="med"/>
            </a:ln>
            <a:effectLst/>
          </p:spPr>
        </p:cxnSp>
        <p:cxnSp>
          <p:nvCxnSpPr>
            <p:cNvPr id="39" name="Straight Connector 38">
              <a:extLst>
                <a:ext uri="{FF2B5EF4-FFF2-40B4-BE49-F238E27FC236}">
                  <a16:creationId xmlns:a16="http://schemas.microsoft.com/office/drawing/2014/main" id="{CFA6C0FC-8CDC-1156-E2D5-A285446E37D0}"/>
                </a:ext>
              </a:extLst>
            </p:cNvPr>
            <p:cNvCxnSpPr>
              <a:cxnSpLocks/>
            </p:cNvCxnSpPr>
            <p:nvPr/>
          </p:nvCxnSpPr>
          <p:spPr bwMode="auto">
            <a:xfrm flipH="1">
              <a:off x="8651912" y="3228869"/>
              <a:ext cx="307178" cy="82154"/>
            </a:xfrm>
            <a:prstGeom prst="line">
              <a:avLst/>
            </a:prstGeom>
            <a:solidFill>
              <a:schemeClr val="accent2"/>
            </a:solidFill>
            <a:ln w="19050" cap="flat" cmpd="sng" algn="ctr">
              <a:noFill/>
              <a:prstDash val="solid"/>
              <a:round/>
              <a:headEnd type="none" w="med" len="med"/>
              <a:tailEnd type="none" w="med" len="med"/>
            </a:ln>
            <a:effectLst/>
          </p:spPr>
        </p:cxnSp>
        <p:cxnSp>
          <p:nvCxnSpPr>
            <p:cNvPr id="41" name="Straight Connector 40">
              <a:extLst>
                <a:ext uri="{FF2B5EF4-FFF2-40B4-BE49-F238E27FC236}">
                  <a16:creationId xmlns:a16="http://schemas.microsoft.com/office/drawing/2014/main" id="{E108B0EC-71B0-CD7A-7E66-6670B9B3C0EA}"/>
                </a:ext>
              </a:extLst>
            </p:cNvPr>
            <p:cNvCxnSpPr>
              <a:cxnSpLocks/>
              <a:stCxn id="26" idx="1"/>
            </p:cNvCxnSpPr>
            <p:nvPr/>
          </p:nvCxnSpPr>
          <p:spPr bwMode="auto">
            <a:xfrm flipH="1" flipV="1">
              <a:off x="8548229" y="3994035"/>
              <a:ext cx="378617" cy="127558"/>
            </a:xfrm>
            <a:prstGeom prst="line">
              <a:avLst/>
            </a:prstGeom>
            <a:solidFill>
              <a:schemeClr val="accent2"/>
            </a:solidFill>
            <a:ln w="19050" cap="flat" cmpd="sng" algn="ctr">
              <a:noFill/>
              <a:prstDash val="solid"/>
              <a:round/>
              <a:headEnd type="none" w="med" len="med"/>
              <a:tailEnd type="none" w="med" len="med"/>
            </a:ln>
            <a:effectLst/>
          </p:spPr>
        </p:cxnSp>
        <p:cxnSp>
          <p:nvCxnSpPr>
            <p:cNvPr id="43" name="Straight Connector 42">
              <a:extLst>
                <a:ext uri="{FF2B5EF4-FFF2-40B4-BE49-F238E27FC236}">
                  <a16:creationId xmlns:a16="http://schemas.microsoft.com/office/drawing/2014/main" id="{4CA87F96-5D34-C82D-5B12-FCC8AFA3BFF7}"/>
                </a:ext>
              </a:extLst>
            </p:cNvPr>
            <p:cNvCxnSpPr>
              <a:cxnSpLocks/>
              <a:stCxn id="32" idx="1"/>
            </p:cNvCxnSpPr>
            <p:nvPr/>
          </p:nvCxnSpPr>
          <p:spPr bwMode="auto">
            <a:xfrm flipH="1" flipV="1">
              <a:off x="8358050" y="4601619"/>
              <a:ext cx="214311" cy="284947"/>
            </a:xfrm>
            <a:prstGeom prst="line">
              <a:avLst/>
            </a:prstGeom>
            <a:solidFill>
              <a:schemeClr val="accent2"/>
            </a:solidFill>
            <a:ln w="19050" cap="flat" cmpd="sng" algn="ctr">
              <a:noFill/>
              <a:prstDash val="solid"/>
              <a:round/>
              <a:headEnd type="none" w="med" len="med"/>
              <a:tailEnd type="none" w="med" len="med"/>
            </a:ln>
            <a:effectLst/>
          </p:spPr>
        </p:cxnSp>
        <p:cxnSp>
          <p:nvCxnSpPr>
            <p:cNvPr id="44" name="Straight Connector 43">
              <a:extLst>
                <a:ext uri="{FF2B5EF4-FFF2-40B4-BE49-F238E27FC236}">
                  <a16:creationId xmlns:a16="http://schemas.microsoft.com/office/drawing/2014/main" id="{CD0CA40D-53A7-EEDE-D33B-2B109ACD4AB8}"/>
                </a:ext>
              </a:extLst>
            </p:cNvPr>
            <p:cNvCxnSpPr>
              <a:cxnSpLocks/>
              <a:stCxn id="37" idx="3"/>
            </p:cNvCxnSpPr>
            <p:nvPr/>
          </p:nvCxnSpPr>
          <p:spPr bwMode="auto">
            <a:xfrm>
              <a:off x="7171212" y="2360054"/>
              <a:ext cx="953416" cy="76980"/>
            </a:xfrm>
            <a:prstGeom prst="line">
              <a:avLst/>
            </a:prstGeom>
            <a:solidFill>
              <a:schemeClr val="accent2"/>
            </a:solidFill>
            <a:ln w="19050" cap="flat" cmpd="sng" algn="ctr">
              <a:noFill/>
              <a:prstDash val="solid"/>
              <a:round/>
              <a:headEnd type="none" w="med" len="med"/>
              <a:tailEnd type="none" w="med" len="med"/>
            </a:ln>
            <a:effectLst/>
          </p:spPr>
        </p:cxnSp>
        <p:cxnSp>
          <p:nvCxnSpPr>
            <p:cNvPr id="45" name="Straight Connector 44">
              <a:extLst>
                <a:ext uri="{FF2B5EF4-FFF2-40B4-BE49-F238E27FC236}">
                  <a16:creationId xmlns:a16="http://schemas.microsoft.com/office/drawing/2014/main" id="{E51B34A9-D976-CC5B-B5EF-7BFF4911F953}"/>
                </a:ext>
              </a:extLst>
            </p:cNvPr>
            <p:cNvCxnSpPr>
              <a:cxnSpLocks/>
              <a:stCxn id="36" idx="3"/>
            </p:cNvCxnSpPr>
            <p:nvPr/>
          </p:nvCxnSpPr>
          <p:spPr bwMode="auto">
            <a:xfrm>
              <a:off x="6635881" y="3170638"/>
              <a:ext cx="781940" cy="9548"/>
            </a:xfrm>
            <a:prstGeom prst="line">
              <a:avLst/>
            </a:prstGeom>
            <a:solidFill>
              <a:schemeClr val="accent2"/>
            </a:solidFill>
            <a:ln w="19050" cap="flat" cmpd="sng" algn="ctr">
              <a:noFill/>
              <a:prstDash val="solid"/>
              <a:round/>
              <a:headEnd type="none" w="med" len="med"/>
              <a:tailEnd type="none" w="med" len="med"/>
            </a:ln>
            <a:effectLst/>
          </p:spPr>
        </p:cxnSp>
        <p:cxnSp>
          <p:nvCxnSpPr>
            <p:cNvPr id="46" name="Straight Connector 45">
              <a:extLst>
                <a:ext uri="{FF2B5EF4-FFF2-40B4-BE49-F238E27FC236}">
                  <a16:creationId xmlns:a16="http://schemas.microsoft.com/office/drawing/2014/main" id="{38F11ECA-E39F-E4E6-BAAF-67E69514044F}"/>
                </a:ext>
              </a:extLst>
            </p:cNvPr>
            <p:cNvCxnSpPr>
              <a:cxnSpLocks/>
              <a:stCxn id="35" idx="3"/>
            </p:cNvCxnSpPr>
            <p:nvPr/>
          </p:nvCxnSpPr>
          <p:spPr bwMode="auto">
            <a:xfrm flipV="1">
              <a:off x="6806663" y="4020886"/>
              <a:ext cx="228599" cy="100707"/>
            </a:xfrm>
            <a:prstGeom prst="line">
              <a:avLst/>
            </a:prstGeom>
            <a:solidFill>
              <a:schemeClr val="accent2"/>
            </a:solidFill>
            <a:ln w="19050" cap="flat" cmpd="sng" algn="ctr">
              <a:noFill/>
              <a:prstDash val="solid"/>
              <a:round/>
              <a:headEnd type="none" w="med" len="med"/>
              <a:tailEnd type="none" w="med" len="med"/>
            </a:ln>
            <a:effectLst/>
          </p:spPr>
        </p:cxnSp>
        <p:cxnSp>
          <p:nvCxnSpPr>
            <p:cNvPr id="47" name="Straight Connector 46">
              <a:extLst>
                <a:ext uri="{FF2B5EF4-FFF2-40B4-BE49-F238E27FC236}">
                  <a16:creationId xmlns:a16="http://schemas.microsoft.com/office/drawing/2014/main" id="{19627833-81FB-C1E4-E719-844F15916CE1}"/>
                </a:ext>
              </a:extLst>
            </p:cNvPr>
            <p:cNvCxnSpPr>
              <a:cxnSpLocks/>
              <a:stCxn id="34" idx="3"/>
            </p:cNvCxnSpPr>
            <p:nvPr/>
          </p:nvCxnSpPr>
          <p:spPr bwMode="auto">
            <a:xfrm flipV="1">
              <a:off x="7378346" y="4825490"/>
              <a:ext cx="611495" cy="61074"/>
            </a:xfrm>
            <a:prstGeom prst="line">
              <a:avLst/>
            </a:prstGeom>
            <a:solidFill>
              <a:schemeClr val="accent2"/>
            </a:solidFill>
            <a:ln w="19050" cap="flat" cmpd="sng" algn="ctr">
              <a:noFill/>
              <a:prstDash val="solid"/>
              <a:round/>
              <a:headEnd type="none" w="med" len="med"/>
              <a:tailEnd type="none" w="med" len="med"/>
            </a:ln>
            <a:effectLst/>
          </p:spPr>
        </p:cxnSp>
      </p:grpSp>
    </p:spTree>
    <p:extLst>
      <p:ext uri="{BB962C8B-B14F-4D97-AF65-F5344CB8AC3E}">
        <p14:creationId xmlns:p14="http://schemas.microsoft.com/office/powerpoint/2010/main" val="7851982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5CE929-9E84-400E-AFE4-957E2B753A3C}"/>
              </a:ext>
            </a:extLst>
          </p:cNvPr>
          <p:cNvSpPr>
            <a:spLocks noGrp="1"/>
          </p:cNvSpPr>
          <p:nvPr>
            <p:ph type="title"/>
          </p:nvPr>
        </p:nvSpPr>
        <p:spPr>
          <a:xfrm>
            <a:off x="605367" y="378458"/>
            <a:ext cx="10145760" cy="387798"/>
          </a:xfrm>
        </p:spPr>
        <p:txBody>
          <a:bodyPr>
            <a:noAutofit/>
          </a:bodyPr>
          <a:lstStyle/>
          <a:p>
            <a:r>
              <a:rPr lang="en-GB" noProof="0"/>
              <a:t>Novel Treatment Targets in Alternative Pathogenic Pathways in PAH</a:t>
            </a:r>
          </a:p>
        </p:txBody>
      </p:sp>
      <p:graphicFrame>
        <p:nvGraphicFramePr>
          <p:cNvPr id="6" name="Table 15">
            <a:extLst>
              <a:ext uri="{FF2B5EF4-FFF2-40B4-BE49-F238E27FC236}">
                <a16:creationId xmlns:a16="http://schemas.microsoft.com/office/drawing/2014/main" id="{1519C19E-53CC-4270-ADB0-3D39D5A153AC}"/>
              </a:ext>
            </a:extLst>
          </p:cNvPr>
          <p:cNvGraphicFramePr>
            <a:graphicFrameLocks noGrp="1"/>
          </p:cNvGraphicFramePr>
          <p:nvPr/>
        </p:nvGraphicFramePr>
        <p:xfrm>
          <a:off x="1072909" y="1081503"/>
          <a:ext cx="6950930" cy="4246291"/>
        </p:xfrm>
        <a:graphic>
          <a:graphicData uri="http://schemas.openxmlformats.org/drawingml/2006/table">
            <a:tbl>
              <a:tblPr firstRow="1" bandRow="1">
                <a:tableStyleId>{5C22544A-7EE6-4342-B048-85BDC9FD1C3A}</a:tableStyleId>
              </a:tblPr>
              <a:tblGrid>
                <a:gridCol w="2313589">
                  <a:extLst>
                    <a:ext uri="{9D8B030D-6E8A-4147-A177-3AD203B41FA5}">
                      <a16:colId xmlns:a16="http://schemas.microsoft.com/office/drawing/2014/main" val="1762376518"/>
                    </a:ext>
                  </a:extLst>
                </a:gridCol>
                <a:gridCol w="2630686">
                  <a:extLst>
                    <a:ext uri="{9D8B030D-6E8A-4147-A177-3AD203B41FA5}">
                      <a16:colId xmlns:a16="http://schemas.microsoft.com/office/drawing/2014/main" val="634624286"/>
                    </a:ext>
                  </a:extLst>
                </a:gridCol>
                <a:gridCol w="2006655">
                  <a:extLst>
                    <a:ext uri="{9D8B030D-6E8A-4147-A177-3AD203B41FA5}">
                      <a16:colId xmlns:a16="http://schemas.microsoft.com/office/drawing/2014/main" val="3222183925"/>
                    </a:ext>
                  </a:extLst>
                </a:gridCol>
              </a:tblGrid>
              <a:tr h="223489">
                <a:tc>
                  <a:txBody>
                    <a:bodyPr/>
                    <a:lstStyle/>
                    <a:p>
                      <a:pPr algn="ctr"/>
                      <a:r>
                        <a:rPr lang="en-US" sz="1200">
                          <a:effectLst>
                            <a:outerShdw blurRad="50800" dist="12700" dir="5400000" algn="ctr" rotWithShape="0">
                              <a:schemeClr val="tx1"/>
                            </a:outerShdw>
                          </a:effectLst>
                          <a:latin typeface="Verdana" panose="020B0604030504040204" pitchFamily="34" charset="0"/>
                          <a:ea typeface="Verdana" panose="020B0604030504040204" pitchFamily="34" charset="0"/>
                        </a:rPr>
                        <a:t>Mechanism</a:t>
                      </a:r>
                    </a:p>
                  </a:txBody>
                  <a:tcPr marL="10800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algn="ctr"/>
                      <a:r>
                        <a:rPr lang="en-US" sz="1200">
                          <a:effectLst>
                            <a:outerShdw blurRad="50800" dist="12700" dir="5400000" algn="ctr" rotWithShape="0">
                              <a:schemeClr val="tx1"/>
                            </a:outerShdw>
                          </a:effectLst>
                          <a:latin typeface="Verdana" panose="020B0604030504040204" pitchFamily="34" charset="0"/>
                          <a:ea typeface="Verdana" panose="020B0604030504040204" pitchFamily="34" charset="0"/>
                        </a:rPr>
                        <a:t>Target</a:t>
                      </a:r>
                    </a:p>
                  </a:txBody>
                  <a:tcPr marL="10800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tc>
                  <a:txBody>
                    <a:bodyPr/>
                    <a:lstStyle/>
                    <a:p>
                      <a:pPr algn="ctr"/>
                      <a:r>
                        <a:rPr lang="en-US" sz="1200">
                          <a:effectLst>
                            <a:outerShdw blurRad="50800" dist="12700" dir="5400000" algn="ctr" rotWithShape="0">
                              <a:schemeClr val="tx1"/>
                            </a:outerShdw>
                          </a:effectLst>
                          <a:latin typeface="Verdana" panose="020B0604030504040204" pitchFamily="34" charset="0"/>
                          <a:ea typeface="Verdana" panose="020B0604030504040204" pitchFamily="34" charset="0"/>
                        </a:rPr>
                        <a:t>Drug</a:t>
                      </a:r>
                    </a:p>
                  </a:txBody>
                  <a:tcPr marL="108000" marR="0" marT="0" marB="0" anchor="ctr">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accent2"/>
                    </a:solidFill>
                  </a:tcPr>
                </a:tc>
                <a:extLst>
                  <a:ext uri="{0D108BD9-81ED-4DB2-BD59-A6C34878D82A}">
                    <a16:rowId xmlns:a16="http://schemas.microsoft.com/office/drawing/2014/main" val="1661115189"/>
                  </a:ext>
                </a:extLst>
              </a:tr>
              <a:tr h="223489">
                <a:tc>
                  <a:txBody>
                    <a:bodyPr/>
                    <a:lstStyle/>
                    <a:p>
                      <a:r>
                        <a:rPr lang="en-US" sz="1000" b="1">
                          <a:latin typeface="Verdana" panose="020B0604030504040204" pitchFamily="34" charset="0"/>
                          <a:ea typeface="Verdana" panose="020B0604030504040204" pitchFamily="34" charset="0"/>
                        </a:rPr>
                        <a:t>Genetic</a:t>
                      </a:r>
                      <a:r>
                        <a:rPr lang="en-US" sz="1000" b="1" baseline="30000">
                          <a:latin typeface="Verdana" panose="020B0604030504040204" pitchFamily="34" charset="0"/>
                          <a:ea typeface="Verdana" panose="020B0604030504040204" pitchFamily="34" charset="0"/>
                        </a:rPr>
                        <a:t>1,2</a:t>
                      </a:r>
                    </a:p>
                  </a:txBody>
                  <a:tcPr marL="108000" marR="0" marT="0" marB="0" anchor="ctr">
                    <a:lnT w="38100" cmpd="sng">
                      <a:noFill/>
                    </a:lnT>
                    <a:solidFill>
                      <a:schemeClr val="tx1">
                        <a:lumMod val="25000"/>
                        <a:lumOff val="75000"/>
                      </a:schemeClr>
                    </a:solidFill>
                  </a:tcPr>
                </a:tc>
                <a:tc>
                  <a:txBody>
                    <a:bodyPr/>
                    <a:lstStyle/>
                    <a:p>
                      <a:r>
                        <a:rPr lang="en-US" sz="1000" i="0" dirty="0">
                          <a:latin typeface="Verdana" panose="020B0604030504040204" pitchFamily="34" charset="0"/>
                          <a:ea typeface="Verdana" panose="020B0604030504040204" pitchFamily="34" charset="0"/>
                        </a:rPr>
                        <a:t>BMPR-II</a:t>
                      </a:r>
                    </a:p>
                  </a:txBody>
                  <a:tcPr marL="108000" marR="0" marT="0" marB="0" anchor="ctr">
                    <a:lnT w="38100" cmpd="sng">
                      <a:noFill/>
                    </a:lnT>
                    <a:solidFill>
                      <a:schemeClr val="tx1">
                        <a:lumMod val="25000"/>
                        <a:lumOff val="75000"/>
                      </a:schemeClr>
                    </a:solidFill>
                  </a:tcPr>
                </a:tc>
                <a:tc>
                  <a:txBody>
                    <a:bodyPr/>
                    <a:lstStyle/>
                    <a:p>
                      <a:r>
                        <a:rPr lang="en-US" sz="1000">
                          <a:latin typeface="Verdana" panose="020B0604030504040204" pitchFamily="34" charset="0"/>
                          <a:ea typeface="Verdana" panose="020B0604030504040204" pitchFamily="34" charset="0"/>
                        </a:rPr>
                        <a:t>Tacrolimus</a:t>
                      </a:r>
                    </a:p>
                  </a:txBody>
                  <a:tcPr marL="108000" marR="0" marT="0" marB="0" anchor="ctr">
                    <a:lnT w="38100" cmpd="sng">
                      <a:noFill/>
                    </a:lnT>
                    <a:solidFill>
                      <a:schemeClr val="tx1">
                        <a:lumMod val="25000"/>
                        <a:lumOff val="75000"/>
                      </a:schemeClr>
                    </a:solidFill>
                  </a:tcPr>
                </a:tc>
                <a:extLst>
                  <a:ext uri="{0D108BD9-81ED-4DB2-BD59-A6C34878D82A}">
                    <a16:rowId xmlns:a16="http://schemas.microsoft.com/office/drawing/2014/main" val="2431188058"/>
                  </a:ext>
                </a:extLst>
              </a:tr>
              <a:tr h="223489">
                <a:tc>
                  <a:txBody>
                    <a:bodyPr/>
                    <a:lstStyle/>
                    <a:p>
                      <a:endParaRPr lang="en-US" sz="1000" b="1">
                        <a:latin typeface="Verdana" panose="020B0604030504040204" pitchFamily="34" charset="0"/>
                        <a:ea typeface="Verdana" panose="020B0604030504040204" pitchFamily="34" charset="0"/>
                      </a:endParaRPr>
                    </a:p>
                  </a:txBody>
                  <a:tcPr marL="108000" marR="0" marT="0" marB="0" anchor="ctr">
                    <a:solidFill>
                      <a:schemeClr val="tx1">
                        <a:lumMod val="25000"/>
                        <a:lumOff val="75000"/>
                      </a:schemeClr>
                    </a:solidFill>
                  </a:tcPr>
                </a:tc>
                <a:tc>
                  <a:txBody>
                    <a:bodyPr/>
                    <a:lstStyle/>
                    <a:p>
                      <a:r>
                        <a:rPr lang="en-US" sz="1000">
                          <a:solidFill>
                            <a:schemeClr val="tx1"/>
                          </a:solidFill>
                          <a:latin typeface="Verdana" panose="020B0604030504040204" pitchFamily="34" charset="0"/>
                          <a:ea typeface="Verdana" panose="020B0604030504040204" pitchFamily="34" charset="0"/>
                        </a:rPr>
                        <a:t>ActRIIA </a:t>
                      </a:r>
                      <a:r>
                        <a:rPr lang="en-GB" sz="1000">
                          <a:latin typeface="Verdana" panose="020B0604030504040204" pitchFamily="34" charset="0"/>
                          <a:ea typeface="Verdana" panose="020B0604030504040204" pitchFamily="34" charset="0"/>
                        </a:rPr>
                        <a:t>(ligand trap)</a:t>
                      </a:r>
                      <a:endParaRPr lang="en-US" sz="1000">
                        <a:latin typeface="Verdana" panose="020B0604030504040204" pitchFamily="34" charset="0"/>
                        <a:ea typeface="Verdana" panose="020B0604030504040204" pitchFamily="34" charset="0"/>
                      </a:endParaRPr>
                    </a:p>
                  </a:txBody>
                  <a:tcPr marL="108000" marR="0" marT="0" marB="0" anchor="ctr">
                    <a:solidFill>
                      <a:schemeClr val="tx1">
                        <a:lumMod val="25000"/>
                        <a:lumOff val="75000"/>
                      </a:schemeClr>
                    </a:solidFill>
                  </a:tcPr>
                </a:tc>
                <a:tc>
                  <a:txBody>
                    <a:bodyPr/>
                    <a:lstStyle/>
                    <a:p>
                      <a:r>
                        <a:rPr lang="en-US" sz="1000">
                          <a:latin typeface="Verdana" panose="020B0604030504040204" pitchFamily="34" charset="0"/>
                          <a:ea typeface="Verdana" panose="020B0604030504040204" pitchFamily="34" charset="0"/>
                        </a:rPr>
                        <a:t>Sotatercept</a:t>
                      </a:r>
                    </a:p>
                  </a:txBody>
                  <a:tcPr marL="108000" marR="0" marT="0" marB="0" anchor="ctr">
                    <a:solidFill>
                      <a:schemeClr val="tx1">
                        <a:lumMod val="25000"/>
                        <a:lumOff val="75000"/>
                      </a:schemeClr>
                    </a:solidFill>
                  </a:tcPr>
                </a:tc>
                <a:extLst>
                  <a:ext uri="{0D108BD9-81ED-4DB2-BD59-A6C34878D82A}">
                    <a16:rowId xmlns:a16="http://schemas.microsoft.com/office/drawing/2014/main" val="313900198"/>
                  </a:ext>
                </a:extLst>
              </a:tr>
              <a:tr h="223489">
                <a:tc>
                  <a:txBody>
                    <a:bodyPr/>
                    <a:lstStyle/>
                    <a:p>
                      <a:r>
                        <a:rPr lang="en-US" sz="1000" b="1">
                          <a:latin typeface="Verdana" panose="020B0604030504040204" pitchFamily="34" charset="0"/>
                          <a:ea typeface="Verdana" panose="020B0604030504040204" pitchFamily="34" charset="0"/>
                        </a:rPr>
                        <a:t>Growth factors</a:t>
                      </a:r>
                      <a:r>
                        <a:rPr lang="en-US" sz="1000" b="1" baseline="30000">
                          <a:solidFill>
                            <a:srgbClr val="000000"/>
                          </a:solidFill>
                          <a:latin typeface="Verdana" panose="020B0604030504040204" pitchFamily="34" charset="0"/>
                          <a:ea typeface="Verdana" panose="020B0604030504040204" pitchFamily="34" charset="0"/>
                        </a:rPr>
                        <a:t>3,4</a:t>
                      </a:r>
                    </a:p>
                  </a:txBody>
                  <a:tcPr marL="108000" marR="0" marT="0" marB="0" anchor="ctr">
                    <a:solidFill>
                      <a:schemeClr val="tx1">
                        <a:lumMod val="10000"/>
                        <a:lumOff val="90000"/>
                      </a:schemeClr>
                    </a:solidFill>
                  </a:tcPr>
                </a:tc>
                <a:tc>
                  <a:txBody>
                    <a:bodyPr/>
                    <a:lstStyle/>
                    <a:p>
                      <a:r>
                        <a:rPr lang="en-US" sz="1000" dirty="0">
                          <a:latin typeface="Verdana" panose="020B0604030504040204" pitchFamily="34" charset="0"/>
                          <a:ea typeface="Verdana" panose="020B0604030504040204" pitchFamily="34" charset="0"/>
                        </a:rPr>
                        <a:t>PDGFR</a:t>
                      </a:r>
                    </a:p>
                  </a:txBody>
                  <a:tcPr marL="108000" marR="0" marT="0" marB="0" anchor="ctr">
                    <a:solidFill>
                      <a:schemeClr val="tx1">
                        <a:lumMod val="10000"/>
                        <a:lumOff val="90000"/>
                      </a:schemeClr>
                    </a:solidFill>
                  </a:tcPr>
                </a:tc>
                <a:tc>
                  <a:txBody>
                    <a:bodyPr/>
                    <a:lstStyle/>
                    <a:p>
                      <a:r>
                        <a:rPr lang="en-US" sz="1000" dirty="0">
                          <a:latin typeface="Verdana" panose="020B0604030504040204" pitchFamily="34" charset="0"/>
                          <a:ea typeface="Verdana" panose="020B0604030504040204" pitchFamily="34" charset="0"/>
                        </a:rPr>
                        <a:t>Imatinib, </a:t>
                      </a:r>
                      <a:r>
                        <a:rPr lang="en-US" sz="1000" dirty="0" err="1">
                          <a:latin typeface="Verdana" panose="020B0604030504040204" pitchFamily="34" charset="0"/>
                          <a:ea typeface="Verdana" panose="020B0604030504040204" pitchFamily="34" charset="0"/>
                        </a:rPr>
                        <a:t>Seralutinib</a:t>
                      </a:r>
                      <a:endParaRPr lang="en-US" sz="1000" dirty="0">
                        <a:latin typeface="Verdana" panose="020B0604030504040204" pitchFamily="34" charset="0"/>
                        <a:ea typeface="Verdana" panose="020B0604030504040204" pitchFamily="34" charset="0"/>
                      </a:endParaRPr>
                    </a:p>
                  </a:txBody>
                  <a:tcPr marL="108000" marR="0" marT="0" marB="0" anchor="ctr">
                    <a:solidFill>
                      <a:schemeClr val="tx1">
                        <a:lumMod val="10000"/>
                        <a:lumOff val="90000"/>
                      </a:schemeClr>
                    </a:solidFill>
                  </a:tcPr>
                </a:tc>
                <a:extLst>
                  <a:ext uri="{0D108BD9-81ED-4DB2-BD59-A6C34878D82A}">
                    <a16:rowId xmlns:a16="http://schemas.microsoft.com/office/drawing/2014/main" val="16160101"/>
                  </a:ext>
                </a:extLst>
              </a:tr>
              <a:tr h="223489">
                <a:tc>
                  <a:txBody>
                    <a:bodyPr/>
                    <a:lstStyle/>
                    <a:p>
                      <a:r>
                        <a:rPr lang="en-US" sz="1000" b="1">
                          <a:latin typeface="Verdana" panose="020B0604030504040204" pitchFamily="34" charset="0"/>
                          <a:ea typeface="Verdana" panose="020B0604030504040204" pitchFamily="34" charset="0"/>
                        </a:rPr>
                        <a:t>Inflammation</a:t>
                      </a:r>
                      <a:r>
                        <a:rPr lang="en-US" sz="1000" b="1" baseline="30000">
                          <a:solidFill>
                            <a:srgbClr val="000000"/>
                          </a:solidFill>
                          <a:latin typeface="Verdana" panose="020B0604030504040204" pitchFamily="34" charset="0"/>
                          <a:ea typeface="Verdana" panose="020B0604030504040204" pitchFamily="34" charset="0"/>
                        </a:rPr>
                        <a:t>1,5,12</a:t>
                      </a:r>
                    </a:p>
                  </a:txBody>
                  <a:tcPr marL="108000" marR="0" marT="0" marB="0" anchor="ctr">
                    <a:solidFill>
                      <a:schemeClr val="tx1">
                        <a:lumMod val="25000"/>
                        <a:lumOff val="75000"/>
                      </a:schemeClr>
                    </a:solidFill>
                  </a:tcPr>
                </a:tc>
                <a:tc>
                  <a:txBody>
                    <a:bodyPr/>
                    <a:lstStyle/>
                    <a:p>
                      <a:r>
                        <a:rPr lang="en-US" sz="1000">
                          <a:latin typeface="Verdana" panose="020B0604030504040204" pitchFamily="34" charset="0"/>
                          <a:ea typeface="Verdana" panose="020B0604030504040204" pitchFamily="34" charset="0"/>
                        </a:rPr>
                        <a:t>CD20</a:t>
                      </a:r>
                    </a:p>
                  </a:txBody>
                  <a:tcPr marL="108000" marR="0" marT="0" marB="0" anchor="ctr">
                    <a:solidFill>
                      <a:schemeClr val="tx1">
                        <a:lumMod val="25000"/>
                        <a:lumOff val="75000"/>
                      </a:schemeClr>
                    </a:solidFill>
                  </a:tcPr>
                </a:tc>
                <a:tc>
                  <a:txBody>
                    <a:bodyPr/>
                    <a:lstStyle/>
                    <a:p>
                      <a:r>
                        <a:rPr lang="en-US" sz="1000" dirty="0">
                          <a:latin typeface="Verdana" panose="020B0604030504040204" pitchFamily="34" charset="0"/>
                          <a:ea typeface="Verdana" panose="020B0604030504040204" pitchFamily="34" charset="0"/>
                        </a:rPr>
                        <a:t>Rituximab</a:t>
                      </a:r>
                    </a:p>
                  </a:txBody>
                  <a:tcPr marL="108000" marR="0" marT="0" marB="0" anchor="ctr">
                    <a:solidFill>
                      <a:schemeClr val="tx1">
                        <a:lumMod val="25000"/>
                        <a:lumOff val="75000"/>
                      </a:schemeClr>
                    </a:solidFill>
                  </a:tcPr>
                </a:tc>
                <a:extLst>
                  <a:ext uri="{0D108BD9-81ED-4DB2-BD59-A6C34878D82A}">
                    <a16:rowId xmlns:a16="http://schemas.microsoft.com/office/drawing/2014/main" val="3612717464"/>
                  </a:ext>
                </a:extLst>
              </a:tr>
              <a:tr h="223489">
                <a:tc>
                  <a:txBody>
                    <a:bodyPr/>
                    <a:lstStyle/>
                    <a:p>
                      <a:endParaRPr lang="en-US" sz="1000" b="1" dirty="0">
                        <a:latin typeface="Verdana" panose="020B0604030504040204" pitchFamily="34" charset="0"/>
                        <a:ea typeface="Verdana" panose="020B0604030504040204" pitchFamily="34" charset="0"/>
                      </a:endParaRPr>
                    </a:p>
                  </a:txBody>
                  <a:tcPr marL="108000" marR="0" marT="0" marB="0" anchor="ctr">
                    <a:solidFill>
                      <a:schemeClr val="tx1">
                        <a:lumMod val="25000"/>
                        <a:lumOff val="75000"/>
                      </a:schemeClr>
                    </a:solidFill>
                  </a:tcPr>
                </a:tc>
                <a:tc>
                  <a:txBody>
                    <a:bodyPr/>
                    <a:lstStyle/>
                    <a:p>
                      <a:r>
                        <a:rPr lang="en-US" sz="1000">
                          <a:latin typeface="Verdana" panose="020B0604030504040204" pitchFamily="34" charset="0"/>
                          <a:ea typeface="Verdana" panose="020B0604030504040204" pitchFamily="34" charset="0"/>
                        </a:rPr>
                        <a:t>IL-6 receptor</a:t>
                      </a:r>
                    </a:p>
                  </a:txBody>
                  <a:tcPr marL="108000" marR="0" marT="0" marB="0" anchor="ctr">
                    <a:solidFill>
                      <a:schemeClr val="tx1">
                        <a:lumMod val="25000"/>
                        <a:lumOff val="75000"/>
                      </a:schemeClr>
                    </a:solidFill>
                  </a:tcPr>
                </a:tc>
                <a:tc>
                  <a:txBody>
                    <a:bodyPr/>
                    <a:lstStyle/>
                    <a:p>
                      <a:r>
                        <a:rPr lang="en-US" sz="1000">
                          <a:latin typeface="Verdana" panose="020B0604030504040204" pitchFamily="34" charset="0"/>
                          <a:ea typeface="Verdana" panose="020B0604030504040204" pitchFamily="34" charset="0"/>
                        </a:rPr>
                        <a:t>Tocilizumab</a:t>
                      </a:r>
                    </a:p>
                  </a:txBody>
                  <a:tcPr marL="108000" marR="0" marT="0" marB="0" anchor="ctr">
                    <a:solidFill>
                      <a:schemeClr val="tx1">
                        <a:lumMod val="25000"/>
                        <a:lumOff val="75000"/>
                      </a:schemeClr>
                    </a:solidFill>
                  </a:tcPr>
                </a:tc>
                <a:extLst>
                  <a:ext uri="{0D108BD9-81ED-4DB2-BD59-A6C34878D82A}">
                    <a16:rowId xmlns:a16="http://schemas.microsoft.com/office/drawing/2014/main" val="1382115730"/>
                  </a:ext>
                </a:extLst>
              </a:tr>
              <a:tr h="223489">
                <a:tc>
                  <a:txBody>
                    <a:bodyPr/>
                    <a:lstStyle/>
                    <a:p>
                      <a:endParaRPr lang="en-US" sz="1000" b="1">
                        <a:latin typeface="Verdana" panose="020B0604030504040204" pitchFamily="34" charset="0"/>
                        <a:ea typeface="Verdana" panose="020B0604030504040204" pitchFamily="34" charset="0"/>
                      </a:endParaRPr>
                    </a:p>
                  </a:txBody>
                  <a:tcPr marL="108000" marR="0" marT="0" marB="0" anchor="ctr">
                    <a:solidFill>
                      <a:schemeClr val="tx1">
                        <a:lumMod val="25000"/>
                        <a:lumOff val="75000"/>
                      </a:schemeClr>
                    </a:solidFill>
                  </a:tcPr>
                </a:tc>
                <a:tc>
                  <a:txBody>
                    <a:bodyPr/>
                    <a:lstStyle/>
                    <a:p>
                      <a:r>
                        <a:rPr lang="en-US" sz="1000" b="0">
                          <a:latin typeface="Verdana" panose="020B0604030504040204" pitchFamily="34" charset="0"/>
                          <a:ea typeface="Verdana" panose="020B0604030504040204" pitchFamily="34" charset="0"/>
                        </a:rPr>
                        <a:t>TNF-</a:t>
                      </a:r>
                      <a:r>
                        <a:rPr lang="el-GR" sz="1000" b="0" i="0">
                          <a:latin typeface="Verdana" panose="020B0604030504040204" pitchFamily="34" charset="0"/>
                          <a:ea typeface="Verdana" panose="020B0604030504040204" pitchFamily="34" charset="0"/>
                        </a:rPr>
                        <a:t>α </a:t>
                      </a:r>
                    </a:p>
                  </a:txBody>
                  <a:tcPr marL="108000" marR="0" marT="0" marB="0" anchor="ctr">
                    <a:solidFill>
                      <a:schemeClr val="tx1">
                        <a:lumMod val="25000"/>
                        <a:lumOff val="75000"/>
                      </a:schemeClr>
                    </a:solidFill>
                  </a:tcPr>
                </a:tc>
                <a:tc>
                  <a:txBody>
                    <a:bodyPr/>
                    <a:lstStyle/>
                    <a:p>
                      <a:r>
                        <a:rPr lang="en-US" sz="1000">
                          <a:latin typeface="Verdana" panose="020B0604030504040204" pitchFamily="34" charset="0"/>
                          <a:ea typeface="Verdana" panose="020B0604030504040204" pitchFamily="34" charset="0"/>
                        </a:rPr>
                        <a:t>Etanercept</a:t>
                      </a:r>
                    </a:p>
                  </a:txBody>
                  <a:tcPr marL="108000" marR="0" marT="0" marB="0" anchor="ctr">
                    <a:solidFill>
                      <a:schemeClr val="tx1">
                        <a:lumMod val="25000"/>
                        <a:lumOff val="75000"/>
                      </a:schemeClr>
                    </a:solidFill>
                  </a:tcPr>
                </a:tc>
                <a:extLst>
                  <a:ext uri="{0D108BD9-81ED-4DB2-BD59-A6C34878D82A}">
                    <a16:rowId xmlns:a16="http://schemas.microsoft.com/office/drawing/2014/main" val="3135555836"/>
                  </a:ext>
                </a:extLst>
              </a:tr>
              <a:tr h="223489">
                <a:tc>
                  <a:txBody>
                    <a:bodyPr/>
                    <a:lstStyle/>
                    <a:p>
                      <a:endParaRPr lang="en-US" sz="1000" b="1">
                        <a:latin typeface="Verdana" panose="020B0604030504040204" pitchFamily="34" charset="0"/>
                        <a:ea typeface="Verdana" panose="020B0604030504040204" pitchFamily="34" charset="0"/>
                      </a:endParaRPr>
                    </a:p>
                  </a:txBody>
                  <a:tcPr marL="108000" marR="0" marT="0" marB="0" anchor="ctr">
                    <a:solidFill>
                      <a:schemeClr val="tx1">
                        <a:lumMod val="25000"/>
                        <a:lumOff val="75000"/>
                      </a:schemeClr>
                    </a:solidFill>
                  </a:tcPr>
                </a:tc>
                <a:tc>
                  <a:txBody>
                    <a:bodyPr/>
                    <a:lstStyle/>
                    <a:p>
                      <a:r>
                        <a:rPr lang="en-GB" sz="1000" b="0" dirty="0">
                          <a:latin typeface="Verdana" panose="020B0604030504040204" pitchFamily="34" charset="0"/>
                          <a:ea typeface="Verdana" panose="020B0604030504040204" pitchFamily="34" charset="0"/>
                        </a:rPr>
                        <a:t>Unconfirmed</a:t>
                      </a:r>
                      <a:endParaRPr lang="el-GR" sz="1000" b="0" dirty="0">
                        <a:latin typeface="Verdana" panose="020B0604030504040204" pitchFamily="34" charset="0"/>
                        <a:ea typeface="Verdana" panose="020B0604030504040204" pitchFamily="34" charset="0"/>
                      </a:endParaRPr>
                    </a:p>
                  </a:txBody>
                  <a:tcPr marL="108000" marR="0" marT="0" marB="0" anchor="ctr">
                    <a:solidFill>
                      <a:schemeClr val="tx1">
                        <a:lumMod val="25000"/>
                        <a:lumOff val="75000"/>
                      </a:schemeClr>
                    </a:solidFill>
                  </a:tcPr>
                </a:tc>
                <a:tc>
                  <a:txBody>
                    <a:bodyPr/>
                    <a:lstStyle/>
                    <a:p>
                      <a:r>
                        <a:rPr lang="en-US" sz="1000">
                          <a:latin typeface="Verdana" panose="020B0604030504040204" pitchFamily="34" charset="0"/>
                          <a:ea typeface="Verdana" panose="020B0604030504040204" pitchFamily="34" charset="0"/>
                        </a:rPr>
                        <a:t>Sulfasalazine</a:t>
                      </a:r>
                    </a:p>
                  </a:txBody>
                  <a:tcPr marL="108000" marR="0" marT="0" marB="0" anchor="ctr">
                    <a:solidFill>
                      <a:schemeClr val="tx1">
                        <a:lumMod val="25000"/>
                        <a:lumOff val="75000"/>
                      </a:schemeClr>
                    </a:solidFill>
                  </a:tcPr>
                </a:tc>
                <a:extLst>
                  <a:ext uri="{0D108BD9-81ED-4DB2-BD59-A6C34878D82A}">
                    <a16:rowId xmlns:a16="http://schemas.microsoft.com/office/drawing/2014/main" val="3758010882"/>
                  </a:ext>
                </a:extLst>
              </a:tr>
              <a:tr h="223489">
                <a:tc>
                  <a:txBody>
                    <a:bodyPr/>
                    <a:lstStyle/>
                    <a:p>
                      <a:r>
                        <a:rPr lang="en-US" sz="1000" b="1">
                          <a:latin typeface="Verdana" panose="020B0604030504040204" pitchFamily="34" charset="0"/>
                          <a:ea typeface="Verdana" panose="020B0604030504040204" pitchFamily="34" charset="0"/>
                        </a:rPr>
                        <a:t>Metabolic</a:t>
                      </a:r>
                      <a:r>
                        <a:rPr lang="en-US" sz="1000" b="1" baseline="30000">
                          <a:latin typeface="Verdana" panose="020B0604030504040204" pitchFamily="34" charset="0"/>
                          <a:ea typeface="Verdana" panose="020B0604030504040204" pitchFamily="34" charset="0"/>
                        </a:rPr>
                        <a:t>1</a:t>
                      </a:r>
                    </a:p>
                  </a:txBody>
                  <a:tcPr marL="108000" marR="0" marT="0" marB="0" anchor="ctr">
                    <a:solidFill>
                      <a:schemeClr val="tx1">
                        <a:lumMod val="10000"/>
                        <a:lumOff val="90000"/>
                      </a:schemeClr>
                    </a:solidFill>
                  </a:tcPr>
                </a:tc>
                <a:tc>
                  <a:txBody>
                    <a:bodyPr/>
                    <a:lstStyle/>
                    <a:p>
                      <a:r>
                        <a:rPr lang="en-US" sz="1000" dirty="0">
                          <a:latin typeface="Verdana" panose="020B0604030504040204" pitchFamily="34" charset="0"/>
                          <a:ea typeface="Verdana" panose="020B0604030504040204" pitchFamily="34" charset="0"/>
                        </a:rPr>
                        <a:t>AMPK</a:t>
                      </a:r>
                    </a:p>
                  </a:txBody>
                  <a:tcPr marL="108000" marR="0" marT="0" marB="0" anchor="ctr">
                    <a:solidFill>
                      <a:schemeClr val="tx1">
                        <a:lumMod val="10000"/>
                        <a:lumOff val="90000"/>
                      </a:schemeClr>
                    </a:solidFill>
                  </a:tcPr>
                </a:tc>
                <a:tc>
                  <a:txBody>
                    <a:bodyPr/>
                    <a:lstStyle/>
                    <a:p>
                      <a:r>
                        <a:rPr lang="en-US" sz="1000">
                          <a:latin typeface="Verdana" panose="020B0604030504040204" pitchFamily="34" charset="0"/>
                          <a:ea typeface="Verdana" panose="020B0604030504040204" pitchFamily="34" charset="0"/>
                        </a:rPr>
                        <a:t>Metformin</a:t>
                      </a:r>
                    </a:p>
                  </a:txBody>
                  <a:tcPr marL="108000" marR="0" marT="0" marB="0" anchor="ctr">
                    <a:solidFill>
                      <a:schemeClr val="tx1">
                        <a:lumMod val="10000"/>
                        <a:lumOff val="90000"/>
                      </a:schemeClr>
                    </a:solidFill>
                  </a:tcPr>
                </a:tc>
                <a:extLst>
                  <a:ext uri="{0D108BD9-81ED-4DB2-BD59-A6C34878D82A}">
                    <a16:rowId xmlns:a16="http://schemas.microsoft.com/office/drawing/2014/main" val="389145845"/>
                  </a:ext>
                </a:extLst>
              </a:tr>
              <a:tr h="223489">
                <a:tc>
                  <a:txBody>
                    <a:bodyPr/>
                    <a:lstStyle/>
                    <a:p>
                      <a:endParaRPr lang="en-US" sz="1000" b="1">
                        <a:latin typeface="Verdana" panose="020B0604030504040204" pitchFamily="34" charset="0"/>
                        <a:ea typeface="Verdana" panose="020B0604030504040204" pitchFamily="34" charset="0"/>
                      </a:endParaRPr>
                    </a:p>
                  </a:txBody>
                  <a:tcPr marL="108000" marR="0" marT="0" marB="0" anchor="ctr">
                    <a:solidFill>
                      <a:schemeClr val="tx1">
                        <a:lumMod val="10000"/>
                        <a:lumOff val="90000"/>
                      </a:schemeClr>
                    </a:solidFill>
                  </a:tcPr>
                </a:tc>
                <a:tc>
                  <a:txBody>
                    <a:bodyPr/>
                    <a:lstStyle/>
                    <a:p>
                      <a:r>
                        <a:rPr lang="en-US" sz="1000" dirty="0">
                          <a:latin typeface="Verdana" panose="020B0604030504040204" pitchFamily="34" charset="0"/>
                          <a:ea typeface="Verdana" panose="020B0604030504040204" pitchFamily="34" charset="0"/>
                        </a:rPr>
                        <a:t>Nf2 and NF</a:t>
                      </a:r>
                      <a:r>
                        <a:rPr lang="el-GR" sz="1000" dirty="0">
                          <a:latin typeface="Verdana" panose="020B0604030504040204" pitchFamily="34" charset="0"/>
                          <a:ea typeface="Verdana" panose="020B0604030504040204" pitchFamily="34" charset="0"/>
                        </a:rPr>
                        <a:t>κ</a:t>
                      </a:r>
                      <a:r>
                        <a:rPr lang="en-US" sz="1000" dirty="0">
                          <a:latin typeface="Verdana" panose="020B0604030504040204" pitchFamily="34" charset="0"/>
                          <a:ea typeface="Verdana" panose="020B0604030504040204" pitchFamily="34" charset="0"/>
                        </a:rPr>
                        <a:t>B</a:t>
                      </a:r>
                    </a:p>
                  </a:txBody>
                  <a:tcPr marL="108000" marR="0" marT="0" marB="0" anchor="ctr">
                    <a:solidFill>
                      <a:schemeClr val="tx1">
                        <a:lumMod val="10000"/>
                        <a:lumOff val="90000"/>
                      </a:schemeClr>
                    </a:solidFill>
                  </a:tcPr>
                </a:tc>
                <a:tc>
                  <a:txBody>
                    <a:bodyPr/>
                    <a:lstStyle/>
                    <a:p>
                      <a:r>
                        <a:rPr lang="en-US" sz="1000">
                          <a:latin typeface="Verdana" panose="020B0604030504040204" pitchFamily="34" charset="0"/>
                          <a:ea typeface="Verdana" panose="020B0604030504040204" pitchFamily="34" charset="0"/>
                        </a:rPr>
                        <a:t>Bardoxolone</a:t>
                      </a:r>
                    </a:p>
                  </a:txBody>
                  <a:tcPr marL="108000" marR="0" marT="0" marB="0" anchor="ctr">
                    <a:solidFill>
                      <a:schemeClr val="tx1">
                        <a:lumMod val="10000"/>
                        <a:lumOff val="90000"/>
                      </a:schemeClr>
                    </a:solidFill>
                  </a:tcPr>
                </a:tc>
                <a:extLst>
                  <a:ext uri="{0D108BD9-81ED-4DB2-BD59-A6C34878D82A}">
                    <a16:rowId xmlns:a16="http://schemas.microsoft.com/office/drawing/2014/main" val="3600746287"/>
                  </a:ext>
                </a:extLst>
              </a:tr>
              <a:tr h="223489">
                <a:tc>
                  <a:txBody>
                    <a:bodyPr/>
                    <a:lstStyle/>
                    <a:p>
                      <a:r>
                        <a:rPr lang="en-US" sz="1000" b="1" dirty="0" err="1">
                          <a:latin typeface="Verdana" panose="020B0604030504040204" pitchFamily="34" charset="0"/>
                          <a:ea typeface="Verdana" panose="020B0604030504040204" pitchFamily="34" charset="0"/>
                        </a:rPr>
                        <a:t>Oestrogen</a:t>
                      </a:r>
                      <a:r>
                        <a:rPr lang="en-US" sz="1000" b="1" dirty="0">
                          <a:latin typeface="Verdana" panose="020B0604030504040204" pitchFamily="34" charset="0"/>
                          <a:ea typeface="Verdana" panose="020B0604030504040204" pitchFamily="34" charset="0"/>
                        </a:rPr>
                        <a:t> signalling</a:t>
                      </a:r>
                      <a:r>
                        <a:rPr lang="en-US" sz="1000" b="1" baseline="30000" dirty="0">
                          <a:latin typeface="Verdana" panose="020B0604030504040204" pitchFamily="34" charset="0"/>
                          <a:ea typeface="Verdana" panose="020B0604030504040204" pitchFamily="34" charset="0"/>
                        </a:rPr>
                        <a:t>1, 13</a:t>
                      </a:r>
                    </a:p>
                  </a:txBody>
                  <a:tcPr marL="108000" marR="0" marT="0" marB="0" anchor="ctr">
                    <a:solidFill>
                      <a:schemeClr val="tx1">
                        <a:lumMod val="25000"/>
                        <a:lumOff val="75000"/>
                      </a:schemeClr>
                    </a:solidFill>
                  </a:tcPr>
                </a:tc>
                <a:tc>
                  <a:txBody>
                    <a:bodyPr/>
                    <a:lstStyle/>
                    <a:p>
                      <a:r>
                        <a:rPr lang="en-US" sz="1000" dirty="0">
                          <a:latin typeface="Verdana" panose="020B0604030504040204" pitchFamily="34" charset="0"/>
                          <a:ea typeface="Verdana" panose="020B0604030504040204" pitchFamily="34" charset="0"/>
                        </a:rPr>
                        <a:t>Aromatase</a:t>
                      </a:r>
                    </a:p>
                  </a:txBody>
                  <a:tcPr marL="108000" marR="0" marT="0" marB="0" anchor="ctr">
                    <a:solidFill>
                      <a:schemeClr val="tx1">
                        <a:lumMod val="25000"/>
                        <a:lumOff val="75000"/>
                      </a:schemeClr>
                    </a:solidFill>
                  </a:tcPr>
                </a:tc>
                <a:tc>
                  <a:txBody>
                    <a:bodyPr/>
                    <a:lstStyle/>
                    <a:p>
                      <a:r>
                        <a:rPr lang="en-US" sz="1000">
                          <a:latin typeface="Verdana" panose="020B0604030504040204" pitchFamily="34" charset="0"/>
                          <a:ea typeface="Verdana" panose="020B0604030504040204" pitchFamily="34" charset="0"/>
                        </a:rPr>
                        <a:t>Anastrozole</a:t>
                      </a:r>
                    </a:p>
                  </a:txBody>
                  <a:tcPr marL="108000" marR="0" marT="0" marB="0" anchor="ctr">
                    <a:solidFill>
                      <a:schemeClr val="tx1">
                        <a:lumMod val="25000"/>
                        <a:lumOff val="75000"/>
                      </a:schemeClr>
                    </a:solidFill>
                  </a:tcPr>
                </a:tc>
                <a:extLst>
                  <a:ext uri="{0D108BD9-81ED-4DB2-BD59-A6C34878D82A}">
                    <a16:rowId xmlns:a16="http://schemas.microsoft.com/office/drawing/2014/main" val="682790290"/>
                  </a:ext>
                </a:extLst>
              </a:tr>
              <a:tr h="223489">
                <a:tc>
                  <a:txBody>
                    <a:bodyPr/>
                    <a:lstStyle/>
                    <a:p>
                      <a:endParaRPr lang="en-US" sz="1000" b="1" baseline="30000">
                        <a:latin typeface="Verdana" panose="020B0604030504040204" pitchFamily="34" charset="0"/>
                        <a:ea typeface="Verdana" panose="020B0604030504040204" pitchFamily="34" charset="0"/>
                      </a:endParaRPr>
                    </a:p>
                  </a:txBody>
                  <a:tcPr marL="108000" marR="0" marT="0" marB="0" anchor="ctr">
                    <a:solidFill>
                      <a:schemeClr val="tx1">
                        <a:lumMod val="25000"/>
                        <a:lumOff val="75000"/>
                      </a:schemeClr>
                    </a:solidFill>
                  </a:tcPr>
                </a:tc>
                <a:tc>
                  <a:txBody>
                    <a:bodyPr/>
                    <a:lstStyle/>
                    <a:p>
                      <a:r>
                        <a:rPr lang="en-US" sz="1000" dirty="0" err="1">
                          <a:latin typeface="Verdana" panose="020B0604030504040204" pitchFamily="34" charset="0"/>
                          <a:ea typeface="Verdana" panose="020B0604030504040204" pitchFamily="34" charset="0"/>
                        </a:rPr>
                        <a:t>Oestrogen</a:t>
                      </a:r>
                      <a:r>
                        <a:rPr lang="en-US" sz="1000" dirty="0">
                          <a:latin typeface="Verdana" panose="020B0604030504040204" pitchFamily="34" charset="0"/>
                          <a:ea typeface="Verdana" panose="020B0604030504040204" pitchFamily="34" charset="0"/>
                        </a:rPr>
                        <a:t> receptor</a:t>
                      </a:r>
                    </a:p>
                  </a:txBody>
                  <a:tcPr marL="108000" marR="0" marT="0" marB="0" anchor="ctr">
                    <a:solidFill>
                      <a:schemeClr val="tx1">
                        <a:lumMod val="25000"/>
                        <a:lumOff val="75000"/>
                      </a:schemeClr>
                    </a:solidFill>
                  </a:tcPr>
                </a:tc>
                <a:tc>
                  <a:txBody>
                    <a:bodyPr/>
                    <a:lstStyle/>
                    <a:p>
                      <a:r>
                        <a:rPr lang="en-US" sz="1000">
                          <a:latin typeface="Verdana" panose="020B0604030504040204" pitchFamily="34" charset="0"/>
                          <a:ea typeface="Verdana" panose="020B0604030504040204" pitchFamily="34" charset="0"/>
                        </a:rPr>
                        <a:t>Tamoxifen</a:t>
                      </a:r>
                    </a:p>
                  </a:txBody>
                  <a:tcPr marL="108000" marR="0" marT="0" marB="0" anchor="ctr">
                    <a:solidFill>
                      <a:schemeClr val="tx1">
                        <a:lumMod val="25000"/>
                        <a:lumOff val="75000"/>
                      </a:schemeClr>
                    </a:solidFill>
                  </a:tcPr>
                </a:tc>
                <a:extLst>
                  <a:ext uri="{0D108BD9-81ED-4DB2-BD59-A6C34878D82A}">
                    <a16:rowId xmlns:a16="http://schemas.microsoft.com/office/drawing/2014/main" val="3462046420"/>
                  </a:ext>
                </a:extLst>
              </a:tr>
              <a:tr h="223489">
                <a:tc>
                  <a:txBody>
                    <a:bodyPr/>
                    <a:lstStyle/>
                    <a:p>
                      <a:r>
                        <a:rPr lang="en-US" sz="1000" b="1" dirty="0">
                          <a:latin typeface="Verdana" panose="020B0604030504040204" pitchFamily="34" charset="0"/>
                          <a:ea typeface="Verdana" panose="020B0604030504040204" pitchFamily="34" charset="0"/>
                        </a:rPr>
                        <a:t>Humoural</a:t>
                      </a:r>
                      <a:r>
                        <a:rPr lang="en-US" sz="1000" b="1" baseline="30000" dirty="0">
                          <a:latin typeface="Verdana" panose="020B0604030504040204" pitchFamily="34" charset="0"/>
                          <a:ea typeface="Verdana" panose="020B0604030504040204" pitchFamily="34" charset="0"/>
                        </a:rPr>
                        <a:t>1</a:t>
                      </a:r>
                    </a:p>
                  </a:txBody>
                  <a:tcPr marL="108000" marR="0" marT="0" marB="0" anchor="ctr">
                    <a:solidFill>
                      <a:schemeClr val="tx1">
                        <a:lumMod val="10000"/>
                        <a:lumOff val="90000"/>
                      </a:schemeClr>
                    </a:solidFill>
                  </a:tcPr>
                </a:tc>
                <a:tc>
                  <a:txBody>
                    <a:bodyPr/>
                    <a:lstStyle/>
                    <a:p>
                      <a:r>
                        <a:rPr lang="en-US" sz="1000" dirty="0">
                          <a:latin typeface="Verdana" panose="020B0604030504040204" pitchFamily="34" charset="0"/>
                          <a:ea typeface="Verdana" panose="020B0604030504040204" pitchFamily="34" charset="0"/>
                        </a:rPr>
                        <a:t>ACE2</a:t>
                      </a:r>
                    </a:p>
                  </a:txBody>
                  <a:tcPr marL="108000" marR="0" marT="0" marB="0" anchor="ctr">
                    <a:solidFill>
                      <a:schemeClr val="tx1">
                        <a:lumMod val="10000"/>
                        <a:lumOff val="90000"/>
                      </a:schemeClr>
                    </a:solidFill>
                  </a:tcPr>
                </a:tc>
                <a:tc>
                  <a:txBody>
                    <a:bodyPr/>
                    <a:lstStyle/>
                    <a:p>
                      <a:r>
                        <a:rPr lang="en-US" sz="1000">
                          <a:latin typeface="Verdana" panose="020B0604030504040204" pitchFamily="34" charset="0"/>
                          <a:ea typeface="Verdana" panose="020B0604030504040204" pitchFamily="34" charset="0"/>
                        </a:rPr>
                        <a:t>Recombinant ACE2</a:t>
                      </a:r>
                    </a:p>
                  </a:txBody>
                  <a:tcPr marL="108000" marR="0" marT="0" marB="0" anchor="ctr">
                    <a:solidFill>
                      <a:schemeClr val="tx1">
                        <a:lumMod val="10000"/>
                        <a:lumOff val="90000"/>
                      </a:schemeClr>
                    </a:solidFill>
                  </a:tcPr>
                </a:tc>
                <a:extLst>
                  <a:ext uri="{0D108BD9-81ED-4DB2-BD59-A6C34878D82A}">
                    <a16:rowId xmlns:a16="http://schemas.microsoft.com/office/drawing/2014/main" val="929632068"/>
                  </a:ext>
                </a:extLst>
              </a:tr>
              <a:tr h="223489">
                <a:tc>
                  <a:txBody>
                    <a:bodyPr/>
                    <a:lstStyle/>
                    <a:p>
                      <a:endParaRPr lang="en-US" sz="1000" b="1">
                        <a:latin typeface="Verdana" panose="020B0604030504040204" pitchFamily="34" charset="0"/>
                        <a:ea typeface="Verdana" panose="020B0604030504040204" pitchFamily="34" charset="0"/>
                      </a:endParaRPr>
                    </a:p>
                  </a:txBody>
                  <a:tcPr marL="108000" marR="0" marT="0" marB="0" anchor="ctr">
                    <a:solidFill>
                      <a:schemeClr val="tx1">
                        <a:lumMod val="10000"/>
                        <a:lumOff val="90000"/>
                      </a:schemeClr>
                    </a:solidFill>
                  </a:tcPr>
                </a:tc>
                <a:tc>
                  <a:txBody>
                    <a:bodyPr/>
                    <a:lstStyle/>
                    <a:p>
                      <a:r>
                        <a:rPr lang="en-US" sz="1000" dirty="0">
                          <a:latin typeface="Verdana" panose="020B0604030504040204" pitchFamily="34" charset="0"/>
                          <a:ea typeface="Verdana" panose="020B0604030504040204" pitchFamily="34" charset="0"/>
                        </a:rPr>
                        <a:t>Mineralocorticoid receptor</a:t>
                      </a:r>
                    </a:p>
                  </a:txBody>
                  <a:tcPr marL="108000" marR="0" marT="0" marB="0" anchor="ctr">
                    <a:solidFill>
                      <a:schemeClr val="tx1">
                        <a:lumMod val="10000"/>
                        <a:lumOff val="90000"/>
                      </a:schemeClr>
                    </a:solidFill>
                  </a:tcPr>
                </a:tc>
                <a:tc>
                  <a:txBody>
                    <a:bodyPr/>
                    <a:lstStyle/>
                    <a:p>
                      <a:r>
                        <a:rPr lang="en-US" sz="1000" dirty="0">
                          <a:latin typeface="Verdana" panose="020B0604030504040204" pitchFamily="34" charset="0"/>
                          <a:ea typeface="Verdana" panose="020B0604030504040204" pitchFamily="34" charset="0"/>
                        </a:rPr>
                        <a:t>Spironolactone</a:t>
                      </a:r>
                    </a:p>
                  </a:txBody>
                  <a:tcPr marL="108000" marR="0" marT="0" marB="0" anchor="ctr">
                    <a:solidFill>
                      <a:schemeClr val="tx1">
                        <a:lumMod val="10000"/>
                        <a:lumOff val="90000"/>
                      </a:schemeClr>
                    </a:solidFill>
                  </a:tcPr>
                </a:tc>
                <a:extLst>
                  <a:ext uri="{0D108BD9-81ED-4DB2-BD59-A6C34878D82A}">
                    <a16:rowId xmlns:a16="http://schemas.microsoft.com/office/drawing/2014/main" val="3242182424"/>
                  </a:ext>
                </a:extLst>
              </a:tr>
              <a:tr h="223489">
                <a:tc>
                  <a:txBody>
                    <a:bodyPr/>
                    <a:lstStyle/>
                    <a:p>
                      <a:r>
                        <a:rPr lang="en-US" sz="1000" b="1">
                          <a:latin typeface="Verdana" panose="020B0604030504040204" pitchFamily="34" charset="0"/>
                          <a:ea typeface="Verdana" panose="020B0604030504040204" pitchFamily="34" charset="0"/>
                        </a:rPr>
                        <a:t>DNA repair</a:t>
                      </a:r>
                      <a:r>
                        <a:rPr lang="en-US" sz="1000" b="1" baseline="30000">
                          <a:latin typeface="Verdana" panose="020B0604030504040204" pitchFamily="34" charset="0"/>
                          <a:ea typeface="Verdana" panose="020B0604030504040204" pitchFamily="34" charset="0"/>
                        </a:rPr>
                        <a:t>1</a:t>
                      </a:r>
                    </a:p>
                  </a:txBody>
                  <a:tcPr marL="108000" marR="0" marT="0" marB="0" anchor="ctr">
                    <a:solidFill>
                      <a:schemeClr val="tx1">
                        <a:lumMod val="25000"/>
                        <a:lumOff val="75000"/>
                      </a:schemeClr>
                    </a:solidFill>
                  </a:tcPr>
                </a:tc>
                <a:tc>
                  <a:txBody>
                    <a:bodyPr/>
                    <a:lstStyle/>
                    <a:p>
                      <a:r>
                        <a:rPr lang="en-US" sz="1000" i="0" dirty="0">
                          <a:latin typeface="Verdana" panose="020B0604030504040204" pitchFamily="34" charset="0"/>
                          <a:ea typeface="Verdana" panose="020B0604030504040204" pitchFamily="34" charset="0"/>
                        </a:rPr>
                        <a:t>PARP1</a:t>
                      </a:r>
                    </a:p>
                  </a:txBody>
                  <a:tcPr marL="108000" marR="0" marT="0" marB="0" anchor="ctr">
                    <a:solidFill>
                      <a:schemeClr val="tx1">
                        <a:lumMod val="25000"/>
                        <a:lumOff val="75000"/>
                      </a:schemeClr>
                    </a:solidFill>
                  </a:tcPr>
                </a:tc>
                <a:tc>
                  <a:txBody>
                    <a:bodyPr/>
                    <a:lstStyle/>
                    <a:p>
                      <a:r>
                        <a:rPr lang="en-US" sz="1000">
                          <a:latin typeface="Verdana" panose="020B0604030504040204" pitchFamily="34" charset="0"/>
                          <a:ea typeface="Verdana" panose="020B0604030504040204" pitchFamily="34" charset="0"/>
                        </a:rPr>
                        <a:t>Olaparib</a:t>
                      </a:r>
                    </a:p>
                  </a:txBody>
                  <a:tcPr marL="108000" marR="0" marT="0" marB="0" anchor="ctr">
                    <a:solidFill>
                      <a:schemeClr val="tx1">
                        <a:lumMod val="25000"/>
                        <a:lumOff val="75000"/>
                      </a:schemeClr>
                    </a:solidFill>
                  </a:tcPr>
                </a:tc>
                <a:extLst>
                  <a:ext uri="{0D108BD9-81ED-4DB2-BD59-A6C34878D82A}">
                    <a16:rowId xmlns:a16="http://schemas.microsoft.com/office/drawing/2014/main" val="219839290"/>
                  </a:ext>
                </a:extLst>
              </a:tr>
              <a:tr h="223489">
                <a:tc>
                  <a:txBody>
                    <a:bodyPr/>
                    <a:lstStyle/>
                    <a:p>
                      <a:r>
                        <a:rPr lang="en-US" sz="1000" b="1" baseline="0">
                          <a:latin typeface="Verdana" panose="020B0604030504040204" pitchFamily="34" charset="0"/>
                          <a:ea typeface="Verdana" panose="020B0604030504040204" pitchFamily="34" charset="0"/>
                        </a:rPr>
                        <a:t>Epigenetic</a:t>
                      </a:r>
                      <a:r>
                        <a:rPr lang="en-US" sz="1000" b="1" baseline="30000">
                          <a:latin typeface="Verdana" panose="020B0604030504040204" pitchFamily="34" charset="0"/>
                          <a:ea typeface="Verdana" panose="020B0604030504040204" pitchFamily="34" charset="0"/>
                        </a:rPr>
                        <a:t>6,7</a:t>
                      </a:r>
                    </a:p>
                  </a:txBody>
                  <a:tcPr marL="108000" marR="0" marT="0" marB="0" anchor="ctr">
                    <a:solidFill>
                      <a:srgbClr val="E9E9E9"/>
                    </a:solidFill>
                  </a:tcPr>
                </a:tc>
                <a:tc>
                  <a:txBody>
                    <a:bodyPr/>
                    <a:lstStyle/>
                    <a:p>
                      <a:r>
                        <a:rPr lang="en-US" sz="1000" i="0" dirty="0">
                          <a:latin typeface="Verdana" panose="020B0604030504040204" pitchFamily="34" charset="0"/>
                          <a:ea typeface="Verdana" panose="020B0604030504040204" pitchFamily="34" charset="0"/>
                        </a:rPr>
                        <a:t>BRD4</a:t>
                      </a:r>
                    </a:p>
                  </a:txBody>
                  <a:tcPr marL="108000" marR="0" marT="0" marB="0" anchor="ctr">
                    <a:solidFill>
                      <a:srgbClr val="E9E9E9"/>
                    </a:solidFill>
                  </a:tcPr>
                </a:tc>
                <a:tc>
                  <a:txBody>
                    <a:bodyPr/>
                    <a:lstStyle/>
                    <a:p>
                      <a:r>
                        <a:rPr lang="en-US" sz="1000">
                          <a:latin typeface="Verdana" panose="020B0604030504040204" pitchFamily="34" charset="0"/>
                          <a:ea typeface="Verdana" panose="020B0604030504040204" pitchFamily="34" charset="0"/>
                        </a:rPr>
                        <a:t>Apabetalone </a:t>
                      </a:r>
                    </a:p>
                  </a:txBody>
                  <a:tcPr marL="108000" marR="0" marT="0" marB="0" anchor="ctr">
                    <a:solidFill>
                      <a:srgbClr val="E9E9E9"/>
                    </a:solidFill>
                  </a:tcPr>
                </a:tc>
                <a:extLst>
                  <a:ext uri="{0D108BD9-81ED-4DB2-BD59-A6C34878D82A}">
                    <a16:rowId xmlns:a16="http://schemas.microsoft.com/office/drawing/2014/main" val="917787285"/>
                  </a:ext>
                </a:extLst>
              </a:tr>
              <a:tr h="223489">
                <a:tc>
                  <a:txBody>
                    <a:bodyPr/>
                    <a:lstStyle/>
                    <a:p>
                      <a:r>
                        <a:rPr lang="en-US" sz="1000" b="1" baseline="0">
                          <a:latin typeface="Verdana" panose="020B0604030504040204" pitchFamily="34" charset="0"/>
                          <a:ea typeface="Verdana" panose="020B0604030504040204" pitchFamily="34" charset="0"/>
                        </a:rPr>
                        <a:t>Serotonin inhibition</a:t>
                      </a:r>
                      <a:r>
                        <a:rPr lang="en-US" sz="1000" b="1" baseline="30000">
                          <a:latin typeface="Verdana" panose="020B0604030504040204" pitchFamily="34" charset="0"/>
                          <a:ea typeface="Verdana" panose="020B0604030504040204" pitchFamily="34" charset="0"/>
                        </a:rPr>
                        <a:t>8</a:t>
                      </a:r>
                    </a:p>
                  </a:txBody>
                  <a:tcPr marL="108000" marR="0" marT="0" marB="0" anchor="ctr">
                    <a:solidFill>
                      <a:srgbClr val="C8C8C8"/>
                    </a:solidFill>
                  </a:tcPr>
                </a:tc>
                <a:tc>
                  <a:txBody>
                    <a:bodyPr/>
                    <a:lstStyle/>
                    <a:p>
                      <a:r>
                        <a:rPr lang="en-US" sz="1000" dirty="0">
                          <a:solidFill>
                            <a:schemeClr val="tx1"/>
                          </a:solidFill>
                          <a:latin typeface="Verdana" panose="020B0604030504040204" pitchFamily="34" charset="0"/>
                          <a:ea typeface="Verdana" panose="020B0604030504040204" pitchFamily="34" charset="0"/>
                        </a:rPr>
                        <a:t>Tryptophan hydroxylase 1</a:t>
                      </a:r>
                    </a:p>
                  </a:txBody>
                  <a:tcPr marL="108000" marR="0" marT="0" marB="0" anchor="ctr">
                    <a:solidFill>
                      <a:srgbClr val="C8C8C8"/>
                    </a:solidFill>
                  </a:tcPr>
                </a:tc>
                <a:tc>
                  <a:txBody>
                    <a:bodyPr/>
                    <a:lstStyle/>
                    <a:p>
                      <a:r>
                        <a:rPr lang="en-US" sz="1000" dirty="0" err="1">
                          <a:latin typeface="Verdana" panose="020B0604030504040204" pitchFamily="34" charset="0"/>
                          <a:ea typeface="Verdana" panose="020B0604030504040204" pitchFamily="34" charset="0"/>
                        </a:rPr>
                        <a:t>Rodatristat</a:t>
                      </a:r>
                      <a:r>
                        <a:rPr lang="en-US" sz="1000" dirty="0">
                          <a:latin typeface="Verdana" panose="020B0604030504040204" pitchFamily="34" charset="0"/>
                          <a:ea typeface="Verdana" panose="020B0604030504040204" pitchFamily="34" charset="0"/>
                        </a:rPr>
                        <a:t> ethyl</a:t>
                      </a:r>
                    </a:p>
                  </a:txBody>
                  <a:tcPr marL="108000" marR="0" marT="0" marB="0" anchor="ctr">
                    <a:solidFill>
                      <a:srgbClr val="C8C8C8"/>
                    </a:solidFill>
                  </a:tcPr>
                </a:tc>
                <a:extLst>
                  <a:ext uri="{0D108BD9-81ED-4DB2-BD59-A6C34878D82A}">
                    <a16:rowId xmlns:a16="http://schemas.microsoft.com/office/drawing/2014/main" val="3801581969"/>
                  </a:ext>
                </a:extLst>
              </a:tr>
              <a:tr h="223489">
                <a:tc>
                  <a:txBody>
                    <a:bodyPr/>
                    <a:lstStyle/>
                    <a:p>
                      <a:r>
                        <a:rPr lang="en-US" sz="1000" b="1" baseline="0">
                          <a:latin typeface="Verdana" panose="020B0604030504040204" pitchFamily="34" charset="0"/>
                          <a:ea typeface="Verdana" panose="020B0604030504040204" pitchFamily="34" charset="0"/>
                        </a:rPr>
                        <a:t>Dopamine inhibition</a:t>
                      </a:r>
                      <a:r>
                        <a:rPr lang="en-US" sz="1000" b="1" baseline="30000">
                          <a:latin typeface="Verdana" panose="020B0604030504040204" pitchFamily="34" charset="0"/>
                          <a:ea typeface="Verdana" panose="020B0604030504040204" pitchFamily="34" charset="0"/>
                        </a:rPr>
                        <a:t>9</a:t>
                      </a:r>
                    </a:p>
                  </a:txBody>
                  <a:tcPr marL="108000" marR="0" marT="0" marB="0" anchor="ctr">
                    <a:solidFill>
                      <a:srgbClr val="E9E9E9"/>
                    </a:solidFill>
                  </a:tcPr>
                </a:tc>
                <a:tc>
                  <a:txBody>
                    <a:bodyPr/>
                    <a:lstStyle/>
                    <a:p>
                      <a:r>
                        <a:rPr lang="en-US" sz="1000">
                          <a:latin typeface="Verdana" panose="020B0604030504040204" pitchFamily="34" charset="0"/>
                          <a:ea typeface="Verdana" panose="020B0604030504040204" pitchFamily="34" charset="0"/>
                        </a:rPr>
                        <a:t>DBH</a:t>
                      </a:r>
                    </a:p>
                  </a:txBody>
                  <a:tcPr marL="108000" marR="0" marT="0" marB="0" anchor="ctr">
                    <a:solidFill>
                      <a:srgbClr val="E9E9E9"/>
                    </a:solidFill>
                  </a:tcPr>
                </a:tc>
                <a:tc>
                  <a:txBody>
                    <a:bodyPr/>
                    <a:lstStyle/>
                    <a:p>
                      <a:r>
                        <a:rPr lang="en-US" sz="1000">
                          <a:latin typeface="Verdana" panose="020B0604030504040204" pitchFamily="34" charset="0"/>
                          <a:ea typeface="Verdana" panose="020B0604030504040204" pitchFamily="34" charset="0"/>
                        </a:rPr>
                        <a:t>Zamicastat</a:t>
                      </a:r>
                    </a:p>
                  </a:txBody>
                  <a:tcPr marL="108000" marR="0" marT="0" marB="0" anchor="ctr">
                    <a:solidFill>
                      <a:srgbClr val="E9E9E9"/>
                    </a:solidFill>
                  </a:tcPr>
                </a:tc>
                <a:extLst>
                  <a:ext uri="{0D108BD9-81ED-4DB2-BD59-A6C34878D82A}">
                    <a16:rowId xmlns:a16="http://schemas.microsoft.com/office/drawing/2014/main" val="1534612241"/>
                  </a:ext>
                </a:extLst>
              </a:tr>
              <a:tr h="223489">
                <a:tc>
                  <a:txBody>
                    <a:bodyPr/>
                    <a:lstStyle/>
                    <a:p>
                      <a:r>
                        <a:rPr lang="en-US" sz="1000" b="1" baseline="0">
                          <a:latin typeface="Verdana" panose="020B0604030504040204" pitchFamily="34" charset="0"/>
                          <a:ea typeface="Verdana" panose="020B0604030504040204" pitchFamily="34" charset="0"/>
                        </a:rPr>
                        <a:t>VIP analogue</a:t>
                      </a:r>
                      <a:r>
                        <a:rPr lang="en-US" sz="1000" b="1" baseline="30000">
                          <a:latin typeface="Verdana" panose="020B0604030504040204" pitchFamily="34" charset="0"/>
                          <a:ea typeface="Verdana" panose="020B0604030504040204" pitchFamily="34" charset="0"/>
                        </a:rPr>
                        <a:t>10,11</a:t>
                      </a:r>
                    </a:p>
                  </a:txBody>
                  <a:tcPr marL="108000" marR="0" marT="0" marB="0" anchor="ctr">
                    <a:solidFill>
                      <a:srgbClr val="C8C8C8"/>
                    </a:solidFill>
                  </a:tcPr>
                </a:tc>
                <a:tc>
                  <a:txBody>
                    <a:bodyPr/>
                    <a:lstStyle/>
                    <a:p>
                      <a:r>
                        <a:rPr lang="en-US" sz="1000">
                          <a:latin typeface="Verdana" panose="020B0604030504040204" pitchFamily="34" charset="0"/>
                          <a:ea typeface="Verdana" panose="020B0604030504040204" pitchFamily="34" charset="0"/>
                        </a:rPr>
                        <a:t>VPAC1 and VPAC2</a:t>
                      </a:r>
                    </a:p>
                  </a:txBody>
                  <a:tcPr marL="108000" marR="0" marT="0" marB="0" anchor="ctr">
                    <a:solidFill>
                      <a:srgbClr val="C8C8C8"/>
                    </a:solidFill>
                  </a:tcPr>
                </a:tc>
                <a:tc>
                  <a:txBody>
                    <a:bodyPr/>
                    <a:lstStyle/>
                    <a:p>
                      <a:r>
                        <a:rPr lang="en-US" sz="1000" dirty="0" err="1">
                          <a:latin typeface="Verdana" panose="020B0604030504040204" pitchFamily="34" charset="0"/>
                          <a:ea typeface="Verdana" panose="020B0604030504040204" pitchFamily="34" charset="0"/>
                        </a:rPr>
                        <a:t>Pemziviptadil</a:t>
                      </a:r>
                      <a:endParaRPr lang="en-US" sz="1000" dirty="0">
                        <a:latin typeface="Verdana" panose="020B0604030504040204" pitchFamily="34" charset="0"/>
                        <a:ea typeface="Verdana" panose="020B0604030504040204" pitchFamily="34" charset="0"/>
                      </a:endParaRPr>
                    </a:p>
                  </a:txBody>
                  <a:tcPr marL="108000" marR="0" marT="0" marB="0" anchor="ctr">
                    <a:solidFill>
                      <a:srgbClr val="C8C8C8"/>
                    </a:solidFill>
                  </a:tcPr>
                </a:tc>
                <a:extLst>
                  <a:ext uri="{0D108BD9-81ED-4DB2-BD59-A6C34878D82A}">
                    <a16:rowId xmlns:a16="http://schemas.microsoft.com/office/drawing/2014/main" val="4178264245"/>
                  </a:ext>
                </a:extLst>
              </a:tr>
            </a:tbl>
          </a:graphicData>
        </a:graphic>
      </p:graphicFrame>
      <p:sp>
        <p:nvSpPr>
          <p:cNvPr id="7" name="Rectangle 6">
            <a:extLst>
              <a:ext uri="{FF2B5EF4-FFF2-40B4-BE49-F238E27FC236}">
                <a16:creationId xmlns:a16="http://schemas.microsoft.com/office/drawing/2014/main" id="{2F84A2B2-5D4F-430C-95BF-E06221BF98E9}"/>
              </a:ext>
            </a:extLst>
          </p:cNvPr>
          <p:cNvSpPr/>
          <p:nvPr/>
        </p:nvSpPr>
        <p:spPr bwMode="auto">
          <a:xfrm>
            <a:off x="1061732" y="1321732"/>
            <a:ext cx="6973284" cy="666548"/>
          </a:xfrm>
          <a:prstGeom prst="rect">
            <a:avLst/>
          </a:prstGeom>
          <a:noFill/>
          <a:ln w="57150" cap="flat"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0" name="Rectangle 9">
            <a:extLst>
              <a:ext uri="{FF2B5EF4-FFF2-40B4-BE49-F238E27FC236}">
                <a16:creationId xmlns:a16="http://schemas.microsoft.com/office/drawing/2014/main" id="{71FFAA63-14F0-4BB6-8D41-6E30599AE0CD}"/>
              </a:ext>
            </a:extLst>
          </p:cNvPr>
          <p:cNvSpPr/>
          <p:nvPr/>
        </p:nvSpPr>
        <p:spPr bwMode="auto">
          <a:xfrm>
            <a:off x="8519435" y="1183508"/>
            <a:ext cx="3416275" cy="1895868"/>
          </a:xfrm>
          <a:prstGeom prst="rect">
            <a:avLst/>
          </a:prstGeom>
          <a:solidFill>
            <a:schemeClr val="bg1"/>
          </a:solidFill>
          <a:ln w="28575" cap="flat"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dirty="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Two promising therapeutic pathways—</a:t>
            </a:r>
            <a:r>
              <a:rPr kumimoji="0" lang="en-GB" sz="1600" b="1" i="1" u="none" strike="noStrike" kern="1200" cap="none" spc="0" normalizeH="0" baseline="0" noProof="0" dirty="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BMPR-II</a:t>
            </a:r>
            <a:r>
              <a:rPr kumimoji="0" lang="en-GB" sz="1600" b="1" i="0" u="none" strike="noStrike" kern="1200" cap="none" spc="0" normalizeH="0" baseline="0" noProof="0" dirty="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a:t>
            </a:r>
            <a:r>
              <a:rPr kumimoji="0" lang="en-GB" sz="1600" b="1" i="0" u="none" strike="noStrike" kern="1200" cap="none" spc="0" normalizeH="0" baseline="0" noProof="0" dirty="0" err="1">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ActRIIA</a:t>
            </a:r>
            <a:r>
              <a:rPr kumimoji="0" lang="en-GB" sz="1600" b="1" i="0" u="none" strike="noStrike" kern="1200" cap="none" spc="0" normalizeH="0" baseline="0" noProof="0" dirty="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 </a:t>
            </a:r>
            <a:r>
              <a:rPr kumimoji="0" lang="en-GB" sz="1600" b="0" i="0" u="none" strike="noStrike" kern="1200" cap="none" spc="0" normalizeH="0" baseline="0" noProof="0" dirty="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and </a:t>
            </a:r>
            <a:r>
              <a:rPr kumimoji="0" lang="en-GB" sz="1600" b="1" i="0" u="none" strike="noStrike" kern="1200" cap="none" spc="0" normalizeH="0" baseline="0" noProof="0" dirty="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PDGF</a:t>
            </a:r>
            <a:r>
              <a:rPr kumimoji="0" lang="en-GB" sz="1600" b="0" i="0" u="none" strike="noStrike" kern="1200" cap="none" spc="0" normalizeH="0" baseline="0" noProof="0" dirty="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have been shown to play pivotal roles in PAH pathogenesis </a:t>
            </a:r>
          </a:p>
        </p:txBody>
      </p:sp>
      <p:sp>
        <p:nvSpPr>
          <p:cNvPr id="11" name="Arrow: Right 10">
            <a:extLst>
              <a:ext uri="{FF2B5EF4-FFF2-40B4-BE49-F238E27FC236}">
                <a16:creationId xmlns:a16="http://schemas.microsoft.com/office/drawing/2014/main" id="{13A06F02-8C87-4B5C-8331-085CCC23D0BD}"/>
              </a:ext>
            </a:extLst>
          </p:cNvPr>
          <p:cNvSpPr/>
          <p:nvPr/>
        </p:nvSpPr>
        <p:spPr bwMode="auto">
          <a:xfrm>
            <a:off x="8015275" y="1431169"/>
            <a:ext cx="504160" cy="447675"/>
          </a:xfrm>
          <a:prstGeom prst="rightArrow">
            <a:avLst/>
          </a:prstGeom>
          <a:solidFill>
            <a:schemeClr val="accent6"/>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2" name="Rectangle 11">
            <a:extLst>
              <a:ext uri="{FF2B5EF4-FFF2-40B4-BE49-F238E27FC236}">
                <a16:creationId xmlns:a16="http://schemas.microsoft.com/office/drawing/2014/main" id="{9A25AFC4-C985-5042-9512-4241851CDBB6}"/>
              </a:ext>
            </a:extLst>
          </p:cNvPr>
          <p:cNvSpPr/>
          <p:nvPr/>
        </p:nvSpPr>
        <p:spPr bwMode="auto">
          <a:xfrm>
            <a:off x="1050914" y="4658725"/>
            <a:ext cx="6973284" cy="235431"/>
          </a:xfrm>
          <a:prstGeom prst="rect">
            <a:avLst/>
          </a:prstGeom>
          <a:noFill/>
          <a:ln w="57150" cap="flat"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13" name="Rectangle 12">
            <a:extLst>
              <a:ext uri="{FF2B5EF4-FFF2-40B4-BE49-F238E27FC236}">
                <a16:creationId xmlns:a16="http://schemas.microsoft.com/office/drawing/2014/main" id="{CBB530E9-82AF-754E-B2FE-40A90CB40CCE}"/>
              </a:ext>
            </a:extLst>
          </p:cNvPr>
          <p:cNvSpPr/>
          <p:nvPr/>
        </p:nvSpPr>
        <p:spPr bwMode="auto">
          <a:xfrm>
            <a:off x="8573583" y="4432694"/>
            <a:ext cx="3370691" cy="649973"/>
          </a:xfrm>
          <a:prstGeom prst="rect">
            <a:avLst/>
          </a:prstGeom>
          <a:solidFill>
            <a:schemeClr val="bg1"/>
          </a:solidFill>
          <a:ln w="28575" cap="flat" cmpd="sng" algn="ctr">
            <a:solidFill>
              <a:schemeClr val="accent6"/>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The </a:t>
            </a:r>
            <a:r>
              <a:rPr kumimoji="0" lang="en-GB" sz="1600" b="1"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serotonin</a:t>
            </a:r>
            <a:r>
              <a:rPr kumimoji="0" lang="en-GB" sz="16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rPr>
              <a:t> pathway is another interesting target</a:t>
            </a:r>
          </a:p>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1600" b="0" i="0" u="none" strike="noStrike" kern="1200" cap="none" spc="0" normalizeH="0" baseline="0" noProof="0">
              <a:ln>
                <a:noFill/>
              </a:ln>
              <a:solidFill>
                <a:srgbClr val="212121"/>
              </a:solidFill>
              <a:effectLst/>
              <a:uLnTx/>
              <a:uFillTx/>
              <a:latin typeface="Verdana" panose="020B0604030504040204" pitchFamily="34" charset="0"/>
              <a:ea typeface="Verdana" panose="020B0604030504040204" pitchFamily="34" charset="0"/>
              <a:cs typeface="ヒラギノ角ゴ ProN W3" pitchFamily="-110" charset="-128"/>
              <a:sym typeface="Arial" pitchFamily="-110" charset="0"/>
            </a:endParaRPr>
          </a:p>
        </p:txBody>
      </p:sp>
      <p:sp>
        <p:nvSpPr>
          <p:cNvPr id="14" name="Arrow: Right 10">
            <a:extLst>
              <a:ext uri="{FF2B5EF4-FFF2-40B4-BE49-F238E27FC236}">
                <a16:creationId xmlns:a16="http://schemas.microsoft.com/office/drawing/2014/main" id="{A7E30986-6468-6B45-8893-8B98F5D94492}"/>
              </a:ext>
            </a:extLst>
          </p:cNvPr>
          <p:cNvSpPr/>
          <p:nvPr/>
        </p:nvSpPr>
        <p:spPr bwMode="auto">
          <a:xfrm>
            <a:off x="8023839" y="4563074"/>
            <a:ext cx="504160" cy="447675"/>
          </a:xfrm>
          <a:prstGeom prst="rightArrow">
            <a:avLst/>
          </a:prstGeom>
          <a:solidFill>
            <a:schemeClr val="accent6"/>
          </a:solidFill>
          <a:ln w="12700"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kumimoji="0" lang="en-GB" sz="3200" b="0" i="0" u="none" strike="noStrike" kern="1200" cap="none" spc="0" normalizeH="0" baseline="0" noProof="0" err="1">
              <a:ln>
                <a:noFill/>
              </a:ln>
              <a:solidFill>
                <a:srgbClr val="FFFFFF"/>
              </a:solidFill>
              <a:effectLst/>
              <a:uLnTx/>
              <a:uFillTx/>
              <a:latin typeface="Arial" pitchFamily="-110" charset="0"/>
              <a:ea typeface="ヒラギノ角ゴ ProN W3" pitchFamily="-110" charset="-128"/>
              <a:cs typeface="ヒラギノ角ゴ ProN W3" pitchFamily="-110" charset="-128"/>
              <a:sym typeface="Arial" pitchFamily="-110" charset="0"/>
            </a:endParaRPr>
          </a:p>
        </p:txBody>
      </p:sp>
      <p:sp>
        <p:nvSpPr>
          <p:cNvPr id="22" name="Text Placeholder 4">
            <a:extLst>
              <a:ext uri="{FF2B5EF4-FFF2-40B4-BE49-F238E27FC236}">
                <a16:creationId xmlns:a16="http://schemas.microsoft.com/office/drawing/2014/main" id="{2B12CE5A-7F6D-766E-9087-E0DCEE319A42}"/>
              </a:ext>
            </a:extLst>
          </p:cNvPr>
          <p:cNvSpPr>
            <a:spLocks noGrp="1"/>
          </p:cNvSpPr>
          <p:nvPr>
            <p:ph type="body" sz="quarter" idx="16"/>
          </p:nvPr>
        </p:nvSpPr>
        <p:spPr>
          <a:xfrm>
            <a:off x="0" y="5713641"/>
            <a:ext cx="12191999" cy="649973"/>
          </a:xfrm>
        </p:spPr>
        <p:txBody>
          <a:bodyPr numCol="1" anchor="t">
            <a:noAutofit/>
          </a:bodyPr>
          <a:lstStyle/>
          <a:p>
            <a:pPr>
              <a:spcBef>
                <a:spcPts val="0"/>
              </a:spcBef>
              <a:buClr>
                <a:schemeClr val="tx1"/>
              </a:buClr>
            </a:pPr>
            <a:r>
              <a:rPr lang="en-GB" sz="800" noProof="0" dirty="0" err="1">
                <a:solidFill>
                  <a:schemeClr val="tx1"/>
                </a:solidFill>
              </a:rPr>
              <a:t>ActRIIA</a:t>
            </a:r>
            <a:r>
              <a:rPr lang="en-GB" sz="800" noProof="0" dirty="0">
                <a:solidFill>
                  <a:schemeClr val="tx1"/>
                </a:solidFill>
              </a:rPr>
              <a:t>, activin receptor type IIA; ACE2, angiotensin converting enzyme 2; AMPK, adenosine monophosphate-activated protein kinase; BMPR, bone morphogenetic protein receptor; BRD4, bromodomain-containing protein 4; CD20, cluster of differentiate 20; DBH, dopamine beta-hydroxylase; IL-6, interleukin-6; NF2, neurofibromatosis type 2 protein; </a:t>
            </a:r>
            <a:r>
              <a:rPr lang="en-US" sz="800" dirty="0">
                <a:solidFill>
                  <a:schemeClr val="tx1"/>
                </a:solidFill>
                <a:latin typeface="Verdana" panose="020B0604030504040204" pitchFamily="34" charset="0"/>
                <a:ea typeface="Verdana" panose="020B0604030504040204" pitchFamily="34" charset="0"/>
              </a:rPr>
              <a:t>NF</a:t>
            </a:r>
            <a:r>
              <a:rPr lang="el-GR" sz="800" dirty="0">
                <a:solidFill>
                  <a:schemeClr val="tx1"/>
                </a:solidFill>
                <a:latin typeface="Verdana" panose="020B0604030504040204" pitchFamily="34" charset="0"/>
                <a:ea typeface="Verdana" panose="020B0604030504040204" pitchFamily="34" charset="0"/>
              </a:rPr>
              <a:t>κ</a:t>
            </a:r>
            <a:r>
              <a:rPr lang="en-US" sz="800" dirty="0">
                <a:solidFill>
                  <a:schemeClr val="tx1"/>
                </a:solidFill>
                <a:latin typeface="Verdana" panose="020B0604030504040204" pitchFamily="34" charset="0"/>
                <a:ea typeface="Verdana" panose="020B0604030504040204" pitchFamily="34" charset="0"/>
              </a:rPr>
              <a:t>B, nuclear factor-kappa B; </a:t>
            </a:r>
            <a:r>
              <a:rPr lang="en-GB" sz="800" noProof="0" dirty="0">
                <a:solidFill>
                  <a:schemeClr val="tx1"/>
                </a:solidFill>
              </a:rPr>
              <a:t>PARP1, poly(ADP-ribose) polymerase 1; PDGFR, platelet derived growth factor receptor; TNF, </a:t>
            </a:r>
            <a:r>
              <a:rPr lang="en-GB" sz="800" noProof="0" dirty="0" err="1">
                <a:solidFill>
                  <a:schemeClr val="tx1"/>
                </a:solidFill>
              </a:rPr>
              <a:t>tumor</a:t>
            </a:r>
            <a:r>
              <a:rPr lang="en-GB" sz="800" noProof="0" dirty="0">
                <a:solidFill>
                  <a:schemeClr val="tx1"/>
                </a:solidFill>
              </a:rPr>
              <a:t> necrosis factor; VIP, vasoactive intestinal peptide; VPAC, vasoactive intestinal peptide receptor. </a:t>
            </a:r>
          </a:p>
          <a:p>
            <a:pPr>
              <a:spcBef>
                <a:spcPts val="0"/>
              </a:spcBef>
              <a:buClr>
                <a:schemeClr val="tx1"/>
              </a:buClr>
            </a:pPr>
            <a:r>
              <a:rPr lang="en-GB" sz="800" noProof="0" dirty="0">
                <a:solidFill>
                  <a:schemeClr val="tx1"/>
                </a:solidFill>
              </a:rPr>
              <a:t>1. </a:t>
            </a:r>
            <a:r>
              <a:rPr lang="en-GB" sz="800" noProof="0" dirty="0" err="1">
                <a:solidFill>
                  <a:schemeClr val="tx1"/>
                </a:solidFill>
              </a:rPr>
              <a:t>Sitbon</a:t>
            </a:r>
            <a:r>
              <a:rPr lang="en-GB" sz="800" noProof="0" dirty="0">
                <a:solidFill>
                  <a:schemeClr val="tx1"/>
                </a:solidFill>
              </a:rPr>
              <a:t> O, et al</a:t>
            </a:r>
            <a:r>
              <a:rPr lang="en-GB" sz="800" i="1" noProof="0" dirty="0">
                <a:solidFill>
                  <a:schemeClr val="tx1"/>
                </a:solidFill>
              </a:rPr>
              <a:t>. </a:t>
            </a:r>
            <a:r>
              <a:rPr lang="en-GB" sz="800" i="1" noProof="0" dirty="0" err="1">
                <a:solidFill>
                  <a:schemeClr val="tx1"/>
                </a:solidFill>
              </a:rPr>
              <a:t>Eur</a:t>
            </a:r>
            <a:r>
              <a:rPr lang="en-GB" sz="800" i="1" noProof="0" dirty="0">
                <a:solidFill>
                  <a:schemeClr val="tx1"/>
                </a:solidFill>
              </a:rPr>
              <a:t> Respir J.</a:t>
            </a:r>
            <a:r>
              <a:rPr lang="en-GB" sz="800" noProof="0" dirty="0">
                <a:solidFill>
                  <a:schemeClr val="tx1"/>
                </a:solidFill>
              </a:rPr>
              <a:t> 2019;53:1801908</a:t>
            </a:r>
            <a:r>
              <a:rPr lang="en-GB" sz="800" dirty="0">
                <a:solidFill>
                  <a:schemeClr val="tx1"/>
                </a:solidFill>
              </a:rPr>
              <a:t>; 2. </a:t>
            </a:r>
            <a:r>
              <a:rPr lang="en-GB" sz="800" noProof="0" dirty="0" err="1">
                <a:solidFill>
                  <a:schemeClr val="tx1"/>
                </a:solidFill>
              </a:rPr>
              <a:t>Guignabert</a:t>
            </a:r>
            <a:r>
              <a:rPr lang="en-GB" sz="800" dirty="0">
                <a:solidFill>
                  <a:schemeClr val="tx1"/>
                </a:solidFill>
              </a:rPr>
              <a:t> C, et al</a:t>
            </a:r>
            <a:r>
              <a:rPr lang="en-GB" sz="800" noProof="0" dirty="0">
                <a:solidFill>
                  <a:schemeClr val="tx1"/>
                </a:solidFill>
              </a:rPr>
              <a:t>. </a:t>
            </a:r>
            <a:r>
              <a:rPr lang="en-GB" sz="800" i="1" noProof="0" dirty="0" err="1">
                <a:solidFill>
                  <a:schemeClr val="tx1"/>
                </a:solidFill>
              </a:rPr>
              <a:t>Eur</a:t>
            </a:r>
            <a:r>
              <a:rPr lang="en-GB" sz="800" i="1" noProof="0" dirty="0">
                <a:solidFill>
                  <a:schemeClr val="tx1"/>
                </a:solidFill>
              </a:rPr>
              <a:t> Respir J. </a:t>
            </a:r>
            <a:r>
              <a:rPr lang="en-GB" sz="800" noProof="0" dirty="0">
                <a:solidFill>
                  <a:schemeClr val="tx1"/>
                </a:solidFill>
              </a:rPr>
              <a:t>2021;57:2002341</a:t>
            </a:r>
            <a:r>
              <a:rPr lang="en-GB" sz="800" dirty="0">
                <a:solidFill>
                  <a:schemeClr val="tx1"/>
                </a:solidFill>
              </a:rPr>
              <a:t>; 3. </a:t>
            </a:r>
            <a:r>
              <a:rPr lang="en-GB" sz="800" noProof="0" dirty="0">
                <a:solidFill>
                  <a:schemeClr val="tx1"/>
                </a:solidFill>
              </a:rPr>
              <a:t>Kanaan</a:t>
            </a:r>
            <a:r>
              <a:rPr lang="en-GB" sz="800" dirty="0">
                <a:solidFill>
                  <a:schemeClr val="tx1"/>
                </a:solidFill>
              </a:rPr>
              <a:t> R, et al</a:t>
            </a:r>
            <a:r>
              <a:rPr lang="en-GB" sz="800" noProof="0" dirty="0">
                <a:solidFill>
                  <a:schemeClr val="tx1"/>
                </a:solidFill>
              </a:rPr>
              <a:t>. </a:t>
            </a:r>
            <a:r>
              <a:rPr lang="en-GB" sz="800" i="1" noProof="0" dirty="0" err="1">
                <a:solidFill>
                  <a:schemeClr val="tx1"/>
                </a:solidFill>
              </a:rPr>
              <a:t>Eur</a:t>
            </a:r>
            <a:r>
              <a:rPr lang="en-GB" sz="800" i="1" noProof="0" dirty="0">
                <a:solidFill>
                  <a:schemeClr val="tx1"/>
                </a:solidFill>
              </a:rPr>
              <a:t> Respir Rev. </a:t>
            </a:r>
            <a:r>
              <a:rPr lang="en-GB" sz="800" noProof="0" dirty="0">
                <a:solidFill>
                  <a:schemeClr val="tx1"/>
                </a:solidFill>
              </a:rPr>
              <a:t>2017;26:170061</a:t>
            </a:r>
            <a:r>
              <a:rPr lang="en-GB" sz="800" dirty="0">
                <a:solidFill>
                  <a:schemeClr val="tx1"/>
                </a:solidFill>
              </a:rPr>
              <a:t>; 4. </a:t>
            </a:r>
            <a:r>
              <a:rPr lang="en-GB" sz="800" noProof="0" dirty="0">
                <a:solidFill>
                  <a:schemeClr val="tx1"/>
                </a:solidFill>
              </a:rPr>
              <a:t>Li J, et al</a:t>
            </a:r>
            <a:r>
              <a:rPr lang="en-GB" sz="800" i="1" noProof="0" dirty="0">
                <a:solidFill>
                  <a:schemeClr val="tx1"/>
                </a:solidFill>
              </a:rPr>
              <a:t>. Am J Respir Crit Care Med. </a:t>
            </a:r>
            <a:r>
              <a:rPr lang="en-GB" sz="800" noProof="0" dirty="0">
                <a:solidFill>
                  <a:schemeClr val="tx1"/>
                </a:solidFill>
              </a:rPr>
              <a:t>2020;201:A2907</a:t>
            </a:r>
            <a:r>
              <a:rPr lang="en-GB" sz="800" dirty="0">
                <a:solidFill>
                  <a:schemeClr val="tx1"/>
                </a:solidFill>
              </a:rPr>
              <a:t>; 5. </a:t>
            </a:r>
            <a:r>
              <a:rPr lang="en-GB" sz="800" noProof="0" dirty="0">
                <a:solidFill>
                  <a:schemeClr val="tx1"/>
                </a:solidFill>
              </a:rPr>
              <a:t>Dunmore J, et al. </a:t>
            </a:r>
            <a:r>
              <a:rPr lang="en-GB" sz="800" i="1" noProof="0" dirty="0">
                <a:solidFill>
                  <a:schemeClr val="tx1"/>
                </a:solidFill>
              </a:rPr>
              <a:t>Cardiovasc Res </a:t>
            </a:r>
            <a:r>
              <a:rPr lang="en-GB" sz="800" noProof="0" dirty="0">
                <a:solidFill>
                  <a:schemeClr val="tx1"/>
                </a:solidFill>
              </a:rPr>
              <a:t>2021;117(11):2309-25; 6. Laval University. </a:t>
            </a:r>
            <a:r>
              <a:rPr lang="en-GB" sz="800" noProof="0" dirty="0" err="1">
                <a:solidFill>
                  <a:schemeClr val="tx1"/>
                </a:solidFill>
              </a:rPr>
              <a:t>ClinicalTrials.gov</a:t>
            </a:r>
            <a:r>
              <a:rPr lang="en-GB" sz="800" noProof="0" dirty="0">
                <a:solidFill>
                  <a:schemeClr val="tx1"/>
                </a:solidFill>
              </a:rPr>
              <a:t> Identifier: </a:t>
            </a:r>
            <a:r>
              <a:rPr kumimoji="0" lang="en-GB" sz="800" b="0" i="0" u="none" strike="noStrike" kern="0" cap="none" spc="0" normalizeH="0" baseline="0" noProof="0" dirty="0">
                <a:ln>
                  <a:noFill/>
                </a:ln>
                <a:solidFill>
                  <a:schemeClr val="tx1"/>
                </a:solidFill>
                <a:effectLst/>
                <a:uLnTx/>
                <a:uFillTx/>
                <a:ea typeface="Verdana" charset="0"/>
                <a:sym typeface="Arial" pitchFamily="-65" charset="0"/>
              </a:rPr>
              <a:t>NCT04915300; </a:t>
            </a:r>
            <a:r>
              <a:rPr kumimoji="0" lang="en-GB" sz="800" b="0" i="0" u="none" kern="0" cap="none" spc="0" normalizeH="0" baseline="0" noProof="0" dirty="0">
                <a:ln>
                  <a:noFill/>
                </a:ln>
                <a:solidFill>
                  <a:schemeClr val="tx1"/>
                </a:solidFill>
                <a:effectLst/>
                <a:uLnTx/>
                <a:uFillTx/>
                <a:ea typeface="Verdana" charset="0"/>
                <a:sym typeface="Arial" pitchFamily="-65" charset="0"/>
              </a:rPr>
              <a:t>7. </a:t>
            </a:r>
            <a:r>
              <a:rPr lang="en-GB" sz="800" kern="0" dirty="0" err="1">
                <a:solidFill>
                  <a:schemeClr val="tx1"/>
                </a:solidFill>
                <a:ea typeface="Verdana" charset="0"/>
                <a:sym typeface="Arial" pitchFamily="-65" charset="0"/>
              </a:rPr>
              <a:t>Resverlogix</a:t>
            </a:r>
            <a:r>
              <a:rPr lang="en-GB" sz="800" kern="0" dirty="0">
                <a:solidFill>
                  <a:schemeClr val="tx1"/>
                </a:solidFill>
                <a:ea typeface="Verdana" charset="0"/>
                <a:sym typeface="Arial" pitchFamily="-65" charset="0"/>
              </a:rPr>
              <a:t> Corp. </a:t>
            </a:r>
            <a:r>
              <a:rPr kumimoji="0" lang="en-GB" sz="800" b="0" i="0" u="none" strike="noStrike" kern="0" cap="none" spc="0" normalizeH="0" baseline="0" noProof="0" dirty="0">
                <a:ln>
                  <a:noFill/>
                </a:ln>
                <a:solidFill>
                  <a:schemeClr val="tx1"/>
                </a:solidFill>
                <a:effectLst/>
                <a:uLnTx/>
                <a:uFillTx/>
                <a:ea typeface="Verdana" charset="0"/>
                <a:sym typeface="Arial" pitchFamily="-65" charset="0"/>
              </a:rPr>
              <a:t>GlobeNewswire. </a:t>
            </a:r>
            <a:r>
              <a:rPr kumimoji="0" lang="en-GB" sz="800" b="0" i="0" u="none" strike="noStrike" kern="0" cap="none" spc="0" normalizeH="0" baseline="0" noProof="0" dirty="0">
                <a:ln>
                  <a:noFill/>
                </a:ln>
                <a:solidFill>
                  <a:srgbClr val="CE0E2D"/>
                </a:solidFill>
                <a:effectLst/>
                <a:uLnTx/>
                <a:uFillTx/>
                <a:ea typeface="Verdana" charset="0"/>
                <a:sym typeface="Arial" pitchFamily="-65" charset="0"/>
                <a:hlinkClick r:id="rId3">
                  <a:extLst>
                    <a:ext uri="{A12FA001-AC4F-418D-AE19-62706E023703}">
                      <ahyp:hlinkClr xmlns:ahyp="http://schemas.microsoft.com/office/drawing/2018/hyperlinkcolor" val="tx"/>
                    </a:ext>
                  </a:extLst>
                </a:hlinkClick>
              </a:rPr>
              <a:t>https://www.globenewswire.com/news-release/2021/09/08/2293386/0/en/Resverlogix-Announces-Apabetalone-Meets-Primary-Endpoint-in-a-Pulmonary-Arterial-Hypertension-Pilot-Study.</a:t>
            </a:r>
            <a:r>
              <a:rPr kumimoji="0" lang="en-GB" sz="800" b="0" i="0" u="none" strike="noStrike" kern="0" cap="none" spc="0" normalizeH="0" baseline="0" noProof="0" dirty="0">
                <a:ln>
                  <a:noFill/>
                </a:ln>
                <a:solidFill>
                  <a:schemeClr val="tx1"/>
                </a:solidFill>
                <a:effectLst/>
                <a:uLnTx/>
                <a:uFillTx/>
                <a:ea typeface="Verdana" charset="0"/>
                <a:sym typeface="Arial" pitchFamily="-65" charset="0"/>
                <a:hlinkClick r:id="rId3">
                  <a:extLst>
                    <a:ext uri="{A12FA001-AC4F-418D-AE19-62706E023703}">
                      <ahyp:hlinkClr xmlns:ahyp="http://schemas.microsoft.com/office/drawing/2018/hyperlinkcolor" val="tx"/>
                    </a:ext>
                  </a:extLst>
                </a:hlinkClick>
              </a:rPr>
              <a:t>html</a:t>
            </a:r>
            <a:r>
              <a:rPr kumimoji="0" lang="en-GB" sz="800" b="0" i="0" u="none" strike="noStrike" kern="0" cap="none" spc="0" normalizeH="0" baseline="0" noProof="0" dirty="0">
                <a:ln>
                  <a:noFill/>
                </a:ln>
                <a:solidFill>
                  <a:schemeClr val="tx1"/>
                </a:solidFill>
                <a:effectLst/>
                <a:uLnTx/>
                <a:uFillTx/>
                <a:ea typeface="Verdana" charset="0"/>
                <a:sym typeface="Arial" pitchFamily="-65" charset="0"/>
              </a:rPr>
              <a:t>. 2021;</a:t>
            </a:r>
            <a:r>
              <a:rPr lang="en-GB" sz="800" kern="0" dirty="0">
                <a:solidFill>
                  <a:schemeClr val="tx1"/>
                </a:solidFill>
                <a:ea typeface="Verdana" charset="0"/>
                <a:sym typeface="Arial" pitchFamily="-65" charset="0"/>
              </a:rPr>
              <a:t> 8. </a:t>
            </a:r>
            <a:r>
              <a:rPr lang="en-GB" sz="800" kern="0" dirty="0" err="1">
                <a:solidFill>
                  <a:schemeClr val="tx1"/>
                </a:solidFill>
                <a:ea typeface="Verdana" charset="0"/>
                <a:sym typeface="Arial" pitchFamily="-65" charset="0"/>
              </a:rPr>
              <a:t>Altavant</a:t>
            </a:r>
            <a:r>
              <a:rPr lang="en-GB" sz="800" kern="0" dirty="0">
                <a:solidFill>
                  <a:schemeClr val="tx1"/>
                </a:solidFill>
                <a:ea typeface="Verdana" charset="0"/>
                <a:sym typeface="Arial" pitchFamily="-65" charset="0"/>
              </a:rPr>
              <a:t> Sciences GmbH. </a:t>
            </a:r>
            <a:r>
              <a:rPr lang="en-GB" sz="800" kern="0" dirty="0" err="1">
                <a:solidFill>
                  <a:schemeClr val="tx1"/>
                </a:solidFill>
                <a:ea typeface="Verdana" charset="0"/>
                <a:sym typeface="Arial" pitchFamily="-65" charset="0"/>
              </a:rPr>
              <a:t>ClinicalTrials.gov</a:t>
            </a:r>
            <a:r>
              <a:rPr lang="en-GB" sz="800" kern="0" dirty="0">
                <a:solidFill>
                  <a:schemeClr val="tx1"/>
                </a:solidFill>
                <a:ea typeface="Verdana" charset="0"/>
                <a:sym typeface="Arial" pitchFamily="-65" charset="0"/>
              </a:rPr>
              <a:t> Identifier: </a:t>
            </a:r>
            <a:r>
              <a:rPr kumimoji="0" lang="en-GB" sz="800" b="0" i="0" u="none" strike="noStrike" kern="0" cap="none" spc="0" normalizeH="0" baseline="0" noProof="0" dirty="0">
                <a:ln>
                  <a:noFill/>
                </a:ln>
                <a:solidFill>
                  <a:schemeClr val="tx1"/>
                </a:solidFill>
                <a:effectLst/>
                <a:uLnTx/>
                <a:uFillTx/>
                <a:ea typeface="Verdana" charset="0"/>
                <a:sym typeface="Arial" pitchFamily="-65" charset="0"/>
              </a:rPr>
              <a:t>NCT0471266. Updated August 4, 2023</a:t>
            </a:r>
            <a:r>
              <a:rPr kumimoji="0" lang="en-GB" sz="800" b="0" i="0" u="none" kern="0" cap="none" spc="0" normalizeH="0" baseline="0" noProof="0" dirty="0">
                <a:ln>
                  <a:noFill/>
                </a:ln>
                <a:solidFill>
                  <a:schemeClr val="tx1"/>
                </a:solidFill>
                <a:effectLst/>
                <a:uLnTx/>
                <a:uFillTx/>
                <a:ea typeface="Verdana" charset="0"/>
                <a:sym typeface="Arial" pitchFamily="-65" charset="0"/>
              </a:rPr>
              <a:t>; 9. </a:t>
            </a:r>
            <a:r>
              <a:rPr kumimoji="0" lang="en-GB" sz="800" b="0" i="0" u="none" kern="0" cap="none" spc="0" normalizeH="0" baseline="0" noProof="0" dirty="0" err="1">
                <a:ln>
                  <a:noFill/>
                </a:ln>
                <a:solidFill>
                  <a:schemeClr val="tx1"/>
                </a:solidFill>
                <a:effectLst/>
                <a:uLnTx/>
                <a:uFillTx/>
                <a:ea typeface="Verdana" charset="0"/>
                <a:sym typeface="Arial" pitchFamily="-65" charset="0"/>
              </a:rPr>
              <a:t>Bial</a:t>
            </a:r>
            <a:r>
              <a:rPr kumimoji="0" lang="en-GB" sz="800" b="0" i="0" u="none" kern="0" cap="none" spc="0" normalizeH="0" baseline="0" noProof="0" dirty="0">
                <a:ln>
                  <a:noFill/>
                </a:ln>
                <a:solidFill>
                  <a:schemeClr val="tx1"/>
                </a:solidFill>
                <a:effectLst/>
                <a:uLnTx/>
                <a:uFillTx/>
                <a:ea typeface="Verdana" charset="0"/>
                <a:sym typeface="Arial" pitchFamily="-65" charset="0"/>
              </a:rPr>
              <a:t> – </a:t>
            </a:r>
            <a:r>
              <a:rPr kumimoji="0" lang="en-GB" sz="800" b="0" i="0" u="none" kern="0" cap="none" spc="0" normalizeH="0" baseline="0" noProof="0" dirty="0" err="1">
                <a:ln>
                  <a:noFill/>
                </a:ln>
                <a:solidFill>
                  <a:schemeClr val="tx1"/>
                </a:solidFill>
                <a:effectLst/>
                <a:uLnTx/>
                <a:uFillTx/>
                <a:ea typeface="Verdana" charset="0"/>
                <a:sym typeface="Arial" pitchFamily="-65" charset="0"/>
              </a:rPr>
              <a:t>Portela</a:t>
            </a:r>
            <a:r>
              <a:rPr kumimoji="0" lang="en-GB" sz="800" b="0" i="0" u="none" kern="0" cap="none" spc="0" normalizeH="0" baseline="0" noProof="0" dirty="0">
                <a:ln>
                  <a:noFill/>
                </a:ln>
                <a:solidFill>
                  <a:schemeClr val="tx1"/>
                </a:solidFill>
                <a:effectLst/>
                <a:uLnTx/>
                <a:uFillTx/>
                <a:ea typeface="Verdana" charset="0"/>
                <a:sym typeface="Arial" pitchFamily="-65" charset="0"/>
              </a:rPr>
              <a:t> C S.A. </a:t>
            </a:r>
            <a:r>
              <a:rPr kumimoji="0" lang="en-GB" sz="800" b="0" i="0" u="none" kern="0" cap="none" spc="0" normalizeH="0" baseline="0" noProof="0" dirty="0" err="1">
                <a:ln>
                  <a:noFill/>
                </a:ln>
                <a:solidFill>
                  <a:schemeClr val="tx1"/>
                </a:solidFill>
                <a:effectLst/>
                <a:uLnTx/>
                <a:uFillTx/>
                <a:ea typeface="Verdana" charset="0"/>
                <a:sym typeface="Arial" pitchFamily="-65" charset="0"/>
              </a:rPr>
              <a:t>ClinicalTrials</a:t>
            </a:r>
            <a:r>
              <a:rPr lang="en-GB" sz="800" kern="0" dirty="0">
                <a:solidFill>
                  <a:schemeClr val="tx1"/>
                </a:solidFill>
                <a:ea typeface="Verdana" charset="0"/>
                <a:sym typeface="Arial" pitchFamily="-65" charset="0"/>
              </a:rPr>
              <a:t>.gov Identifier: </a:t>
            </a:r>
            <a:r>
              <a:rPr kumimoji="0" lang="en-GB" sz="800" b="0" i="0" u="none" strike="noStrike" kern="0" cap="none" spc="0" normalizeH="0" baseline="0" noProof="0" dirty="0">
                <a:ln>
                  <a:noFill/>
                </a:ln>
                <a:solidFill>
                  <a:schemeClr val="tx1"/>
                </a:solidFill>
                <a:effectLst/>
                <a:uLnTx/>
                <a:uFillTx/>
                <a:ea typeface="Verdana" charset="0"/>
                <a:sym typeface="Arial" pitchFamily="-65" charset="0"/>
              </a:rPr>
              <a:t>NCT04316143. Updated November 1, 2021; 10. </a:t>
            </a:r>
            <a:r>
              <a:rPr kumimoji="0" lang="en-GB" sz="800" b="0" i="0" u="none" kern="0" cap="none" spc="0" normalizeH="0" baseline="0" noProof="0" dirty="0" err="1">
                <a:ln>
                  <a:noFill/>
                </a:ln>
                <a:solidFill>
                  <a:schemeClr val="tx1"/>
                </a:solidFill>
                <a:effectLst/>
                <a:uLnTx/>
                <a:uFillTx/>
                <a:ea typeface="Verdana" charset="0"/>
                <a:sym typeface="Arial" pitchFamily="-65" charset="0"/>
              </a:rPr>
              <a:t>PhaseBio</a:t>
            </a:r>
            <a:r>
              <a:rPr kumimoji="0" lang="en-GB" sz="800" b="0" i="0" u="none" kern="0" cap="none" spc="0" normalizeH="0" baseline="0" noProof="0" dirty="0">
                <a:ln>
                  <a:noFill/>
                </a:ln>
                <a:solidFill>
                  <a:schemeClr val="tx1"/>
                </a:solidFill>
                <a:effectLst/>
                <a:uLnTx/>
                <a:uFillTx/>
                <a:ea typeface="Verdana" charset="0"/>
                <a:sym typeface="Arial" pitchFamily="-65" charset="0"/>
              </a:rPr>
              <a:t> Pharmaceuticals Inc. </a:t>
            </a:r>
            <a:r>
              <a:rPr kumimoji="0" lang="en-GB" sz="800" b="0" i="0" u="none" kern="0" cap="none" spc="0" normalizeH="0" baseline="0" noProof="0" dirty="0" err="1">
                <a:ln>
                  <a:noFill/>
                </a:ln>
                <a:solidFill>
                  <a:schemeClr val="tx1"/>
                </a:solidFill>
                <a:effectLst/>
                <a:uLnTx/>
                <a:uFillTx/>
                <a:ea typeface="Verdana" charset="0"/>
                <a:sym typeface="Arial" pitchFamily="-65" charset="0"/>
              </a:rPr>
              <a:t>ClinicalTrials.gov</a:t>
            </a:r>
            <a:r>
              <a:rPr kumimoji="0" lang="en-GB" sz="800" b="0" i="0" u="none" kern="0" cap="none" spc="0" normalizeH="0" baseline="0" noProof="0" dirty="0">
                <a:ln>
                  <a:noFill/>
                </a:ln>
                <a:solidFill>
                  <a:schemeClr val="tx1"/>
                </a:solidFill>
                <a:effectLst/>
                <a:uLnTx/>
                <a:uFillTx/>
                <a:ea typeface="Verdana" charset="0"/>
                <a:sym typeface="Arial" pitchFamily="-65" charset="0"/>
              </a:rPr>
              <a:t> Identifier: </a:t>
            </a:r>
            <a:r>
              <a:rPr kumimoji="0" lang="en-GB" sz="800" b="0" i="0" u="none" strike="noStrike" kern="0" cap="none" spc="0" normalizeH="0" baseline="0" noProof="0" dirty="0">
                <a:ln>
                  <a:noFill/>
                </a:ln>
                <a:solidFill>
                  <a:schemeClr val="tx1"/>
                </a:solidFill>
                <a:effectLst/>
                <a:uLnTx/>
                <a:uFillTx/>
                <a:ea typeface="Verdana" charset="0"/>
                <a:sym typeface="Arial" pitchFamily="-65" charset="0"/>
              </a:rPr>
              <a:t>NCT03795428. Updated February 22, 2022; </a:t>
            </a:r>
            <a:r>
              <a:rPr kumimoji="0" lang="en-GB" sz="800" b="0" i="0" u="none" kern="0" cap="none" spc="0" normalizeH="0" baseline="0" noProof="0" dirty="0">
                <a:ln>
                  <a:noFill/>
                </a:ln>
                <a:solidFill>
                  <a:schemeClr val="tx1"/>
                </a:solidFill>
                <a:effectLst/>
                <a:uLnTx/>
                <a:uFillTx/>
                <a:ea typeface="Verdana" charset="0"/>
                <a:sym typeface="Arial" pitchFamily="-65" charset="0"/>
              </a:rPr>
              <a:t>11. </a:t>
            </a:r>
            <a:r>
              <a:rPr kumimoji="0" lang="en-GB" sz="800" b="0" i="0" u="none" strike="noStrike" kern="0" cap="none" spc="0" normalizeH="0" baseline="0" noProof="0" dirty="0" err="1">
                <a:ln>
                  <a:noFill/>
                </a:ln>
                <a:solidFill>
                  <a:schemeClr val="tx1"/>
                </a:solidFill>
                <a:effectLst/>
                <a:uLnTx/>
                <a:uFillTx/>
                <a:ea typeface="Verdana" charset="0"/>
                <a:sym typeface="Arial" pitchFamily="-65" charset="0"/>
              </a:rPr>
              <a:t>Sumita</a:t>
            </a:r>
            <a:r>
              <a:rPr kumimoji="0" lang="en-GB" sz="800" b="0" i="0" u="none" strike="noStrike" kern="0" cap="none" spc="0" normalizeH="0" baseline="0" noProof="0" dirty="0">
                <a:ln>
                  <a:noFill/>
                </a:ln>
                <a:solidFill>
                  <a:schemeClr val="tx1"/>
                </a:solidFill>
                <a:effectLst/>
                <a:uLnTx/>
                <a:uFillTx/>
                <a:ea typeface="Verdana" charset="0"/>
                <a:sym typeface="Arial" pitchFamily="-65" charset="0"/>
              </a:rPr>
              <a:t> </a:t>
            </a:r>
            <a:r>
              <a:rPr lang="en-GB" sz="800" dirty="0">
                <a:solidFill>
                  <a:schemeClr val="tx1"/>
                </a:solidFill>
              </a:rPr>
              <a:t>P</a:t>
            </a:r>
            <a:r>
              <a:rPr kumimoji="0" lang="en-GB" sz="800" b="0" i="0" u="none" strike="noStrike" kern="0" cap="none" spc="0" normalizeH="0" baseline="0" noProof="0" dirty="0">
                <a:ln>
                  <a:noFill/>
                </a:ln>
                <a:solidFill>
                  <a:schemeClr val="tx1"/>
                </a:solidFill>
                <a:effectLst/>
                <a:uLnTx/>
                <a:uFillTx/>
                <a:ea typeface="Verdana" charset="0"/>
                <a:sym typeface="Arial" pitchFamily="-65" charset="0"/>
              </a:rPr>
              <a:t>, </a:t>
            </a:r>
            <a:r>
              <a:rPr kumimoji="0" lang="en-GB" sz="800" b="0" u="none" strike="noStrike" kern="0" cap="none" spc="0" normalizeH="0" baseline="0" noProof="0" dirty="0">
                <a:ln>
                  <a:noFill/>
                </a:ln>
                <a:solidFill>
                  <a:schemeClr val="tx1"/>
                </a:solidFill>
                <a:effectLst/>
                <a:uLnTx/>
                <a:uFillTx/>
                <a:ea typeface="Verdana" charset="0"/>
                <a:sym typeface="Arial" pitchFamily="-65" charset="0"/>
              </a:rPr>
              <a:t>et al. </a:t>
            </a:r>
            <a:r>
              <a:rPr lang="en-US" sz="800" kern="0" dirty="0">
                <a:solidFill>
                  <a:schemeClr val="tx1"/>
                </a:solidFill>
                <a:ea typeface="Verdana" charset="0"/>
                <a:sym typeface="Arial" pitchFamily="-65" charset="0"/>
              </a:rPr>
              <a:t>Pulmonary Vascular Research Institute Annual World Congress</a:t>
            </a:r>
            <a:r>
              <a:rPr kumimoji="0" lang="en-GB" sz="800" b="0" i="1" u="none" strike="noStrike" kern="0" cap="none" spc="0" normalizeH="0" baseline="0" noProof="0" dirty="0">
                <a:ln>
                  <a:noFill/>
                </a:ln>
                <a:solidFill>
                  <a:schemeClr val="tx1"/>
                </a:solidFill>
                <a:effectLst/>
                <a:uLnTx/>
                <a:uFillTx/>
                <a:ea typeface="Verdana" charset="0"/>
                <a:sym typeface="Arial" pitchFamily="-65" charset="0"/>
              </a:rPr>
              <a:t>.</a:t>
            </a:r>
            <a:r>
              <a:rPr kumimoji="0" lang="en-GB" sz="800" b="0" i="0" u="none" strike="noStrike" kern="0" cap="none" spc="0" normalizeH="0" baseline="0" noProof="0" dirty="0">
                <a:ln>
                  <a:noFill/>
                </a:ln>
                <a:solidFill>
                  <a:schemeClr val="tx1"/>
                </a:solidFill>
                <a:effectLst/>
                <a:uLnTx/>
                <a:uFillTx/>
                <a:ea typeface="Verdana" charset="0"/>
                <a:sym typeface="Arial" pitchFamily="-65" charset="0"/>
              </a:rPr>
              <a:t> 2021; 12. </a:t>
            </a:r>
            <a:r>
              <a:rPr kumimoji="0" lang="en-GB" sz="800" b="0" i="0" u="none" strike="noStrike" kern="0" cap="none" spc="0" normalizeH="0" baseline="0" noProof="0" dirty="0" err="1">
                <a:ln>
                  <a:noFill/>
                </a:ln>
                <a:solidFill>
                  <a:schemeClr val="tx1"/>
                </a:solidFill>
                <a:effectLst/>
                <a:uLnTx/>
                <a:uFillTx/>
                <a:ea typeface="Verdana" charset="0"/>
                <a:sym typeface="Arial" pitchFamily="-65" charset="0"/>
              </a:rPr>
              <a:t>RenJi</a:t>
            </a:r>
            <a:r>
              <a:rPr kumimoji="0" lang="en-GB" sz="800" b="0" i="0" u="none" strike="noStrike" kern="0" cap="none" spc="0" normalizeH="0" baseline="0" noProof="0" dirty="0">
                <a:ln>
                  <a:noFill/>
                </a:ln>
                <a:solidFill>
                  <a:schemeClr val="tx1"/>
                </a:solidFill>
                <a:effectLst/>
                <a:uLnTx/>
                <a:uFillTx/>
                <a:ea typeface="Verdana" charset="0"/>
                <a:sym typeface="Arial" pitchFamily="-65" charset="0"/>
              </a:rPr>
              <a:t> Hospital. </a:t>
            </a:r>
            <a:r>
              <a:rPr kumimoji="0" lang="en-GB" sz="800" b="0" i="0" u="none" strike="noStrike" kern="0" cap="none" spc="0" normalizeH="0" baseline="0" noProof="0" dirty="0" err="1">
                <a:ln>
                  <a:noFill/>
                </a:ln>
                <a:solidFill>
                  <a:schemeClr val="tx1"/>
                </a:solidFill>
                <a:effectLst/>
                <a:uLnTx/>
                <a:uFillTx/>
                <a:ea typeface="Verdana" charset="0"/>
                <a:sym typeface="Arial" pitchFamily="-65" charset="0"/>
              </a:rPr>
              <a:t>ClinicalTrials.gov</a:t>
            </a:r>
            <a:r>
              <a:rPr kumimoji="0" lang="en-GB" sz="800" b="0" i="0" u="none" strike="noStrike" kern="0" cap="none" spc="0" normalizeH="0" baseline="0" noProof="0" dirty="0">
                <a:ln>
                  <a:noFill/>
                </a:ln>
                <a:solidFill>
                  <a:schemeClr val="tx1"/>
                </a:solidFill>
                <a:effectLst/>
                <a:uLnTx/>
                <a:uFillTx/>
                <a:ea typeface="Verdana" charset="0"/>
                <a:sym typeface="Arial" pitchFamily="-65" charset="0"/>
              </a:rPr>
              <a:t> Identifier: NCT04528056. Updated August 27, 2020; </a:t>
            </a:r>
            <a:r>
              <a:rPr kumimoji="0" lang="en-GB" sz="800" b="0" i="0" u="none" kern="0" cap="none" spc="0" normalizeH="0" baseline="0" noProof="0" dirty="0">
                <a:ln>
                  <a:noFill/>
                </a:ln>
                <a:solidFill>
                  <a:schemeClr val="tx1"/>
                </a:solidFill>
                <a:effectLst/>
                <a:uLnTx/>
                <a:uFillTx/>
                <a:ea typeface="Verdana" charset="0"/>
                <a:sym typeface="Arial" pitchFamily="-65" charset="0"/>
              </a:rPr>
              <a:t>13. Vanderbilt University Medical </a:t>
            </a:r>
            <a:r>
              <a:rPr kumimoji="0" lang="en-GB" sz="800" b="0" i="0" u="none" kern="0" cap="none" spc="0" normalizeH="0" baseline="0" noProof="0" dirty="0" err="1">
                <a:ln>
                  <a:noFill/>
                </a:ln>
                <a:solidFill>
                  <a:schemeClr val="tx1"/>
                </a:solidFill>
                <a:effectLst/>
                <a:uLnTx/>
                <a:uFillTx/>
                <a:ea typeface="Verdana" charset="0"/>
                <a:sym typeface="Arial" pitchFamily="-65" charset="0"/>
              </a:rPr>
              <a:t>Center</a:t>
            </a:r>
            <a:r>
              <a:rPr kumimoji="0" lang="en-GB" sz="800" b="0" i="0" u="none" kern="0" cap="none" spc="0" normalizeH="0" baseline="0" noProof="0" dirty="0">
                <a:ln>
                  <a:noFill/>
                </a:ln>
                <a:solidFill>
                  <a:schemeClr val="tx1"/>
                </a:solidFill>
                <a:effectLst/>
                <a:uLnTx/>
                <a:uFillTx/>
                <a:ea typeface="Verdana" charset="0"/>
                <a:sym typeface="Arial" pitchFamily="-65" charset="0"/>
              </a:rPr>
              <a:t>. </a:t>
            </a:r>
            <a:r>
              <a:rPr kumimoji="0" lang="en-GB" sz="800" b="0" i="0" u="none" kern="0" cap="none" spc="0" normalizeH="0" baseline="0" noProof="0" dirty="0" err="1">
                <a:ln>
                  <a:noFill/>
                </a:ln>
                <a:solidFill>
                  <a:schemeClr val="tx1"/>
                </a:solidFill>
                <a:effectLst/>
                <a:uLnTx/>
                <a:uFillTx/>
                <a:ea typeface="Verdana" charset="0"/>
                <a:sym typeface="Arial" pitchFamily="-65" charset="0"/>
              </a:rPr>
              <a:t>ClinicalTrials.gov</a:t>
            </a:r>
            <a:r>
              <a:rPr kumimoji="0" lang="en-GB" sz="800" b="0" i="0" u="none" kern="0" cap="none" spc="0" normalizeH="0" baseline="0" noProof="0" dirty="0">
                <a:ln>
                  <a:noFill/>
                </a:ln>
                <a:solidFill>
                  <a:schemeClr val="tx1"/>
                </a:solidFill>
                <a:effectLst/>
                <a:uLnTx/>
                <a:uFillTx/>
                <a:ea typeface="Verdana" charset="0"/>
                <a:sym typeface="Arial" pitchFamily="-65" charset="0"/>
              </a:rPr>
              <a:t> Identifier:</a:t>
            </a:r>
            <a:r>
              <a:rPr kumimoji="0" lang="en-GB" sz="800" b="0" i="0" u="none" strike="noStrike" kern="0" cap="none" spc="0" normalizeH="0" baseline="0" noProof="0" dirty="0">
                <a:ln>
                  <a:noFill/>
                </a:ln>
                <a:solidFill>
                  <a:schemeClr val="tx1"/>
                </a:solidFill>
                <a:effectLst/>
                <a:uLnTx/>
                <a:uFillTx/>
                <a:ea typeface="Verdana" charset="0"/>
                <a:sym typeface="Arial" pitchFamily="-65" charset="0"/>
              </a:rPr>
              <a:t> NCT03528902. Updated August 1, 2023.</a:t>
            </a:r>
            <a:endParaRPr lang="en-GB" sz="800" strike="sngStrike" noProof="0" dirty="0">
              <a:solidFill>
                <a:schemeClr val="tx1"/>
              </a:solidFill>
            </a:endParaRPr>
          </a:p>
        </p:txBody>
      </p:sp>
    </p:spTree>
    <p:extLst>
      <p:ext uri="{BB962C8B-B14F-4D97-AF65-F5344CB8AC3E}">
        <p14:creationId xmlns:p14="http://schemas.microsoft.com/office/powerpoint/2010/main" val="197282094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Pulm-CC 22">
  <a:themeElements>
    <a:clrScheme name="MedEd PCC">
      <a:dk1>
        <a:srgbClr val="3F3F3F"/>
      </a:dk1>
      <a:lt1>
        <a:srgbClr val="FFFFFF"/>
      </a:lt1>
      <a:dk2>
        <a:srgbClr val="3F3F3F"/>
      </a:dk2>
      <a:lt2>
        <a:srgbClr val="FAFAFA"/>
      </a:lt2>
      <a:accent1>
        <a:srgbClr val="8E1537"/>
      </a:accent1>
      <a:accent2>
        <a:srgbClr val="B21E6C"/>
      </a:accent2>
      <a:accent3>
        <a:srgbClr val="10416A"/>
      </a:accent3>
      <a:accent4>
        <a:srgbClr val="0075C9"/>
      </a:accent4>
      <a:accent5>
        <a:srgbClr val="FCB315"/>
      </a:accent5>
      <a:accent6>
        <a:srgbClr val="7CC109"/>
      </a:accent6>
      <a:hlink>
        <a:srgbClr val="CE0E2D"/>
      </a:hlink>
      <a:folHlink>
        <a:srgbClr val="001B7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ulm-CC 22" id="{531201B4-8445-4141-93B6-FA22BE945EA7}" vid="{347CFE89-6E71-2F4D-90B1-9AC42A8969BB}"/>
    </a:ext>
  </a:extLst>
</a:theme>
</file>

<file path=ppt/theme/theme3.xml><?xml version="1.0" encoding="utf-8"?>
<a:theme xmlns:a="http://schemas.openxmlformats.org/drawingml/2006/main" name="PCC20">
  <a:themeElements>
    <a:clrScheme name="MedEd PCC">
      <a:dk1>
        <a:srgbClr val="3F3F3F"/>
      </a:dk1>
      <a:lt1>
        <a:srgbClr val="FFFFFF"/>
      </a:lt1>
      <a:dk2>
        <a:srgbClr val="3F3F3F"/>
      </a:dk2>
      <a:lt2>
        <a:srgbClr val="FAFAFA"/>
      </a:lt2>
      <a:accent1>
        <a:srgbClr val="8E1537"/>
      </a:accent1>
      <a:accent2>
        <a:srgbClr val="B21E6C"/>
      </a:accent2>
      <a:accent3>
        <a:srgbClr val="10416A"/>
      </a:accent3>
      <a:accent4>
        <a:srgbClr val="0075C9"/>
      </a:accent4>
      <a:accent5>
        <a:srgbClr val="FCB315"/>
      </a:accent5>
      <a:accent6>
        <a:srgbClr val="7CC109"/>
      </a:accent6>
      <a:hlink>
        <a:srgbClr val="CE0E2D"/>
      </a:hlink>
      <a:folHlink>
        <a:srgbClr val="001B7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nc-2019" id="{D6DD6064-0306-4FD1-AF18-B4FBE2D85156}" vid="{AD8A80D0-AC63-402F-8A18-93598A44339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Actelion - Turquoise">
    <a:dk1>
      <a:sysClr val="windowText" lastClr="000000"/>
    </a:dk1>
    <a:lt1>
      <a:srgbClr val="FFFFFF"/>
    </a:lt1>
    <a:dk2>
      <a:srgbClr val="28AFB5"/>
    </a:dk2>
    <a:lt2>
      <a:srgbClr val="002C2E"/>
    </a:lt2>
    <a:accent1>
      <a:srgbClr val="28AFB5"/>
    </a:accent1>
    <a:accent2>
      <a:srgbClr val="2199B9"/>
    </a:accent2>
    <a:accent3>
      <a:srgbClr val="40539C"/>
    </a:accent3>
    <a:accent4>
      <a:srgbClr val="6C3896"/>
    </a:accent4>
    <a:accent5>
      <a:srgbClr val="6F205A"/>
    </a:accent5>
    <a:accent6>
      <a:srgbClr val="8F0F4A"/>
    </a:accent6>
    <a:hlink>
      <a:srgbClr val="28AFB5"/>
    </a:hlink>
    <a:folHlink>
      <a:srgbClr val="002C2E"/>
    </a:folHlink>
  </a:clrScheme>
</a:themeOverride>
</file>

<file path=docProps/app.xml><?xml version="1.0" encoding="utf-8"?>
<Properties xmlns="http://schemas.openxmlformats.org/officeDocument/2006/extended-properties" xmlns:vt="http://schemas.openxmlformats.org/officeDocument/2006/docPropsVTypes">
  <TotalTime>15</TotalTime>
  <Words>4298</Words>
  <Application>Microsoft Macintosh PowerPoint</Application>
  <PresentationFormat>Widescreen</PresentationFormat>
  <Paragraphs>555</Paragraphs>
  <Slides>34</Slides>
  <Notes>14</Notes>
  <HiddenSlides>0</HiddenSlides>
  <MMClips>1</MMClips>
  <ScaleCrop>false</ScaleCrop>
  <HeadingPairs>
    <vt:vector size="8" baseType="variant">
      <vt:variant>
        <vt:lpstr>Fonts Used</vt:lpstr>
      </vt:variant>
      <vt:variant>
        <vt:i4>10</vt:i4>
      </vt:variant>
      <vt:variant>
        <vt:lpstr>Theme</vt:lpstr>
      </vt:variant>
      <vt:variant>
        <vt:i4>3</vt:i4>
      </vt:variant>
      <vt:variant>
        <vt:lpstr>Embedded OLE Servers</vt:lpstr>
      </vt:variant>
      <vt:variant>
        <vt:i4>1</vt:i4>
      </vt:variant>
      <vt:variant>
        <vt:lpstr>Slide Titles</vt:lpstr>
      </vt:variant>
      <vt:variant>
        <vt:i4>34</vt:i4>
      </vt:variant>
    </vt:vector>
  </HeadingPairs>
  <TitlesOfParts>
    <vt:vector size="48" baseType="lpstr">
      <vt:lpstr>Arial</vt:lpstr>
      <vt:lpstr>Avenir</vt:lpstr>
      <vt:lpstr>Calibri</vt:lpstr>
      <vt:lpstr>Calibri Light</vt:lpstr>
      <vt:lpstr>Century Gothic</vt:lpstr>
      <vt:lpstr>Corbel</vt:lpstr>
      <vt:lpstr>Helvetica</vt:lpstr>
      <vt:lpstr>Helvetica Neue</vt:lpstr>
      <vt:lpstr>Trebuchet MS</vt:lpstr>
      <vt:lpstr>Verdana</vt:lpstr>
      <vt:lpstr>Office Theme</vt:lpstr>
      <vt:lpstr>Pulm-CC 22</vt:lpstr>
      <vt:lpstr>PCC20</vt:lpstr>
      <vt:lpstr>think-cell Slide</vt:lpstr>
      <vt:lpstr>PowerPoint Presentation</vt:lpstr>
      <vt:lpstr>PowerPoint Presentation</vt:lpstr>
      <vt:lpstr>Disclaimer</vt:lpstr>
      <vt:lpstr>Management of PAH: Update on the Therapeutic Landscape </vt:lpstr>
      <vt:lpstr>Unmet Need in the Modern Management Era</vt:lpstr>
      <vt:lpstr>Treatment Targets in PAH</vt:lpstr>
      <vt:lpstr>New Developments Target Well-Established Pathological Pathways in PAH</vt:lpstr>
      <vt:lpstr>PowerPoint Presentation</vt:lpstr>
      <vt:lpstr>Novel Treatment Targets in Alternative Pathogenic Pathways in PAH</vt:lpstr>
      <vt:lpstr>Sotatercept</vt:lpstr>
      <vt:lpstr>BMPR-II and TGF-β Receptor Superfamily Signalling:  Critical in Maintaining Normal Pulmonary Vascular Homeostasis</vt:lpstr>
      <vt:lpstr>Mutations in BMPR-II Represent the Primary Genetic Risk Factor for Developing PAH</vt:lpstr>
      <vt:lpstr>Therapeutic Developments in Rebalancing BMPR-II/ActRII in PAH</vt:lpstr>
      <vt:lpstr>Key Phase II/III Studies of Sotatercept*</vt:lpstr>
      <vt:lpstr>Imatinib and Seralutinib</vt:lpstr>
      <vt:lpstr>Overexpression of PDGF/PDGFR Implicated in the Development of PAH</vt:lpstr>
      <vt:lpstr>The Role of PDGF Signaling Inhibitors as a Therapeutic Option in PAH</vt:lpstr>
      <vt:lpstr>Seralutinib Is A Potent Tyrosine Kinase Inhibitor Which Targets Key Factors of Vascular Remodeling</vt:lpstr>
      <vt:lpstr>TORREY Phase 2, Randomized, Double-blind, Placebo-controlled Multicenter Study </vt:lpstr>
      <vt:lpstr>Primary Endpoint: Change in PVR From Baseline to Week 24 (~60% of patients were on triple background PAH therapy; ~45% were on parenteral prostacyclin)</vt:lpstr>
      <vt:lpstr>  Current Status of Seralutinib</vt:lpstr>
      <vt:lpstr>Serotonin Antagonism</vt:lpstr>
      <vt:lpstr>PowerPoint Presentation</vt:lpstr>
      <vt:lpstr>Serotonin Induces Proliferation and Vasoconstriction Leading to Development and Progression of PAH</vt:lpstr>
      <vt:lpstr>Failure of Targeting the Serotonin Pathway in PAH</vt:lpstr>
      <vt:lpstr>Aria’s Device:  Abnormal compliance contributes to RV dysfunction</vt:lpstr>
      <vt:lpstr>Implanted Device</vt:lpstr>
      <vt:lpstr>Mechanism of Action:  Device mimics the function of a healthy elastic pulmonary artery (functions similar to aortic balloon pump)</vt:lpstr>
      <vt:lpstr>Similar acute results in all WHO Groups (1, 2, 3)</vt:lpstr>
      <vt:lpstr>Other Interventional/Surgical Devices</vt:lpstr>
      <vt:lpstr>Conclusions</vt:lpstr>
      <vt:lpstr>Special Thanks</vt:lpstr>
      <vt:lpstr>Thank you!</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MedEd On The Go</dc:creator>
  <cp:keywords/>
  <dc:description/>
  <cp:lastModifiedBy>Moriah Diethorn</cp:lastModifiedBy>
  <cp:revision>14</cp:revision>
  <dcterms:created xsi:type="dcterms:W3CDTF">2023-09-22T20:05:08Z</dcterms:created>
  <dcterms:modified xsi:type="dcterms:W3CDTF">2023-10-16T13:26:32Z</dcterms:modified>
  <cp:category/>
</cp:coreProperties>
</file>